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10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11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12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1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22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23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24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29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30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31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notesSlides/notesSlide8.xml" ContentType="application/vnd.openxmlformats-officedocument.presentationml.notesSlide+xml"/>
  <Override PartName="/ppt/tags/tag198.xml" ContentType="application/vnd.openxmlformats-officedocument.presentationml.tags+xml"/>
  <Override PartName="/ppt/notesSlides/notesSlide9.xml" ContentType="application/vnd.openxmlformats-officedocument.presentationml.notesSlide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notesSlides/notesSlide10.xml" ContentType="application/vnd.openxmlformats-officedocument.presentationml.notesSlide+xml"/>
  <Override PartName="/ppt/tags/tag201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20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  <p:sldMasterId id="2147483718" r:id="rId5"/>
  </p:sldMasterIdLst>
  <p:notesMasterIdLst>
    <p:notesMasterId r:id="rId32"/>
  </p:notesMasterIdLst>
  <p:handoutMasterIdLst>
    <p:handoutMasterId r:id="rId33"/>
  </p:handoutMasterIdLst>
  <p:sldIdLst>
    <p:sldId id="419" r:id="rId6"/>
    <p:sldId id="2147483503" r:id="rId7"/>
    <p:sldId id="2147483495" r:id="rId8"/>
    <p:sldId id="421" r:id="rId9"/>
    <p:sldId id="2147483552" r:id="rId10"/>
    <p:sldId id="2147483549" r:id="rId11"/>
    <p:sldId id="2147483534" r:id="rId12"/>
    <p:sldId id="2147478756" r:id="rId13"/>
    <p:sldId id="2147483535" r:id="rId14"/>
    <p:sldId id="2147483536" r:id="rId15"/>
    <p:sldId id="2147483537" r:id="rId16"/>
    <p:sldId id="2147483538" r:id="rId17"/>
    <p:sldId id="2147483540" r:id="rId18"/>
    <p:sldId id="2147483541" r:id="rId19"/>
    <p:sldId id="2147483520" r:id="rId20"/>
    <p:sldId id="2147483543" r:id="rId21"/>
    <p:sldId id="2147483544" r:id="rId22"/>
    <p:sldId id="2147483545" r:id="rId23"/>
    <p:sldId id="2147483531" r:id="rId24"/>
    <p:sldId id="2147483542" r:id="rId25"/>
    <p:sldId id="2147478749" r:id="rId26"/>
    <p:sldId id="2147483496" r:id="rId27"/>
    <p:sldId id="2147483553" r:id="rId28"/>
    <p:sldId id="2147483554" r:id="rId29"/>
    <p:sldId id="2147483486" r:id="rId30"/>
    <p:sldId id="2147483507" r:id="rId31"/>
  </p:sldIdLst>
  <p:sldSz cx="12192000" cy="6858000"/>
  <p:notesSz cx="6858000" cy="9144000"/>
  <p:custDataLst>
    <p:tags r:id="rId34"/>
  </p:custDataLst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CC635E6-96AD-B144-8D8B-307397187421}">
          <p14:sldIdLst>
            <p14:sldId id="419"/>
            <p14:sldId id="2147483503"/>
            <p14:sldId id="2147483495"/>
            <p14:sldId id="421"/>
            <p14:sldId id="2147483552"/>
            <p14:sldId id="2147483549"/>
            <p14:sldId id="2147483534"/>
            <p14:sldId id="2147478756"/>
            <p14:sldId id="2147483535"/>
            <p14:sldId id="2147483536"/>
            <p14:sldId id="2147483537"/>
            <p14:sldId id="2147483538"/>
            <p14:sldId id="2147483540"/>
            <p14:sldId id="2147483541"/>
            <p14:sldId id="2147483520"/>
            <p14:sldId id="2147483543"/>
            <p14:sldId id="2147483544"/>
            <p14:sldId id="2147483545"/>
            <p14:sldId id="2147483531"/>
            <p14:sldId id="2147483542"/>
            <p14:sldId id="2147478749"/>
            <p14:sldId id="2147483496"/>
            <p14:sldId id="2147483553"/>
            <p14:sldId id="2147483554"/>
          </p14:sldIdLst>
        </p14:section>
        <p14:section name="Annex" id="{CC4EC156-059A-E948-817A-1D2BC1D0AA8D}">
          <p14:sldIdLst>
            <p14:sldId id="2147483486"/>
            <p14:sldId id="214748350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067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E700"/>
    <a:srgbClr val="FFEFBA"/>
    <a:srgbClr val="FFE600"/>
    <a:srgbClr val="747480"/>
    <a:srgbClr val="C4C4CD"/>
    <a:srgbClr val="808080"/>
    <a:srgbClr val="F2F2F2"/>
    <a:srgbClr val="000A00"/>
    <a:srgbClr val="000000"/>
    <a:srgbClr val="FFEB3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433993E-C696-804A-B28E-72F6F141B8DA}" v="431" dt="2025-10-29T09:18:08.261"/>
    <p1510:client id="{17012439-547F-4464-A763-4DDDBBBDB24C}" v="299" dt="2025-10-29T12:01:30.016"/>
    <p1510:client id="{2B28291A-0AAE-9DA6-D05B-725DC89231C8}" v="5" dt="2025-10-29T09:41:06.793"/>
    <p1510:client id="{2BD83495-E604-0B4A-B772-C3F22B0157B0}" v="24" dt="2025-10-29T09:43:59.068"/>
    <p1510:client id="{A49A69A5-494B-48BD-BC8D-7221750D3CE8}" v="172" dt="2025-10-29T09:51:26.951"/>
    <p1510:client id="{BF07032A-66C1-4B02-9EE8-1320A4255342}" v="958" dt="2025-10-29T14:10:37.83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268"/>
      </p:cViewPr>
      <p:guideLst>
        <p:guide orient="horz" pos="306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90" d="100"/>
        <a:sy n="90" d="100"/>
      </p:scale>
      <p:origin x="0" y="-599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microsoft.com/office/2016/11/relationships/changesInfo" Target="changesInfos/changesInfo1.xml"/><Relationship Id="rId21" Type="http://schemas.openxmlformats.org/officeDocument/2006/relationships/slide" Target="slides/slide16.xml"/><Relationship Id="rId34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40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presProps" Target="presProp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lisabetta Rudi" userId="cdb9a975-d1b0-4d5e-9007-f48e56bd9633" providerId="ADAL" clId="{C919CC78-C0F8-4E0C-A99A-81BD92DFEA96}"/>
    <pc:docChg chg="modSld sldOrd">
      <pc:chgData name="Elisabetta Rudi" userId="cdb9a975-d1b0-4d5e-9007-f48e56bd9633" providerId="ADAL" clId="{C919CC78-C0F8-4E0C-A99A-81BD92DFEA96}" dt="2025-10-30T09:07:27.248" v="1"/>
      <pc:docMkLst>
        <pc:docMk/>
      </pc:docMkLst>
      <pc:sldChg chg="ord">
        <pc:chgData name="Elisabetta Rudi" userId="cdb9a975-d1b0-4d5e-9007-f48e56bd9633" providerId="ADAL" clId="{C919CC78-C0F8-4E0C-A99A-81BD92DFEA96}" dt="2025-10-30T09:07:27.248" v="1"/>
        <pc:sldMkLst>
          <pc:docMk/>
          <pc:sldMk cId="4011777858" sldId="2147483542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1.xlsb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2.xlsb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3.xlsb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4.xlsb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5.xlsb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8.xlsb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3.xlsb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4.xlsb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5.xlsb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451182316808005E-2"/>
          <c:y val="0"/>
          <c:w val="0.89953875576555298"/>
          <c:h val="0.9258751346250153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EA</c:v>
                </c:pt>
              </c:strCache>
            </c:strRef>
          </c:tx>
          <c:spPr>
            <a:solidFill>
              <a:srgbClr val="FFEFBA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6.9192601096977613E-2"/>
                  <c:y val="-6.3632945130615301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44BC-459A-BC42-71EDD1220048}"/>
                </c:ext>
              </c:extLst>
            </c:dLbl>
            <c:dLbl>
              <c:idx val="1"/>
              <c:layout>
                <c:manualLayout>
                  <c:x val="6.60474828652967E-2"/>
                  <c:y val="-6.3632945130614139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44BC-459A-BC42-71EDD1220048}"/>
                </c:ext>
              </c:extLst>
            </c:dLbl>
            <c:dLbl>
              <c:idx val="2"/>
              <c:layout>
                <c:manualLayout>
                  <c:x val="6.9192601096977613E-2"/>
                  <c:y val="-6.3632945130615301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44BC-459A-BC42-71EDD1220048}"/>
                </c:ext>
              </c:extLst>
            </c:dLbl>
            <c:dLbl>
              <c:idx val="3"/>
              <c:layout>
                <c:manualLayout>
                  <c:x val="6.8008112711602051E-2"/>
                  <c:y val="-3.1816472565308236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44BC-459A-BC42-71EDD122004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2023</c:v>
                </c:pt>
                <c:pt idx="1">
                  <c:v>2024</c:v>
                </c:pt>
                <c:pt idx="2">
                  <c:v>2025F</c:v>
                </c:pt>
                <c:pt idx="3">
                  <c:v>2029F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37.6</c:v>
                </c:pt>
                <c:pt idx="1">
                  <c:v>44.1</c:v>
                </c:pt>
                <c:pt idx="2">
                  <c:v>51.8</c:v>
                </c:pt>
                <c:pt idx="3">
                  <c:v>8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4BC-459A-BC42-71EDD122004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LATAM</c:v>
                </c:pt>
              </c:strCache>
            </c:strRef>
          </c:tx>
          <c:spPr>
            <a:solidFill>
              <a:srgbClr val="FFE6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2023</c:v>
                </c:pt>
                <c:pt idx="1">
                  <c:v>2024</c:v>
                </c:pt>
                <c:pt idx="2">
                  <c:v>2025F</c:v>
                </c:pt>
                <c:pt idx="3">
                  <c:v>2029F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140.30000000000001</c:v>
                </c:pt>
                <c:pt idx="1">
                  <c:v>171.6</c:v>
                </c:pt>
                <c:pt idx="2">
                  <c:v>209.9</c:v>
                </c:pt>
                <c:pt idx="3">
                  <c:v>383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4BC-459A-BC42-71EDD122004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ORTH AMERICA</c:v>
                </c:pt>
              </c:strCache>
            </c:strRef>
          </c:tx>
          <c:spPr>
            <a:solidFill>
              <a:srgbClr val="74748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2023</c:v>
                </c:pt>
                <c:pt idx="1">
                  <c:v>2024</c:v>
                </c:pt>
                <c:pt idx="2">
                  <c:v>2025F</c:v>
                </c:pt>
                <c:pt idx="3">
                  <c:v>2029F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41.1</c:v>
                </c:pt>
                <c:pt idx="1">
                  <c:v>256.39999999999998</c:v>
                </c:pt>
                <c:pt idx="2">
                  <c:v>274.5</c:v>
                </c:pt>
                <c:pt idx="3">
                  <c:v>373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4BC-459A-BC42-71EDD122004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EUROPE</c:v>
                </c:pt>
              </c:strCache>
            </c:strRef>
          </c:tx>
          <c:spPr>
            <a:solidFill>
              <a:srgbClr val="C4C4CD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2023</c:v>
                </c:pt>
                <c:pt idx="1">
                  <c:v>2024</c:v>
                </c:pt>
                <c:pt idx="2">
                  <c:v>2025F</c:v>
                </c:pt>
                <c:pt idx="3">
                  <c:v>2029F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360.1</c:v>
                </c:pt>
                <c:pt idx="1">
                  <c:v>413.7</c:v>
                </c:pt>
                <c:pt idx="2">
                  <c:v>472.9</c:v>
                </c:pt>
                <c:pt idx="3">
                  <c:v>692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4BC-459A-BC42-71EDD122004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APAC</c:v>
                </c:pt>
              </c:strCache>
            </c:strRef>
          </c:tx>
          <c:spPr>
            <a:solidFill>
              <a:srgbClr val="80808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2023</c:v>
                </c:pt>
                <c:pt idx="1">
                  <c:v>2024</c:v>
                </c:pt>
                <c:pt idx="2">
                  <c:v>2025F</c:v>
                </c:pt>
                <c:pt idx="3">
                  <c:v>2029F</c:v>
                </c:pt>
              </c:strCache>
            </c:strRef>
          </c:cat>
          <c:val>
            <c:numRef>
              <c:f>Sheet1!$F$2:$F$5</c:f>
              <c:numCache>
                <c:formatCode>General</c:formatCode>
                <c:ptCount val="4"/>
                <c:pt idx="0">
                  <c:v>659.8</c:v>
                </c:pt>
                <c:pt idx="1">
                  <c:v>798.7</c:v>
                </c:pt>
                <c:pt idx="2">
                  <c:v>967.8</c:v>
                </c:pt>
                <c:pt idx="3">
                  <c:v>2006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4BC-459A-BC42-71EDD1220048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581787744"/>
        <c:axId val="1581809344"/>
      </c:barChart>
      <c:catAx>
        <c:axId val="15817877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581809344"/>
        <c:crosses val="autoZero"/>
        <c:auto val="1"/>
        <c:lblAlgn val="ctr"/>
        <c:lblOffset val="100"/>
        <c:noMultiLvlLbl val="0"/>
      </c:catAx>
      <c:valAx>
        <c:axId val="15818093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581787744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l"/>
      <c:layout>
        <c:manualLayout>
          <c:xMode val="edge"/>
          <c:yMode val="edge"/>
          <c:x val="1.2457854196413471E-2"/>
          <c:y val="0.15714606742136006"/>
          <c:w val="0.19315991215545206"/>
          <c:h val="0.2466402932326362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tx1">
                  <a:lumMod val="5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BBF-214C-8B26-FD8A70FBB21B}"/>
              </c:ext>
            </c:extLst>
          </c:dPt>
          <c:dPt>
            <c:idx val="1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BBF-214C-8B26-FD8A70FBB21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BBF-214C-8B26-FD8A70FBB21B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BBF-214C-8B26-FD8A70FBB21B}"/>
              </c:ext>
            </c:extLst>
          </c:dPt>
          <c:cat>
            <c:strRef>
              <c:f>Sheet1!$A$2:$A$5</c:f>
              <c:strCache>
                <c:ptCount val="2"/>
                <c:pt idx="0">
                  <c:v>want to introduce it</c:v>
                </c:pt>
                <c:pt idx="1">
                  <c:v>not interested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96</c:v>
                </c:pt>
                <c:pt idx="1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BBF-214C-8B26-FD8A70FBB2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tx1">
                  <a:lumMod val="5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806-4C43-9F0D-08DDCA4CC15F}"/>
              </c:ext>
            </c:extLst>
          </c:dPt>
          <c:dPt>
            <c:idx val="1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806-4C43-9F0D-08DDCA4CC15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806-4C43-9F0D-08DDCA4CC15F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806-4C43-9F0D-08DDCA4CC15F}"/>
              </c:ext>
            </c:extLst>
          </c:dPt>
          <c:cat>
            <c:strRef>
              <c:f>Sheet1!$A$2:$A$5</c:f>
              <c:strCache>
                <c:ptCount val="2"/>
                <c:pt idx="0">
                  <c:v>want to introduce it</c:v>
                </c:pt>
                <c:pt idx="1">
                  <c:v>not interested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91</c:v>
                </c:pt>
                <c:pt idx="1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806-4C43-9F0D-08DDCA4CC1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tx1">
                  <a:lumMod val="5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806-4C43-9F0D-08DDCA4CC15F}"/>
              </c:ext>
            </c:extLst>
          </c:dPt>
          <c:dPt>
            <c:idx val="1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806-4C43-9F0D-08DDCA4CC15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806-4C43-9F0D-08DDCA4CC15F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806-4C43-9F0D-08DDCA4CC15F}"/>
              </c:ext>
            </c:extLst>
          </c:dPt>
          <c:cat>
            <c:strRef>
              <c:f>Sheet1!$A$2:$A$5</c:f>
              <c:strCache>
                <c:ptCount val="2"/>
                <c:pt idx="0">
                  <c:v>want to introduce it</c:v>
                </c:pt>
                <c:pt idx="1">
                  <c:v>not interested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77</c:v>
                </c:pt>
                <c:pt idx="1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806-4C43-9F0D-08DDCA4CC1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972498090145149E-2"/>
          <c:y val="2.369020501138952E-2"/>
          <c:w val="0.92055003819709702"/>
          <c:h val="0.9526195899772209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bg2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G$1</c:f>
              <c:numCache>
                <c:formatCode>General</c:formatCode>
                <c:ptCount val="7"/>
                <c:pt idx="0">
                  <c:v>62</c:v>
                </c:pt>
                <c:pt idx="1">
                  <c:v>53</c:v>
                </c:pt>
                <c:pt idx="2">
                  <c:v>44</c:v>
                </c:pt>
                <c:pt idx="3">
                  <c:v>44</c:v>
                </c:pt>
                <c:pt idx="4">
                  <c:v>42</c:v>
                </c:pt>
                <c:pt idx="5">
                  <c:v>40</c:v>
                </c:pt>
                <c:pt idx="6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38F-F74F-AC1E-2002F3231D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35670816"/>
        <c:axId val="1"/>
      </c:barChart>
      <c:catAx>
        <c:axId val="83567081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175" cmpd="sng" algn="ctr">
            <a:solidFill>
              <a:srgbClr val="74748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2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83567081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8578553615960103E-2"/>
          <c:y val="0.13066666666666665"/>
          <c:w val="0.86346633416458851"/>
          <c:h val="0.73866666666666669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808080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7900-6B48-AC7D-70BCDFBE87DD}"/>
              </c:ext>
            </c:extLst>
          </c:dPt>
          <c:dPt>
            <c:idx val="1"/>
            <c:bubble3D val="0"/>
            <c:spPr>
              <a:solidFill>
                <a:schemeClr val="tx2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7900-6B48-AC7D-70BCDFBE87DD}"/>
              </c:ext>
            </c:extLst>
          </c:dPt>
          <c:dPt>
            <c:idx val="2"/>
            <c:bubble3D val="0"/>
            <c:spPr>
              <a:solidFill>
                <a:srgbClr val="FFEFBA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7900-6B48-AC7D-70BCDFBE87DD}"/>
              </c:ext>
            </c:extLst>
          </c:dPt>
          <c:dPt>
            <c:idx val="3"/>
            <c:bubble3D val="0"/>
            <c:spPr>
              <a:solidFill>
                <a:srgbClr val="C4C4CD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7900-6B48-AC7D-70BCDFBE87DD}"/>
              </c:ext>
            </c:extLst>
          </c:dPt>
          <c:dPt>
            <c:idx val="4"/>
            <c:bubble3D val="0"/>
            <c:spPr>
              <a:solidFill>
                <a:srgbClr val="969696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7900-6B48-AC7D-70BCDFBE87DD}"/>
              </c:ext>
            </c:extLst>
          </c:dPt>
          <c:dLbls>
            <c:dLbl>
              <c:idx val="0"/>
              <c:layout>
                <c:manualLayout>
                  <c:x val="1.3092269326683292E-2"/>
                  <c:y val="-0.0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900-6B48-AC7D-70BCDFBE87DD}"/>
                </c:ext>
              </c:extLst>
            </c:dLbl>
            <c:dLbl>
              <c:idx val="1"/>
              <c:layout>
                <c:manualLayout>
                  <c:x val="2.0573566084788029E-2"/>
                  <c:y val="1.1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900-6B48-AC7D-70BCDFBE87DD}"/>
                </c:ext>
              </c:extLst>
            </c:dLbl>
            <c:dLbl>
              <c:idx val="2"/>
              <c:layout>
                <c:manualLayout>
                  <c:x val="-2.9925187032418952E-2"/>
                  <c:y val="4.2666666666666669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7900-6B48-AC7D-70BCDFBE87DD}"/>
                </c:ext>
              </c:extLst>
            </c:dLbl>
            <c:dLbl>
              <c:idx val="3"/>
              <c:layout>
                <c:manualLayout>
                  <c:x val="-2.8054862842892769E-2"/>
                  <c:y val="-2.7199999999999998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7900-6B48-AC7D-70BCDFBE87DD}"/>
                </c:ext>
              </c:extLst>
            </c:dLbl>
            <c:dLbl>
              <c:idx val="4"/>
              <c:layout>
                <c:manualLayout>
                  <c:x val="-1.3092269326683292E-2"/>
                  <c:y val="-0.0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7900-6B48-AC7D-70BCDFBE87D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5</c:f>
              <c:numCache>
                <c:formatCode>General</c:formatCode>
                <c:ptCount val="5"/>
                <c:pt idx="0">
                  <c:v>9</c:v>
                </c:pt>
                <c:pt idx="1">
                  <c:v>50</c:v>
                </c:pt>
                <c:pt idx="2">
                  <c:v>27</c:v>
                </c:pt>
                <c:pt idx="3">
                  <c:v>5</c:v>
                </c:pt>
                <c:pt idx="4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900-6B48-AC7D-70BCDFBE87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358565737051793E-2"/>
          <c:y val="0.21666666666666667"/>
          <c:w val="0.97928286852589641"/>
          <c:h val="0.5666666666666666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bg2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G$1</c:f>
              <c:numCache>
                <c:formatCode>General</c:formatCode>
                <c:ptCount val="7"/>
                <c:pt idx="0">
                  <c:v>77</c:v>
                </c:pt>
                <c:pt idx="1">
                  <c:v>59</c:v>
                </c:pt>
                <c:pt idx="2">
                  <c:v>45</c:v>
                </c:pt>
                <c:pt idx="3">
                  <c:v>36</c:v>
                </c:pt>
                <c:pt idx="4">
                  <c:v>14.000000000000002</c:v>
                </c:pt>
                <c:pt idx="5">
                  <c:v>9</c:v>
                </c:pt>
                <c:pt idx="6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0A4-DA4B-A0D8-ABD8AFB15B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35662176"/>
        <c:axId val="1"/>
      </c:barChart>
      <c:catAx>
        <c:axId val="8356621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175" cmpd="sng" algn="ctr">
            <a:solidFill>
              <a:srgbClr val="74748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356621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231127679403542E-2"/>
          <c:y val="6.8062827225130892E-2"/>
          <c:w val="0.9515377446411929"/>
          <c:h val="0.8638743455497381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bg2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9</c:v>
                </c:pt>
                <c:pt idx="1">
                  <c:v>78</c:v>
                </c:pt>
                <c:pt idx="2">
                  <c:v>12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EB-5542-BF08-8BAF8247A8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1334784"/>
        <c:axId val="1"/>
      </c:barChart>
      <c:catAx>
        <c:axId val="2113347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175" cmpd="sng" algn="ctr">
            <a:solidFill>
              <a:srgbClr val="74748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113347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231127679403542E-2"/>
          <c:y val="6.8062827225130892E-2"/>
          <c:w val="0.9515377446411929"/>
          <c:h val="0.8638743455497381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bg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40</c:v>
                </c:pt>
                <c:pt idx="1">
                  <c:v>41</c:v>
                </c:pt>
                <c:pt idx="2">
                  <c:v>7.0000000000000009</c:v>
                </c:pt>
                <c:pt idx="3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10-6647-B9DE-A3460A7558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1329024"/>
        <c:axId val="1"/>
      </c:barChart>
      <c:catAx>
        <c:axId val="21132902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175" cmpd="sng" algn="ctr">
            <a:solidFill>
              <a:srgbClr val="74748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1132902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bg1">
                  <a:lumMod val="75000"/>
                  <a:lumOff val="2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B99-D241-BEA3-F29B7BD66664}"/>
              </c:ext>
            </c:extLst>
          </c:dPt>
          <c:dPt>
            <c:idx val="1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B99-D241-BEA3-F29B7BD6666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B99-D241-BEA3-F29B7BD66664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B99-D241-BEA3-F29B7BD66664}"/>
              </c:ext>
            </c:extLst>
          </c:dPt>
          <c:cat>
            <c:strRef>
              <c:f>Sheet1!$A$2:$A$5</c:f>
              <c:strCache>
                <c:ptCount val="2"/>
                <c:pt idx="0">
                  <c:v>want to introduce it</c:v>
                </c:pt>
                <c:pt idx="1">
                  <c:v>not interested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4</c:v>
                </c:pt>
                <c:pt idx="1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B99-D241-BEA3-F29B7BD666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bg1">
                  <a:lumMod val="75000"/>
                  <a:lumOff val="2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E7E-7149-B46E-8281D5F8FA5E}"/>
              </c:ext>
            </c:extLst>
          </c:dPt>
          <c:dPt>
            <c:idx val="1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E7E-7149-B46E-8281D5F8FA5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E7E-7149-B46E-8281D5F8FA5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E7E-7149-B46E-8281D5F8FA5E}"/>
              </c:ext>
            </c:extLst>
          </c:dPt>
          <c:cat>
            <c:strRef>
              <c:f>Sheet1!$A$2:$A$5</c:f>
              <c:strCache>
                <c:ptCount val="2"/>
                <c:pt idx="0">
                  <c:v>want to introduce it</c:v>
                </c:pt>
                <c:pt idx="1">
                  <c:v>not interested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1</c:v>
                </c:pt>
                <c:pt idx="1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E7E-7149-B46E-8281D5F8FA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451182316808005E-2"/>
          <c:y val="0"/>
          <c:w val="0.93080739890302233"/>
          <c:h val="0.9258751346250153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heck</c:v>
                </c:pt>
              </c:strCache>
            </c:strRef>
          </c:tx>
          <c:spPr>
            <a:solidFill>
              <a:srgbClr val="FFEFBA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8.681330547860433E-2"/>
                  <c:y val="-1.8923314339981116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44BC-459A-BC42-71EDD1220048}"/>
                </c:ext>
              </c:extLst>
            </c:dLbl>
            <c:dLbl>
              <c:idx val="1"/>
              <c:layout>
                <c:manualLayout>
                  <c:x val="8.551914043518169E-2"/>
                  <c:y val="-1.875688509021853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44BC-459A-BC42-71EDD1220048}"/>
                </c:ext>
              </c:extLst>
            </c:dLbl>
            <c:dLbl>
              <c:idx val="2"/>
              <c:layout>
                <c:manualLayout>
                  <c:x val="8.7032183841211433E-2"/>
                  <c:y val="-1.809116809116820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44BC-459A-BC42-71EDD122004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2023</c:v>
                </c:pt>
                <c:pt idx="1">
                  <c:v>2024</c:v>
                </c:pt>
                <c:pt idx="2">
                  <c:v>2029F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01</c:v>
                </c:pt>
                <c:pt idx="1">
                  <c:v>0.01</c:v>
                </c:pt>
                <c:pt idx="2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4BC-459A-BC42-71EDD122004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ard</c:v>
                </c:pt>
              </c:strCache>
            </c:strRef>
          </c:tx>
          <c:spPr>
            <a:solidFill>
              <a:srgbClr val="FFE6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2023</c:v>
                </c:pt>
                <c:pt idx="1">
                  <c:v>2024</c:v>
                </c:pt>
                <c:pt idx="2">
                  <c:v>2029F</c:v>
                </c:pt>
              </c:strCache>
            </c:strRef>
          </c:cat>
          <c:val>
            <c:numRef>
              <c:f>Sheet1!$C$2:$C$4</c:f>
              <c:numCache>
                <c:formatCode>0%</c:formatCode>
                <c:ptCount val="3"/>
                <c:pt idx="0">
                  <c:v>0.56999999999999995</c:v>
                </c:pt>
                <c:pt idx="1">
                  <c:v>0.52</c:v>
                </c:pt>
                <c:pt idx="2">
                  <c:v>0.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4BC-459A-BC42-71EDD122004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redit transfer</c:v>
                </c:pt>
              </c:strCache>
            </c:strRef>
          </c:tx>
          <c:spPr>
            <a:solidFill>
              <a:srgbClr val="74748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2023</c:v>
                </c:pt>
                <c:pt idx="1">
                  <c:v>2024</c:v>
                </c:pt>
                <c:pt idx="2">
                  <c:v>2029F</c:v>
                </c:pt>
              </c:strCache>
            </c:strRef>
          </c:cat>
          <c:val>
            <c:numRef>
              <c:f>Sheet1!$D$2:$D$4</c:f>
              <c:numCache>
                <c:formatCode>0%</c:formatCode>
                <c:ptCount val="3"/>
                <c:pt idx="0">
                  <c:v>0.17</c:v>
                </c:pt>
                <c:pt idx="1">
                  <c:v>0.17</c:v>
                </c:pt>
                <c:pt idx="2">
                  <c:v>0.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4BC-459A-BC42-71EDD122004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Direct debit</c:v>
                </c:pt>
              </c:strCache>
            </c:strRef>
          </c:tx>
          <c:spPr>
            <a:solidFill>
              <a:srgbClr val="C4C4CD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2023</c:v>
                </c:pt>
                <c:pt idx="1">
                  <c:v>2024</c:v>
                </c:pt>
                <c:pt idx="2">
                  <c:v>2029F</c:v>
                </c:pt>
              </c:strCache>
            </c:strRef>
          </c:cat>
          <c:val>
            <c:numRef>
              <c:f>Sheet1!$E$2:$E$4</c:f>
              <c:numCache>
                <c:formatCode>0%</c:formatCode>
                <c:ptCount val="3"/>
                <c:pt idx="0">
                  <c:v>0.04</c:v>
                </c:pt>
                <c:pt idx="1">
                  <c:v>0.04</c:v>
                </c:pt>
                <c:pt idx="2">
                  <c:v>0.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4BC-459A-BC42-71EDD122004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Instant</c:v>
                </c:pt>
              </c:strCache>
            </c:strRef>
          </c:tx>
          <c:spPr>
            <a:solidFill>
              <a:srgbClr val="80808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5279970699120576E-3"/>
                  <c:y val="-5.408800336102201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4BC-459A-BC42-71EDD1220048}"/>
                </c:ext>
              </c:extLst>
            </c:dLbl>
            <c:dLbl>
              <c:idx val="1"/>
              <c:layout>
                <c:manualLayout>
                  <c:x val="0"/>
                  <c:y val="-6.999623964367554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954-454E-9274-D41B7BFE66DD}"/>
                </c:ext>
              </c:extLst>
            </c:dLbl>
            <c:dLbl>
              <c:idx val="2"/>
              <c:layout>
                <c:manualLayout>
                  <c:x val="-1.8538431021817978E-16"/>
                  <c:y val="-8.9086123182859814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954-454E-9274-D41B7BFE66D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2023</c:v>
                </c:pt>
                <c:pt idx="1">
                  <c:v>2024</c:v>
                </c:pt>
                <c:pt idx="2">
                  <c:v>2029F</c:v>
                </c:pt>
              </c:strCache>
            </c:strRef>
          </c:cat>
          <c:val>
            <c:numRef>
              <c:f>Sheet1!$F$2:$F$4</c:f>
              <c:numCache>
                <c:formatCode>0%</c:formatCode>
                <c:ptCount val="3"/>
                <c:pt idx="0">
                  <c:v>0.21</c:v>
                </c:pt>
                <c:pt idx="1">
                  <c:v>0.25</c:v>
                </c:pt>
                <c:pt idx="2">
                  <c:v>0.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4BC-459A-BC42-71EDD1220048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581787744"/>
        <c:axId val="1581809344"/>
      </c:barChart>
      <c:catAx>
        <c:axId val="15817877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581809344"/>
        <c:crosses val="autoZero"/>
        <c:auto val="1"/>
        <c:lblAlgn val="ctr"/>
        <c:lblOffset val="100"/>
        <c:noMultiLvlLbl val="0"/>
      </c:catAx>
      <c:valAx>
        <c:axId val="1581809344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5817877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744292237442923E-2"/>
          <c:y val="6.8062827225130892E-2"/>
          <c:w val="0.9525114155251142"/>
          <c:h val="0.8638743455497381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bg2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52</c:v>
                </c:pt>
                <c:pt idx="1">
                  <c:v>45</c:v>
                </c:pt>
                <c:pt idx="2">
                  <c:v>34</c:v>
                </c:pt>
                <c:pt idx="3">
                  <c:v>28.999999999999996</c:v>
                </c:pt>
                <c:pt idx="4">
                  <c:v>28.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3E-054B-BF99-12BC59A626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35720256"/>
        <c:axId val="1"/>
      </c:barChart>
      <c:catAx>
        <c:axId val="8357202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175" cmpd="sng" algn="ctr">
            <a:solidFill>
              <a:srgbClr val="74748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3572025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bg1">
                  <a:lumMod val="75000"/>
                  <a:lumOff val="2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FB1-B84C-AD54-3A42ABD60D03}"/>
              </c:ext>
            </c:extLst>
          </c:dPt>
          <c:dPt>
            <c:idx val="1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FB1-B84C-AD54-3A42ABD60D03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FB1-B84C-AD54-3A42ABD60D03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FB1-B84C-AD54-3A42ABD60D03}"/>
              </c:ext>
            </c:extLst>
          </c:dPt>
          <c:cat>
            <c:strRef>
              <c:f>Sheet1!$A$2:$A$5</c:f>
              <c:strCache>
                <c:ptCount val="2"/>
                <c:pt idx="0">
                  <c:v>want to introduce it</c:v>
                </c:pt>
                <c:pt idx="1">
                  <c:v>not interested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77</c:v>
                </c:pt>
                <c:pt idx="1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FB1-B84C-AD54-3A42ABD60D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bg1">
                  <a:lumMod val="75000"/>
                  <a:lumOff val="2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8C6-6640-A813-D0F657C9AE4C}"/>
              </c:ext>
            </c:extLst>
          </c:dPt>
          <c:dPt>
            <c:idx val="1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8C6-6640-A813-D0F657C9AE4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8C6-6640-A813-D0F657C9AE4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8C6-6640-A813-D0F657C9AE4C}"/>
              </c:ext>
            </c:extLst>
          </c:dPt>
          <c:cat>
            <c:strRef>
              <c:f>Sheet1!$A$2:$A$5</c:f>
              <c:strCache>
                <c:ptCount val="2"/>
                <c:pt idx="0">
                  <c:v>want to introduce it</c:v>
                </c:pt>
                <c:pt idx="1">
                  <c:v>not interested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9</c:v>
                </c:pt>
                <c:pt idx="1">
                  <c:v>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8C6-6640-A813-D0F657C9AE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bg1">
                  <a:lumMod val="75000"/>
                  <a:lumOff val="2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C2A-E848-8DDD-2A7561E13C50}"/>
              </c:ext>
            </c:extLst>
          </c:dPt>
          <c:dPt>
            <c:idx val="1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C2A-E848-8DDD-2A7561E13C5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C2A-E848-8DDD-2A7561E13C5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C2A-E848-8DDD-2A7561E13C50}"/>
              </c:ext>
            </c:extLst>
          </c:dPt>
          <c:cat>
            <c:strRef>
              <c:f>Sheet1!$A$2:$A$5</c:f>
              <c:strCache>
                <c:ptCount val="2"/>
                <c:pt idx="0">
                  <c:v>want to introduce it</c:v>
                </c:pt>
                <c:pt idx="1">
                  <c:v>not interested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63</c:v>
                </c:pt>
                <c:pt idx="1">
                  <c:v>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C2A-E848-8DDD-2A7561E13C5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bg1">
                  <a:lumMod val="75000"/>
                  <a:lumOff val="2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4FE-C94D-994D-1B41A4A66A97}"/>
              </c:ext>
            </c:extLst>
          </c:dPt>
          <c:dPt>
            <c:idx val="1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4FE-C94D-994D-1B41A4A66A9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4FE-C94D-994D-1B41A4A66A97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4FE-C94D-994D-1B41A4A66A97}"/>
              </c:ext>
            </c:extLst>
          </c:dPt>
          <c:cat>
            <c:strRef>
              <c:f>Sheet1!$A$2:$A$5</c:f>
              <c:strCache>
                <c:ptCount val="2"/>
                <c:pt idx="0">
                  <c:v>want to introduce it</c:v>
                </c:pt>
                <c:pt idx="1">
                  <c:v>not interested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68</c:v>
                </c:pt>
                <c:pt idx="1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4FE-C94D-994D-1B41A4A66A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3467094703049763E-2"/>
          <c:y val="2.0069471246622925E-2"/>
          <c:w val="0.8330658105939005"/>
          <c:h val="0.9598610575067541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bg2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H$1</c:f>
              <c:numCache>
                <c:formatCode>General</c:formatCode>
                <c:ptCount val="8"/>
                <c:pt idx="0">
                  <c:v>56.000000000000007</c:v>
                </c:pt>
                <c:pt idx="1">
                  <c:v>56.000000000000007</c:v>
                </c:pt>
                <c:pt idx="2">
                  <c:v>49</c:v>
                </c:pt>
                <c:pt idx="3">
                  <c:v>49</c:v>
                </c:pt>
                <c:pt idx="4">
                  <c:v>30</c:v>
                </c:pt>
                <c:pt idx="5">
                  <c:v>27</c:v>
                </c:pt>
                <c:pt idx="6">
                  <c:v>24</c:v>
                </c:pt>
                <c:pt idx="7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F77-1D41-A32C-149DDCAA03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27413680"/>
        <c:axId val="1"/>
      </c:barChart>
      <c:catAx>
        <c:axId val="142741368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175" cmpd="sng" algn="ctr">
            <a:solidFill>
              <a:srgbClr val="74748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6.000000000000007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4274136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75513933302878E-2"/>
          <c:y val="6.1611374407582936E-2"/>
          <c:w val="0.95248972133394239"/>
          <c:h val="0.8767772511848340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bg2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53</c:v>
                </c:pt>
                <c:pt idx="1">
                  <c:v>46</c:v>
                </c:pt>
                <c:pt idx="2">
                  <c:v>13</c:v>
                </c:pt>
                <c:pt idx="3">
                  <c:v>5</c:v>
                </c:pt>
                <c:pt idx="4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D7-3B40-9F4B-A42D48E219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35656896"/>
        <c:axId val="1"/>
      </c:barChart>
      <c:catAx>
        <c:axId val="8356568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175" cmpd="sng" algn="ctr">
            <a:solidFill>
              <a:srgbClr val="74748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3565689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321796071094481E-2"/>
          <c:y val="6.1611374407582936E-2"/>
          <c:w val="0.95135640785781106"/>
          <c:h val="0.8767772511848340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bg2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9</c:v>
                </c:pt>
                <c:pt idx="1">
                  <c:v>56.000000000000007</c:v>
                </c:pt>
                <c:pt idx="2">
                  <c:v>34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876-B14E-B120-1765F3F2D5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35744256"/>
        <c:axId val="1"/>
      </c:barChart>
      <c:catAx>
        <c:axId val="8357442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175" cmpd="sng" algn="ctr">
            <a:solidFill>
              <a:srgbClr val="74748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6.00000000000000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3574425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bg1">
                  <a:lumMod val="75000"/>
                  <a:lumOff val="2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046-D64D-BCAE-97DE62631941}"/>
              </c:ext>
            </c:extLst>
          </c:dPt>
          <c:dPt>
            <c:idx val="1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046-D64D-BCAE-97DE6263194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046-D64D-BCAE-97DE62631941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046-D64D-BCAE-97DE62631941}"/>
              </c:ext>
            </c:extLst>
          </c:dPt>
          <c:cat>
            <c:strRef>
              <c:f>Sheet1!$A$2:$A$5</c:f>
              <c:strCache>
                <c:ptCount val="2"/>
                <c:pt idx="0">
                  <c:v>want to introduce it</c:v>
                </c:pt>
                <c:pt idx="1">
                  <c:v>not interested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3</c:v>
                </c:pt>
                <c:pt idx="1">
                  <c:v>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046-D64D-BCAE-97DE626319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bg1">
                  <a:lumMod val="75000"/>
                  <a:lumOff val="2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7FC-4A40-BCAB-72F1F11B1831}"/>
              </c:ext>
            </c:extLst>
          </c:dPt>
          <c:dPt>
            <c:idx val="1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7FC-4A40-BCAB-72F1F11B183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7FC-4A40-BCAB-72F1F11B1831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7FC-4A40-BCAB-72F1F11B1831}"/>
              </c:ext>
            </c:extLst>
          </c:dPt>
          <c:cat>
            <c:strRef>
              <c:f>Sheet1!$A$2:$A$5</c:f>
              <c:strCache>
                <c:ptCount val="2"/>
                <c:pt idx="0">
                  <c:v>want to introduce it</c:v>
                </c:pt>
                <c:pt idx="1">
                  <c:v>not interested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30</c:v>
                </c:pt>
                <c:pt idx="1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7FC-4A40-BCAB-72F1F11B18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3960639606396058E-2"/>
          <c:y val="6.3960639606396058E-2"/>
          <c:w val="0.87207872078720783"/>
          <c:h val="0.8720787207872078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808080"/>
              </a:solidFill>
              <a:ln w="9525" cmpd="sng" algn="ctr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BB07-7C4E-8412-653508360287}"/>
              </c:ext>
            </c:extLst>
          </c:dPt>
          <c:dPt>
            <c:idx val="1"/>
            <c:bubble3D val="0"/>
            <c:spPr>
              <a:solidFill>
                <a:srgbClr val="C4C4CD"/>
              </a:solidFill>
              <a:ln w="9525" cmpd="sng" algn="ctr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BB07-7C4E-8412-653508360287}"/>
              </c:ext>
            </c:extLst>
          </c:dPt>
          <c:dPt>
            <c:idx val="2"/>
            <c:bubble3D val="0"/>
            <c:spPr>
              <a:solidFill>
                <a:schemeClr val="tx2"/>
              </a:solidFill>
              <a:ln w="9525" cmpd="sng" algn="ctr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BB07-7C4E-8412-653508360287}"/>
              </c:ext>
            </c:extLst>
          </c:dPt>
          <c:dPt>
            <c:idx val="3"/>
            <c:bubble3D val="0"/>
            <c:spPr>
              <a:solidFill>
                <a:srgbClr val="FFEFBA"/>
              </a:solidFill>
              <a:ln w="9525" cmpd="sng" algn="ctr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BB07-7C4E-8412-653508360287}"/>
              </c:ext>
            </c:extLst>
          </c:dPt>
          <c:dPt>
            <c:idx val="4"/>
            <c:bubble3D val="0"/>
            <c:spPr>
              <a:solidFill>
                <a:srgbClr val="747480"/>
              </a:solidFill>
              <a:ln w="9525" cmpd="sng" algn="ctr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BB07-7C4E-8412-653508360287}"/>
              </c:ext>
            </c:extLst>
          </c:dPt>
          <c:dPt>
            <c:idx val="5"/>
            <c:bubble3D val="0"/>
            <c:spPr>
              <a:solidFill>
                <a:srgbClr val="FFFFFF"/>
              </a:solidFill>
              <a:ln w="9525" cmpd="sng" algn="ctr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BB07-7C4E-8412-653508360287}"/>
              </c:ext>
            </c:extLst>
          </c:dPt>
          <c:val>
            <c:numRef>
              <c:f>Sheet1!$A$1:$A$6</c:f>
              <c:numCache>
                <c:formatCode>General</c:formatCode>
                <c:ptCount val="6"/>
                <c:pt idx="0">
                  <c:v>8</c:v>
                </c:pt>
                <c:pt idx="1">
                  <c:v>10</c:v>
                </c:pt>
                <c:pt idx="2">
                  <c:v>34</c:v>
                </c:pt>
                <c:pt idx="3">
                  <c:v>12</c:v>
                </c:pt>
                <c:pt idx="4">
                  <c:v>25</c:v>
                </c:pt>
                <c:pt idx="5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BB07-7C4E-8412-6535083602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3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bg1">
                  <a:lumMod val="75000"/>
                  <a:lumOff val="2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2A6-FD4F-91AB-E60239CB1956}"/>
              </c:ext>
            </c:extLst>
          </c:dPt>
          <c:dPt>
            <c:idx val="1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2A6-FD4F-91AB-E60239CB1956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2A6-FD4F-91AB-E60239CB1956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2A6-FD4F-91AB-E60239CB1956}"/>
              </c:ext>
            </c:extLst>
          </c:dPt>
          <c:cat>
            <c:strRef>
              <c:f>Sheet1!$A$2:$A$5</c:f>
              <c:strCache>
                <c:ptCount val="2"/>
                <c:pt idx="0">
                  <c:v>want to introduce it</c:v>
                </c:pt>
                <c:pt idx="1">
                  <c:v>not interested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0</c:v>
                </c:pt>
                <c:pt idx="1">
                  <c:v>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2A6-FD4F-91AB-E60239CB19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bg1">
                  <a:lumMod val="75000"/>
                  <a:lumOff val="2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B4E-DC46-A6CA-273B3B0EBA01}"/>
              </c:ext>
            </c:extLst>
          </c:dPt>
          <c:dPt>
            <c:idx val="1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B4E-DC46-A6CA-273B3B0EBA0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B4E-DC46-A6CA-273B3B0EBA01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B4E-DC46-A6CA-273B3B0EBA01}"/>
              </c:ext>
            </c:extLst>
          </c:dPt>
          <c:cat>
            <c:strRef>
              <c:f>Sheet1!$A$2:$A$5</c:f>
              <c:strCache>
                <c:ptCount val="2"/>
                <c:pt idx="0">
                  <c:v>want to introduce it</c:v>
                </c:pt>
                <c:pt idx="1">
                  <c:v>not interested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68</c:v>
                </c:pt>
                <c:pt idx="1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B4E-DC46-A6CA-273B3B0EBA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3960639606396058E-2"/>
          <c:y val="6.3960639606396058E-2"/>
          <c:w val="0.87207872078720783"/>
          <c:h val="0.8720787207872078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808080"/>
              </a:solidFill>
              <a:ln w="9525" cmpd="sng" algn="ctr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9F93-594C-AE2B-53B215844606}"/>
              </c:ext>
            </c:extLst>
          </c:dPt>
          <c:dPt>
            <c:idx val="1"/>
            <c:bubble3D val="0"/>
            <c:spPr>
              <a:solidFill>
                <a:srgbClr val="C4C4CD"/>
              </a:solidFill>
              <a:ln w="9525" cmpd="sng" algn="ctr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9F93-594C-AE2B-53B215844606}"/>
              </c:ext>
            </c:extLst>
          </c:dPt>
          <c:dPt>
            <c:idx val="2"/>
            <c:bubble3D val="0"/>
            <c:spPr>
              <a:solidFill>
                <a:schemeClr val="tx2"/>
              </a:solidFill>
              <a:ln w="9525" cmpd="sng" algn="ctr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9F93-594C-AE2B-53B215844606}"/>
              </c:ext>
            </c:extLst>
          </c:dPt>
          <c:dPt>
            <c:idx val="3"/>
            <c:bubble3D val="0"/>
            <c:spPr>
              <a:solidFill>
                <a:srgbClr val="FFEFBA"/>
              </a:solidFill>
              <a:ln w="9525" cmpd="sng" algn="ctr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9F93-594C-AE2B-53B215844606}"/>
              </c:ext>
            </c:extLst>
          </c:dPt>
          <c:dPt>
            <c:idx val="4"/>
            <c:bubble3D val="0"/>
            <c:spPr>
              <a:solidFill>
                <a:srgbClr val="747480"/>
              </a:solidFill>
              <a:ln w="9525" cmpd="sng" algn="ctr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9F93-594C-AE2B-53B215844606}"/>
              </c:ext>
            </c:extLst>
          </c:dPt>
          <c:val>
            <c:numRef>
              <c:f>Sheet1!$A$1:$A$5</c:f>
              <c:numCache>
                <c:formatCode>General</c:formatCode>
                <c:ptCount val="5"/>
                <c:pt idx="0">
                  <c:v>63</c:v>
                </c:pt>
                <c:pt idx="1">
                  <c:v>0</c:v>
                </c:pt>
                <c:pt idx="2">
                  <c:v>17</c:v>
                </c:pt>
                <c:pt idx="3">
                  <c:v>15</c:v>
                </c:pt>
                <c:pt idx="4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F93-594C-AE2B-53B2158446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3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9976931949250287E-2"/>
          <c:y val="5.9976931949250287E-2"/>
          <c:w val="0.8800461361014994"/>
          <c:h val="0.8800461361014994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tx2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843B-7749-9B85-B88825BF316C}"/>
              </c:ext>
            </c:extLst>
          </c:dPt>
          <c:dPt>
            <c:idx val="1"/>
            <c:bubble3D val="0"/>
            <c:spPr>
              <a:solidFill>
                <a:srgbClr val="FFEFBA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843B-7749-9B85-B88825BF316C}"/>
              </c:ext>
            </c:extLst>
          </c:dPt>
          <c:dPt>
            <c:idx val="2"/>
            <c:bubble3D val="0"/>
            <c:spPr>
              <a:solidFill>
                <a:srgbClr val="C4C4CD"/>
              </a:solidFill>
              <a:ln w="9525" cmpd="sng" algn="ctr">
                <a:solidFill>
                  <a:srgbClr val="74748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843B-7749-9B85-B88825BF316C}"/>
              </c:ext>
            </c:extLst>
          </c:dPt>
          <c:dPt>
            <c:idx val="3"/>
            <c:bubble3D val="0"/>
            <c:spPr>
              <a:solidFill>
                <a:srgbClr val="FFFFFF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843B-7749-9B85-B88825BF316C}"/>
              </c:ext>
            </c:extLst>
          </c:dPt>
          <c:dPt>
            <c:idx val="4"/>
            <c:bubble3D val="0"/>
            <c:spPr>
              <a:solidFill>
                <a:srgbClr val="C0C0C0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843B-7749-9B85-B88825BF316C}"/>
              </c:ext>
            </c:extLst>
          </c:dPt>
          <c:dPt>
            <c:idx val="5"/>
            <c:bubble3D val="0"/>
            <c:spPr>
              <a:solidFill>
                <a:srgbClr val="969696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843B-7749-9B85-B88825BF316C}"/>
              </c:ext>
            </c:extLst>
          </c:dPt>
          <c:dPt>
            <c:idx val="6"/>
            <c:bubble3D val="0"/>
            <c:spPr>
              <a:solidFill>
                <a:srgbClr val="808080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843B-7749-9B85-B88825BF316C}"/>
              </c:ext>
            </c:extLst>
          </c:dPt>
          <c:val>
            <c:numRef>
              <c:f>Sheet1!$A$1:$A$7</c:f>
              <c:numCache>
                <c:formatCode>General</c:formatCode>
                <c:ptCount val="7"/>
                <c:pt idx="0">
                  <c:v>21</c:v>
                </c:pt>
                <c:pt idx="1">
                  <c:v>18</c:v>
                </c:pt>
                <c:pt idx="2">
                  <c:v>6</c:v>
                </c:pt>
                <c:pt idx="3">
                  <c:v>10</c:v>
                </c:pt>
                <c:pt idx="4">
                  <c:v>9</c:v>
                </c:pt>
                <c:pt idx="5">
                  <c:v>8</c:v>
                </c:pt>
                <c:pt idx="6">
                  <c:v>28.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843B-7749-9B85-B88825BF31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3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9976931949250287E-2"/>
          <c:y val="5.9976931949250287E-2"/>
          <c:w val="0.8800461361014994"/>
          <c:h val="0.8800461361014994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tx2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9CFC-9B47-BCCB-7B8BB2F8BB05}"/>
              </c:ext>
            </c:extLst>
          </c:dPt>
          <c:dPt>
            <c:idx val="1"/>
            <c:bubble3D val="0"/>
            <c:spPr>
              <a:solidFill>
                <a:srgbClr val="FFEFBA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9CFC-9B47-BCCB-7B8BB2F8BB05}"/>
              </c:ext>
            </c:extLst>
          </c:dPt>
          <c:dPt>
            <c:idx val="2"/>
            <c:bubble3D val="0"/>
            <c:spPr>
              <a:solidFill>
                <a:srgbClr val="C4C4CD"/>
              </a:solidFill>
              <a:ln w="9525" cmpd="sng" algn="ctr">
                <a:solidFill>
                  <a:srgbClr val="74748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9CFC-9B47-BCCB-7B8BB2F8BB05}"/>
              </c:ext>
            </c:extLst>
          </c:dPt>
          <c:dPt>
            <c:idx val="3"/>
            <c:bubble3D val="0"/>
            <c:spPr>
              <a:solidFill>
                <a:srgbClr val="FFFFFF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9CFC-9B47-BCCB-7B8BB2F8BB05}"/>
              </c:ext>
            </c:extLst>
          </c:dPt>
          <c:dPt>
            <c:idx val="4"/>
            <c:bubble3D val="0"/>
            <c:spPr>
              <a:solidFill>
                <a:srgbClr val="C0C0C0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9CFC-9B47-BCCB-7B8BB2F8BB05}"/>
              </c:ext>
            </c:extLst>
          </c:dPt>
          <c:dPt>
            <c:idx val="5"/>
            <c:bubble3D val="0"/>
            <c:spPr>
              <a:solidFill>
                <a:srgbClr val="969696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9CFC-9B47-BCCB-7B8BB2F8BB05}"/>
              </c:ext>
            </c:extLst>
          </c:dPt>
          <c:val>
            <c:numRef>
              <c:f>Sheet1!$A$1:$A$6</c:f>
              <c:numCache>
                <c:formatCode>General</c:formatCode>
                <c:ptCount val="6"/>
                <c:pt idx="0">
                  <c:v>31</c:v>
                </c:pt>
                <c:pt idx="1">
                  <c:v>24</c:v>
                </c:pt>
                <c:pt idx="2">
                  <c:v>15</c:v>
                </c:pt>
                <c:pt idx="3">
                  <c:v>14.000000000000002</c:v>
                </c:pt>
                <c:pt idx="4">
                  <c:v>9</c:v>
                </c:pt>
                <c:pt idx="5">
                  <c:v>7.00000000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9CFC-9B47-BCCB-7B8BB2F8BB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pieChart>
        <c:varyColors val="1"/>
        <c:ser>
          <c:idx val="0"/>
          <c:order val="0"/>
          <c:spPr>
            <a:ln>
              <a:noFill/>
            </a:ln>
          </c:spPr>
          <c:dPt>
            <c:idx val="0"/>
            <c:bubble3D val="0"/>
            <c:explosion val="4"/>
            <c:spPr>
              <a:solidFill>
                <a:schemeClr val="tx1">
                  <a:lumMod val="5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529-454A-B7D2-CC1DC9A1094D}"/>
              </c:ext>
            </c:extLst>
          </c:dPt>
          <c:dPt>
            <c:idx val="1"/>
            <c:bubble3D val="0"/>
            <c:explosion val="4"/>
            <c:spPr>
              <a:solidFill>
                <a:schemeClr val="tx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529-454A-B7D2-CC1DC9A1094D}"/>
              </c:ext>
            </c:extLst>
          </c:dPt>
          <c:dPt>
            <c:idx val="2"/>
            <c:bubble3D val="0"/>
            <c:explosion val="5"/>
            <c:spPr>
              <a:solidFill>
                <a:schemeClr val="tx1">
                  <a:lumMod val="7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529-454A-B7D2-CC1DC9A1094D}"/>
              </c:ext>
            </c:extLst>
          </c:dPt>
          <c:dLbls>
            <c:dLbl>
              <c:idx val="0"/>
              <c:layout>
                <c:manualLayout>
                  <c:x val="-4.5466227596155706E-2"/>
                  <c:y val="-1.6855816097077713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529-454A-B7D2-CC1DC9A1094D}"/>
                </c:ext>
              </c:extLst>
            </c:dLbl>
            <c:dLbl>
              <c:idx val="1"/>
              <c:layout>
                <c:manualLayout>
                  <c:x val="6.7284129042938887E-2"/>
                  <c:y val="3.171515106297982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529-454A-B7D2-CC1DC9A1094D}"/>
                </c:ext>
              </c:extLst>
            </c:dLbl>
            <c:dLbl>
              <c:idx val="2"/>
              <c:layout>
                <c:manualLayout>
                  <c:x val="2.0460770367146348E-2"/>
                  <c:y val="6.5424894438657316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529-454A-B7D2-CC1DC9A1094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US</c:v>
                </c:pt>
                <c:pt idx="1">
                  <c:v>EMEA</c:v>
                </c:pt>
                <c:pt idx="2">
                  <c:v>Resto del Mondo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63</c:v>
                </c:pt>
                <c:pt idx="1">
                  <c:v>0.17</c:v>
                </c:pt>
                <c:pt idx="2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529-454A-B7D2-CC1DC9A1094D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133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798226291252027E-2"/>
          <c:y val="0.74484675105339804"/>
          <c:w val="0.88399105267238065"/>
          <c:h val="0.1894935934443745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276145710928319E-2"/>
          <c:y val="3.3440514469453377E-2"/>
          <c:w val="0.96944770857814333"/>
          <c:h val="0.9331189710610932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bg2"/>
            </a:solidFill>
            <a:ln w="3175" cmpd="sng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87</c:v>
                </c:pt>
                <c:pt idx="1">
                  <c:v>91</c:v>
                </c:pt>
                <c:pt idx="2">
                  <c:v>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A2-F94E-9E86-95CF3005219F}"/>
            </c:ext>
          </c:extLst>
        </c:ser>
        <c:ser>
          <c:idx val="1"/>
          <c:order val="1"/>
          <c:spPr>
            <a:solidFill>
              <a:srgbClr val="FFEFBA"/>
            </a:solidFill>
            <a:ln w="3175" cmpd="sng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1.0000000000000009</c:v>
                </c:pt>
                <c:pt idx="1">
                  <c:v>1.0000000000000009</c:v>
                </c:pt>
                <c:pt idx="2">
                  <c:v>1.00000000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3A2-F94E-9E86-95CF3005219F}"/>
            </c:ext>
          </c:extLst>
        </c:ser>
        <c:ser>
          <c:idx val="2"/>
          <c:order val="2"/>
          <c:spPr>
            <a:solidFill>
              <a:schemeClr val="tx2"/>
            </a:solidFill>
            <a:ln w="3175" cmpd="sng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3:$C$3</c:f>
              <c:numCache>
                <c:formatCode>General</c:formatCode>
                <c:ptCount val="3"/>
                <c:pt idx="0">
                  <c:v>12</c:v>
                </c:pt>
                <c:pt idx="1">
                  <c:v>7.9999999999999964</c:v>
                </c:pt>
                <c:pt idx="2">
                  <c:v>21.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3A2-F94E-9E86-95CF300521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465118928"/>
        <c:axId val="1"/>
      </c:barChart>
      <c:catAx>
        <c:axId val="46511892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175" cmpd="sng" algn="ctr">
            <a:solidFill>
              <a:srgbClr val="74748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6511892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tx1">
                  <a:lumMod val="5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53E-4F4F-89E1-D29A66EEF2D5}"/>
              </c:ext>
            </c:extLst>
          </c:dPt>
          <c:dPt>
            <c:idx val="1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53E-4F4F-89E1-D29A66EEF2D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53E-4F4F-89E1-D29A66EEF2D5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53E-4F4F-89E1-D29A66EEF2D5}"/>
              </c:ext>
            </c:extLst>
          </c:dPt>
          <c:cat>
            <c:strRef>
              <c:f>Sheet1!$A$2:$A$5</c:f>
              <c:strCache>
                <c:ptCount val="2"/>
                <c:pt idx="0">
                  <c:v>want to introduce it</c:v>
                </c:pt>
                <c:pt idx="1">
                  <c:v>not interested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4</c:v>
                </c:pt>
                <c:pt idx="1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53E-4F4F-89E1-D29A66EEF2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D6AB83E-C7F9-8EC1-493E-19F19EE3636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A633F45-BB69-8758-FB90-1A495F519C9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2255889-1E47-405F-8DC2-26E61BE30227}" type="datetimeFigureOut">
              <a:rPr lang="it-IT" smtClean="0"/>
              <a:t>30/10/2025</a:t>
            </a:fld>
            <a:endParaRPr lang="it-I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9CE90C-94BA-283F-B633-D1B81C149DB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E52DD13-7215-769A-3B11-B27984EAE65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AAB282-E6C5-4718-947E-D9B6C290A149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07519506"/>
      </p:ext>
    </p:extLst>
  </p:cSld>
  <p:clrMap bg1="lt1" tx1="dk1" bg2="lt2" tx2="dk2" accent1="accent1" accent2="accent2" accent3="accent3" accent4="accent4" accent5="accent5" accent6="accent6" hlink="hlink" folHlink="folHlink"/>
  <p:hf sldNum="0"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88D4DE-58E6-4706-8BA5-98C9D6CE855F}" type="datetimeFigureOut">
              <a:rPr lang="it-IT" smtClean="0"/>
              <a:t>30/10/2025</a:t>
            </a:fld>
            <a:endParaRPr lang="it-I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B8054F-4AED-4C88-B1B1-1AAD7D468F3E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36810120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E0D741-15BE-1E60-9851-5F751E0566D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692897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C5FF4A-74DA-7F75-73D6-1F71DE17231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301373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7040A4-FF15-4E2D-B663-FEE855036E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8DB1F1E-97D9-B0B8-76EE-A3257CFDD28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4811EA2-83DC-B504-98DA-D086A1ED001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6EB9A-6FA8-9C70-9CEB-1A01E1265AA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4624866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949999-217D-2447-1371-C99F8E2CB21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528431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23F349-3D99-7F9E-17B2-A2EFB9A2CA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3B52C2E-B785-CA62-5066-C10A1D1BBE4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12FB35D-D39B-F4EE-8194-FEDD6FB4C2C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E9081B-D941-5AB6-852E-DB916F95D4A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883534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5E4A2C-3614-9641-A48A-DC10224CDB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BFC5E2D-52C8-D5DF-749F-D8CBFCEF046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1F90A5D-E1DC-617F-B1A4-6B48563200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B089C8-35EB-B8CB-8389-3E07830F180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305723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029779-633E-3150-EEE0-B89E7197790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323710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732531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36DAFD-61F3-161A-7D7B-CAE5632E83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BDD0EAF-B768-0D62-CFC0-C83EFA97D6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FD19A5D-921E-9FF8-D999-580FE803B91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sz="1200">
                <a:latin typeface="+mn-lt"/>
              </a:rPr>
              <a:t>In questo scenario di trasformazione del settore, emergono otto trend fondamentali che stanno ridefinendo il panorama dei pagamenti</a:t>
            </a:r>
            <a:endParaRPr lang="it-I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3579FC-7255-0E77-ED22-F3DCD39C608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783422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0C6488-6869-EC62-8762-DEE6E91956E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992994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5923211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0F55CD-B753-7AB6-5474-0678AF2CBD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52A7C25-7D27-0D47-5019-C7B4C1649AE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44D07DA-F2F4-D603-4845-4197A50F1D4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824B70-33A2-19F4-1D02-DFFDA6C05AC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363416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rry image of a rainbow&#10;&#10;Description automatically generated">
            <a:extLst>
              <a:ext uri="{FF2B5EF4-FFF2-40B4-BE49-F238E27FC236}">
                <a16:creationId xmlns:a16="http://schemas.microsoft.com/office/drawing/2014/main" id="{317BE7A3-A673-B58A-8BE4-D36A0E590D3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581F3BED-E626-F3AE-FF20-A6D762394718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297" name="Freeform 296">
              <a:extLst>
                <a:ext uri="{FF2B5EF4-FFF2-40B4-BE49-F238E27FC236}">
                  <a16:creationId xmlns:a16="http://schemas.microsoft.com/office/drawing/2014/main" id="{AD4E5D8B-12B4-19F3-17D4-D12BF368FC85}"/>
                </a:ext>
              </a:extLst>
            </p:cNvPr>
            <p:cNvSpPr/>
            <p:nvPr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8" name="Freeform 297">
              <a:extLst>
                <a:ext uri="{FF2B5EF4-FFF2-40B4-BE49-F238E27FC236}">
                  <a16:creationId xmlns:a16="http://schemas.microsoft.com/office/drawing/2014/main" id="{219789D6-6B07-F2E6-06BE-8CA9DC83E385}"/>
                </a:ext>
              </a:extLst>
            </p:cNvPr>
            <p:cNvSpPr/>
            <p:nvPr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41140D12-1777-AADD-5351-B92F135ED633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99" name="Freeform 298">
              <a:extLst>
                <a:ext uri="{FF2B5EF4-FFF2-40B4-BE49-F238E27FC236}">
                  <a16:creationId xmlns:a16="http://schemas.microsoft.com/office/drawing/2014/main" id="{70589FC3-4491-BD75-2C16-660DF0B71BBC}"/>
                </a:ext>
              </a:extLst>
            </p:cNvPr>
            <p:cNvSpPr/>
            <p:nvPr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3" name="Freeform 292">
              <a:extLst>
                <a:ext uri="{FF2B5EF4-FFF2-40B4-BE49-F238E27FC236}">
                  <a16:creationId xmlns:a16="http://schemas.microsoft.com/office/drawing/2014/main" id="{B00DB918-F11D-F855-5478-ECB25A1AC3D1}"/>
                </a:ext>
              </a:extLst>
            </p:cNvPr>
            <p:cNvSpPr/>
            <p:nvPr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46000">
                  <a:srgbClr val="FFE600"/>
                </a:gs>
                <a:gs pos="66000">
                  <a:srgbClr val="FF32FF"/>
                </a:gs>
                <a:gs pos="100000">
                  <a:srgbClr val="32FFFF"/>
                </a:gs>
              </a:gsLst>
              <a:lin ang="1860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  <p:sp>
        <p:nvSpPr>
          <p:cNvPr id="274" name="Subtitle 2">
            <a:extLst>
              <a:ext uri="{FF2B5EF4-FFF2-40B4-BE49-F238E27FC236}">
                <a16:creationId xmlns:a16="http://schemas.microsoft.com/office/drawing/2014/main" id="{74103396-CF0A-A808-BF1B-463C3EF7376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EYInterstate Regular" panose="0200050302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75" name="Title 4">
            <a:extLst>
              <a:ext uri="{FF2B5EF4-FFF2-40B4-BE49-F238E27FC236}">
                <a16:creationId xmlns:a16="http://schemas.microsoft.com/office/drawing/2014/main" id="{B57CD4DB-AED0-4F7E-41BA-02CA96598A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tx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89" name="Text Placeholder 288">
            <a:extLst>
              <a:ext uri="{FF2B5EF4-FFF2-40B4-BE49-F238E27FC236}">
                <a16:creationId xmlns:a16="http://schemas.microsoft.com/office/drawing/2014/main" id="{31D45A6D-135C-8C27-4F13-A3BC79AB3ED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EYInterstate Regular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10" name="Group 309">
            <a:extLst>
              <a:ext uri="{FF2B5EF4-FFF2-40B4-BE49-F238E27FC236}">
                <a16:creationId xmlns:a16="http://schemas.microsoft.com/office/drawing/2014/main" id="{CE838069-3AB1-D532-FB66-FDAEA51877B1}"/>
              </a:ext>
            </a:extLst>
          </p:cNvPr>
          <p:cNvGrpSpPr/>
          <p:nvPr userDrawn="1"/>
        </p:nvGrpSpPr>
        <p:grpSpPr bwMode="black">
          <a:xfrm>
            <a:off x="10563224" y="5167683"/>
            <a:ext cx="1219200" cy="1284606"/>
            <a:chOff x="10563224" y="5158158"/>
            <a:chExt cx="1219200" cy="1284606"/>
          </a:xfrm>
        </p:grpSpPr>
        <p:sp>
          <p:nvSpPr>
            <p:cNvPr id="311" name="Freeform 310">
              <a:extLst>
                <a:ext uri="{FF2B5EF4-FFF2-40B4-BE49-F238E27FC236}">
                  <a16:creationId xmlns:a16="http://schemas.microsoft.com/office/drawing/2014/main" id="{E6AE5B0D-79EC-EE9E-636A-1E7D4A6A240A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2" name="Freeform 311">
              <a:extLst>
                <a:ext uri="{FF2B5EF4-FFF2-40B4-BE49-F238E27FC236}">
                  <a16:creationId xmlns:a16="http://schemas.microsoft.com/office/drawing/2014/main" id="{8B00C66D-FD9B-3996-472E-1CEF16690026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245296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CF5E0C7-6CC4-C4E1-946D-4BAC78CCDA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86354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 Regular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9C7DE68-0AF4-0FBC-E65F-4833641C7EFD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90AAC841-3D56-6842-04D1-F0B7D973D86D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FF7D1E"/>
                </a:gs>
                <a:gs pos="100000">
                  <a:srgbClr val="32FFFF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E7B2C744-CC9F-2FDB-0078-68606B34068D}"/>
              </a:ext>
            </a:extLst>
          </p:cNvPr>
          <p:cNvGrpSpPr/>
          <p:nvPr userDrawn="1"/>
        </p:nvGrpSpPr>
        <p:grpSpPr bwMode="black">
          <a:xfrm>
            <a:off x="10563224" y="5167683"/>
            <a:ext cx="1219200" cy="1284606"/>
            <a:chOff x="10563224" y="5158158"/>
            <a:chExt cx="1219200" cy="1284606"/>
          </a:xfrm>
        </p:grpSpPr>
        <p:sp>
          <p:nvSpPr>
            <p:cNvPr id="11" name="Freeform 21">
              <a:extLst>
                <a:ext uri="{FF2B5EF4-FFF2-40B4-BE49-F238E27FC236}">
                  <a16:creationId xmlns:a16="http://schemas.microsoft.com/office/drawing/2014/main" id="{DDD06758-15B7-ED24-D60F-98EA36E4B74C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22">
              <a:extLst>
                <a:ext uri="{FF2B5EF4-FFF2-40B4-BE49-F238E27FC236}">
                  <a16:creationId xmlns:a16="http://schemas.microsoft.com/office/drawing/2014/main" id="{6EAB2540-1DF5-1BE8-4572-1B8D285732C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chemeClr val="bg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E0BD9D2-8DFC-5B4A-B844-B24A38A6307D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4" name="Freeform 23">
              <a:extLst>
                <a:ext uri="{FF2B5EF4-FFF2-40B4-BE49-F238E27FC236}">
                  <a16:creationId xmlns:a16="http://schemas.microsoft.com/office/drawing/2014/main" id="{6E1C76AD-AD2A-6908-C0E9-04C4C1A81DE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" name="Freeform 24">
              <a:extLst>
                <a:ext uri="{FF2B5EF4-FFF2-40B4-BE49-F238E27FC236}">
                  <a16:creationId xmlns:a16="http://schemas.microsoft.com/office/drawing/2014/main" id="{CAE00036-4F0B-1437-BB6F-8AC8C14ABDC6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chemeClr val="bg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806890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71B9AAE-F698-5F49-FF7D-DB273B1EE1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86354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 Regular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A2147BC-BA53-072F-B27C-857DCB3CC434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90AAC841-3D56-6842-04D1-F0B7D973D86D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FF32FF"/>
                </a:gs>
                <a:gs pos="100000">
                  <a:srgbClr val="E95023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6CD5930A-1B2E-B700-7F5B-81D4CB94A568}"/>
              </a:ext>
            </a:extLst>
          </p:cNvPr>
          <p:cNvGrpSpPr/>
          <p:nvPr userDrawn="1"/>
        </p:nvGrpSpPr>
        <p:grpSpPr bwMode="black">
          <a:xfrm>
            <a:off x="10563224" y="5167683"/>
            <a:ext cx="1219200" cy="1284606"/>
            <a:chOff x="10563224" y="5158158"/>
            <a:chExt cx="1219200" cy="1284606"/>
          </a:xfrm>
        </p:grpSpPr>
        <p:sp>
          <p:nvSpPr>
            <p:cNvPr id="11" name="Freeform 21">
              <a:extLst>
                <a:ext uri="{FF2B5EF4-FFF2-40B4-BE49-F238E27FC236}">
                  <a16:creationId xmlns:a16="http://schemas.microsoft.com/office/drawing/2014/main" id="{0326985F-8B96-7276-6C63-944BEDD20347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22">
              <a:extLst>
                <a:ext uri="{FF2B5EF4-FFF2-40B4-BE49-F238E27FC236}">
                  <a16:creationId xmlns:a16="http://schemas.microsoft.com/office/drawing/2014/main" id="{9929403E-A1FD-CFEF-00C2-8543702E3F0C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chemeClr val="bg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CDBCF8F7-16B2-8025-2163-4CF53707228D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4" name="Freeform 23">
              <a:extLst>
                <a:ext uri="{FF2B5EF4-FFF2-40B4-BE49-F238E27FC236}">
                  <a16:creationId xmlns:a16="http://schemas.microsoft.com/office/drawing/2014/main" id="{6426E6F1-6C8E-DD12-2CA8-4211518D079A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" name="Freeform 24">
              <a:extLst>
                <a:ext uri="{FF2B5EF4-FFF2-40B4-BE49-F238E27FC236}">
                  <a16:creationId xmlns:a16="http://schemas.microsoft.com/office/drawing/2014/main" id="{4A734034-5634-67CA-4626-075282D87716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chemeClr val="bg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924608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EAFCAD8-0916-AF46-1471-030E4128E2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86354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 Regular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0B5BDB1-ABE4-6C1A-A636-E9D325F7D597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90AAC841-3D56-6842-04D1-F0B7D973D86D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C5FD45"/>
                </a:gs>
                <a:gs pos="100000">
                  <a:srgbClr val="80FBFD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5EC19E8A-3E79-F419-0020-83B238271860}"/>
              </a:ext>
            </a:extLst>
          </p:cNvPr>
          <p:cNvGrpSpPr/>
          <p:nvPr userDrawn="1"/>
        </p:nvGrpSpPr>
        <p:grpSpPr bwMode="black">
          <a:xfrm>
            <a:off x="10563224" y="5167683"/>
            <a:ext cx="1219200" cy="1284606"/>
            <a:chOff x="10563224" y="5158158"/>
            <a:chExt cx="1219200" cy="1284606"/>
          </a:xfrm>
        </p:grpSpPr>
        <p:sp>
          <p:nvSpPr>
            <p:cNvPr id="11" name="Freeform 21">
              <a:extLst>
                <a:ext uri="{FF2B5EF4-FFF2-40B4-BE49-F238E27FC236}">
                  <a16:creationId xmlns:a16="http://schemas.microsoft.com/office/drawing/2014/main" id="{6D0E646D-89FC-5990-832D-A2F1DD419672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22">
              <a:extLst>
                <a:ext uri="{FF2B5EF4-FFF2-40B4-BE49-F238E27FC236}">
                  <a16:creationId xmlns:a16="http://schemas.microsoft.com/office/drawing/2014/main" id="{329DE1D6-32D5-FDD2-0496-200CCF6FBF54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chemeClr val="bg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FCB428B8-9D15-8754-5228-50D1CDED59D4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4" name="Freeform 23">
              <a:extLst>
                <a:ext uri="{FF2B5EF4-FFF2-40B4-BE49-F238E27FC236}">
                  <a16:creationId xmlns:a16="http://schemas.microsoft.com/office/drawing/2014/main" id="{DABE5942-11DC-26F6-D516-AA89EB12761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" name="Freeform 24">
              <a:extLst>
                <a:ext uri="{FF2B5EF4-FFF2-40B4-BE49-F238E27FC236}">
                  <a16:creationId xmlns:a16="http://schemas.microsoft.com/office/drawing/2014/main" id="{05EF7429-9EA5-A77D-C1E8-780C689FEFED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chemeClr val="bg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64558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rry image of a colorful light&#10;&#10;Description automatically generated">
            <a:extLst>
              <a:ext uri="{FF2B5EF4-FFF2-40B4-BE49-F238E27FC236}">
                <a16:creationId xmlns:a16="http://schemas.microsoft.com/office/drawing/2014/main" id="{388CF986-E6D2-86D0-6501-D59429EAD0A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1970406"/>
            <a:ext cx="7394575" cy="2869882"/>
          </a:xfrm>
        </p:spPr>
        <p:txBody>
          <a:bodyPr anchor="t"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775" y="370800"/>
            <a:ext cx="7394575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EYInterstate Regular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/>
              <a:t>Chapter 00</a:t>
            </a:r>
            <a:endParaRPr lang="en-US"/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DB4372B3-E211-F19D-CBD9-6CEDF871BD0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53173B02-1E93-D358-4602-350A7447C7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it-IT"/>
              <a:t>Le stablecoin e il futuro dei pagamenti digitali | Salone dei pagamenti | 30 ottobre 2025</a:t>
            </a:r>
            <a:endParaRPr lang="en-US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A5E3423F-0FF8-8E54-CEB8-1F15261AFD0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13" name="Group 4">
            <a:extLst>
              <a:ext uri="{FF2B5EF4-FFF2-40B4-BE49-F238E27FC236}">
                <a16:creationId xmlns:a16="http://schemas.microsoft.com/office/drawing/2014/main" id="{BD5D0521-4094-9D8B-52E6-631237D5BD0E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5F3A4557-DC1B-62FA-EE9B-0CB917BAEA5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86BA2D9F-0D2F-D79E-E499-30F4B3FB3EA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3FC8F491-4D00-1C16-D6B2-ACD76153663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905597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blurry image of a colorful light&#10;&#10;Description automatically generated">
            <a:extLst>
              <a:ext uri="{FF2B5EF4-FFF2-40B4-BE49-F238E27FC236}">
                <a16:creationId xmlns:a16="http://schemas.microsoft.com/office/drawing/2014/main" id="{ADC82D1B-1943-B3BC-B7E9-DADF1458A765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1970406"/>
            <a:ext cx="7394575" cy="2869882"/>
          </a:xfrm>
        </p:spPr>
        <p:txBody>
          <a:bodyPr anchor="t"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775" y="370800"/>
            <a:ext cx="7394575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EYInterstate Regular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/>
              <a:t>Chapter 00</a:t>
            </a:r>
            <a:endParaRPr lang="en-US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FF04263E-9F32-7609-1152-7E305FEBE74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F7F02905-9FFE-65B7-8565-3E827BBAECD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it-IT"/>
              <a:t>Le stablecoin e il futuro dei pagamenti digitali | Salone dei pagamenti | 30 ottobre 2025</a:t>
            </a:r>
            <a:endParaRPr lang="en-US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10BD8AE-BB2B-B523-1D74-4E8DBE210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2ACB4367-2799-0576-B281-23496773778C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3162AF18-04FB-0708-AF33-E552339B930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4BD16F51-032F-C324-8E27-9D3386376CF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ACB3712E-B0C7-5DF8-727F-B342B14E852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283761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olorful light in the dark&#10;&#10;Description automatically generated">
            <a:extLst>
              <a:ext uri="{FF2B5EF4-FFF2-40B4-BE49-F238E27FC236}">
                <a16:creationId xmlns:a16="http://schemas.microsoft.com/office/drawing/2014/main" id="{A6C92DE9-1F7F-6A8E-389D-FBCE38254AD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1970406"/>
            <a:ext cx="7394575" cy="2869882"/>
          </a:xfrm>
        </p:spPr>
        <p:txBody>
          <a:bodyPr anchor="t"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775" y="370800"/>
            <a:ext cx="7394575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EYInterstate Regular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/>
              <a:t>Chapter 00</a:t>
            </a:r>
            <a:endParaRPr lang="en-US"/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A4B60AF8-644E-A0B2-7653-4332A03759F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466D1FDE-8AD4-4D56-5318-1DD8ED2FCA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it-IT"/>
              <a:t>Le stablecoin e il futuro dei pagamenti digitali | Salone dei pagamenti | 30 ottobre 2025</a:t>
            </a:r>
            <a:endParaRPr lang="en-US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180F9161-0A5B-9390-AAC5-925D1AE2AA8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4" name="Group 4">
            <a:extLst>
              <a:ext uri="{FF2B5EF4-FFF2-40B4-BE49-F238E27FC236}">
                <a16:creationId xmlns:a16="http://schemas.microsoft.com/office/drawing/2014/main" id="{3AF7C041-0026-0AA4-CDB7-598AF37652E2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63DF9604-9FFE-5366-14B1-6E98FF54FD3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0B4DC74D-09B1-00C3-C853-2FCB83D83F2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F1BCCEAD-5BD2-139C-B8CA-47AA22CF5B9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341854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blurry image of a rainbow&#10;&#10;Description automatically generated">
            <a:extLst>
              <a:ext uri="{FF2B5EF4-FFF2-40B4-BE49-F238E27FC236}">
                <a16:creationId xmlns:a16="http://schemas.microsoft.com/office/drawing/2014/main" id="{C8E8709F-6A78-59BB-D254-AE4C7F2A57D8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1970406"/>
            <a:ext cx="7394575" cy="2869882"/>
          </a:xfrm>
        </p:spPr>
        <p:txBody>
          <a:bodyPr anchor="t"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775" y="370800"/>
            <a:ext cx="7394575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EYInterstate Regular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/>
              <a:t>Chapter 00</a:t>
            </a:r>
            <a:endParaRPr lang="en-US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FA3F83A6-1D48-7A59-F89B-1AD446292A9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7E103D91-874B-B49F-B9D9-85F52EAD810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it-IT"/>
              <a:t>Le stablecoin e il futuro dei pagamenti digitali | Salone dei pagamenti | 30 ottobre 2025</a:t>
            </a:r>
            <a:endParaRPr lang="en-US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C95BFB4-BABD-DFFF-43A5-9ABB8A6638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270CFE58-C48C-EB78-A7C2-9DAD5AE279F8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2F9EF071-FB10-CF45-4D4C-CC7A0F2F44E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CE95E037-9B68-6C43-6E58-19731A170D1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88EF229A-7417-0859-E03A-6DE977AAA53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891416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olorful circle on a black background&#10;&#10;Description automatically generated">
            <a:extLst>
              <a:ext uri="{FF2B5EF4-FFF2-40B4-BE49-F238E27FC236}">
                <a16:creationId xmlns:a16="http://schemas.microsoft.com/office/drawing/2014/main" id="{9B1A0959-0F7F-FF84-F8C5-2E76E9D45F4F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1970406"/>
            <a:ext cx="7394575" cy="2869882"/>
          </a:xfrm>
        </p:spPr>
        <p:txBody>
          <a:bodyPr anchor="t"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775" y="370800"/>
            <a:ext cx="7394575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EYInterstate Regular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/>
              <a:t>Chapter 00</a:t>
            </a:r>
            <a:endParaRPr lang="en-US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B5D9BED5-140F-F03D-CA60-9453F1A86D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E931943E-2952-F25A-ECCA-F329235A737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it-IT"/>
              <a:t>Le stablecoin e il futuro dei pagamenti digitali | Salone dei pagamenti | 30 ottobre 2025</a:t>
            </a:r>
            <a:endParaRPr lang="en-US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EBCB7712-53BF-0892-3D4B-354DE5C528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9E60EA83-A995-4505-DF09-49ACD12C00EC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9E24CB42-4B4A-FBF9-0318-8441E851EE4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2A995D54-A48E-D49D-D858-C351B74BD96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24627D92-7A05-96EE-D2CC-1DCE97AE03E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270035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urry image of a rainbow&#10;&#10;Description automatically generated">
            <a:extLst>
              <a:ext uri="{FF2B5EF4-FFF2-40B4-BE49-F238E27FC236}">
                <a16:creationId xmlns:a16="http://schemas.microsoft.com/office/drawing/2014/main" id="{36630E4E-7F64-A84B-6022-F16994E95375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3053616"/>
            <a:ext cx="7394575" cy="2869882"/>
          </a:xfrm>
        </p:spPr>
        <p:txBody>
          <a:bodyPr anchor="t"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775" y="370800"/>
            <a:ext cx="7394575" cy="2169200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85000"/>
              </a:lnSpc>
              <a:spcAft>
                <a:spcPts val="0"/>
              </a:spcAft>
              <a:buNone/>
              <a:defRPr kumimoji="0" lang="en-US" sz="16600" b="1" i="0" u="none" strike="noStrike" kern="1200" cap="none" spc="0" normalizeH="0" baseline="0" dirty="0">
                <a:ln>
                  <a:noFill/>
                </a:ln>
                <a:solidFill>
                  <a:srgbClr val="747480">
                    <a:alpha val="50000"/>
                  </a:srgbClr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1pPr>
          </a:lstStyle>
          <a:p>
            <a:pPr marL="0" marR="0" lvl="0" indent="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00</a:t>
            </a:r>
            <a:endParaRPr lang="en-US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9696C931-4C81-6F33-3CA2-708B10471C3A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830BE3B6-2EB9-156E-3A7A-7F956DB536C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021EE694-476F-48E9-DBF3-00C4B0D561A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1B209E70-506F-D144-1E7B-6713638814A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1" name="Footer Placeholder 16">
            <a:extLst>
              <a:ext uri="{FF2B5EF4-FFF2-40B4-BE49-F238E27FC236}">
                <a16:creationId xmlns:a16="http://schemas.microsoft.com/office/drawing/2014/main" id="{E748CFE3-CAA2-015F-C033-AAE9725B3E6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051325" y="6520888"/>
            <a:ext cx="4222633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it-IT"/>
              <a:t>Le </a:t>
            </a:r>
            <a:r>
              <a:rPr lang="it-IT" err="1"/>
              <a:t>stablecoin</a:t>
            </a:r>
            <a:r>
              <a:rPr lang="it-IT"/>
              <a:t> e il futuro dei pagamenti digitali | Salone dei pagamenti | 30 ottobre 2025</a:t>
            </a:r>
            <a:endParaRPr lang="en-US"/>
          </a:p>
        </p:txBody>
      </p:sp>
      <p:sp>
        <p:nvSpPr>
          <p:cNvPr id="12" name="Slide Number Placeholder 17">
            <a:extLst>
              <a:ext uri="{FF2B5EF4-FFF2-40B4-BE49-F238E27FC236}">
                <a16:creationId xmlns:a16="http://schemas.microsoft.com/office/drawing/2014/main" id="{76B48610-4053-FFAB-B387-6486D61BA3C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485747" y="6520888"/>
            <a:ext cx="509098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69923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blurry image of a rainbow&#10;&#10;Description automatically generated">
            <a:extLst>
              <a:ext uri="{FF2B5EF4-FFF2-40B4-BE49-F238E27FC236}">
                <a16:creationId xmlns:a16="http://schemas.microsoft.com/office/drawing/2014/main" id="{0CF60EBF-BB0E-A13F-6F1D-8E03C5FC39A6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30FFC6-DEA1-5FCD-0ABD-350186ADBF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523" y="369888"/>
            <a:ext cx="3314701" cy="47089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ontents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B8AEA00-448F-1217-B10E-ABF6D402B4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5775" y="1411287"/>
            <a:ext cx="5099050" cy="4638675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Introduction text goes here and delete the bullet if not require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6880D4C2-A728-3810-8EAF-6AC78A949BE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051325" y="6520888"/>
            <a:ext cx="4222633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it-IT"/>
              <a:t>Le </a:t>
            </a:r>
            <a:r>
              <a:rPr lang="it-IT" err="1"/>
              <a:t>stablecoin</a:t>
            </a:r>
            <a:r>
              <a:rPr lang="it-IT"/>
              <a:t> e il futuro dei pagamenti digitali | Salone dei pagamenti | 30 ottobre 2025</a:t>
            </a:r>
            <a:endParaRPr lang="en-US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4CB206C2-DFD0-9033-25AE-68BCB50C193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485747" y="6520888"/>
            <a:ext cx="509098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90438EF0-1449-85A8-FBE7-6ACEB03F8A8F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A11353AE-2D42-C6F1-6790-6AC38AEF162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053A18AE-475B-441E-3104-964AD836601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95581FA5-36F5-CE9F-B03C-3AE43501256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C8D62577-E867-CFB5-4396-A62B9BC9767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96000" y="1411287"/>
            <a:ext cx="5610225" cy="4638675"/>
          </a:xfrm>
        </p:spPr>
        <p:txBody>
          <a:bodyPr/>
          <a:lstStyle>
            <a:lvl1pPr marL="457200" indent="-457200">
              <a:buFont typeface="+mj-lt"/>
              <a:buAutoNum type="arabicPeriod"/>
              <a:defRPr sz="1800">
                <a:solidFill>
                  <a:schemeClr val="tx1"/>
                </a:solidFill>
              </a:defRPr>
            </a:lvl1pPr>
            <a:lvl2pPr marL="914400" indent="-457200">
              <a:defRPr sz="1600">
                <a:solidFill>
                  <a:schemeClr val="tx1"/>
                </a:solidFill>
              </a:defRPr>
            </a:lvl2pPr>
            <a:lvl3pPr marL="914400" indent="-457200">
              <a:defRPr sz="1600">
                <a:solidFill>
                  <a:schemeClr val="tx1"/>
                </a:solidFill>
              </a:defRPr>
            </a:lvl3pPr>
            <a:lvl4pPr marL="914400" indent="-457200">
              <a:defRPr sz="1400">
                <a:solidFill>
                  <a:schemeClr val="tx1"/>
                </a:solidFill>
              </a:defRPr>
            </a:lvl4pPr>
            <a:lvl5pPr marL="914400" indent="-457200"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IN"/>
              <a:t>Section header goes here and to insert page numbers use the tab button on the keyboar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11137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Spectru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right light in the dark&#10;&#10;Description automatically generated">
            <a:extLst>
              <a:ext uri="{FF2B5EF4-FFF2-40B4-BE49-F238E27FC236}">
                <a16:creationId xmlns:a16="http://schemas.microsoft.com/office/drawing/2014/main" id="{963FEC0B-473D-E3B8-1E1E-E29DFA66AD11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D6511197-B1BA-E6CC-13B8-2DD99B355A04}"/>
              </a:ext>
            </a:extLst>
          </p:cNvPr>
          <p:cNvGrpSpPr/>
          <p:nvPr userDrawn="1"/>
        </p:nvGrpSpPr>
        <p:grpSpPr bwMode="black">
          <a:xfrm>
            <a:off x="10563224" y="5167683"/>
            <a:ext cx="1219200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1EE8315B-FEB1-CC4D-6FB1-F5D1F2C1EE95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F51C6EC0-0FDE-C123-7424-1752D2374435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A1220A54-6882-53B1-3380-1A61010197C4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4788DF65-E85A-7EA9-F2BB-B439D5C7EB16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DB6421F7-1BA7-70C3-4C7B-0694CD3F9A6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068E9B09-FE70-E913-490B-27400CDE026B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B4038A11-FAB8-DE3A-2D5D-3D1F11925688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FD45E8E5-E623-933A-074B-D3B9860ABECB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A420F8"/>
                </a:gs>
                <a:gs pos="100000">
                  <a:srgbClr val="5C94F9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4CE2B77E-5DDA-CC5C-A575-69779E57947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tx1"/>
                </a:solidFill>
                <a:latin typeface="EYInterstate Regular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2C2EB3B4-62C2-DB27-F905-7B5310DF5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tx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41B1F747-977A-C01C-9182-B92C691E57F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EYInterstate Regular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14400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30FFC6-DEA1-5FCD-0ABD-350186ADBF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523" y="369888"/>
            <a:ext cx="3314701" cy="47089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ontents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B8AEA00-448F-1217-B10E-ABF6D402B4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5775" y="1411287"/>
            <a:ext cx="5099050" cy="4638675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Introduction text goes here and delete the bullet if not require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6880D4C2-A728-3810-8EAF-6AC78A949BE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051325" y="6520888"/>
            <a:ext cx="4222633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it-IT"/>
              <a:t>Le </a:t>
            </a:r>
            <a:r>
              <a:rPr lang="it-IT" err="1"/>
              <a:t>stablecoin</a:t>
            </a:r>
            <a:r>
              <a:rPr lang="it-IT"/>
              <a:t> e il futuro dei pagamenti digitali | Salone dei pagamenti | 30 ottobre 2025</a:t>
            </a:r>
            <a:endParaRPr lang="en-US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4CB206C2-DFD0-9033-25AE-68BCB50C193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485747" y="6520888"/>
            <a:ext cx="509098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90438EF0-1449-85A8-FBE7-6ACEB03F8A8F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A11353AE-2D42-C6F1-6790-6AC38AEF162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053A18AE-475B-441E-3104-964AD836601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95581FA5-36F5-CE9F-B03C-3AE43501256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C8D62577-E867-CFB5-4396-A62B9BC9767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96000" y="1411287"/>
            <a:ext cx="5610225" cy="4638675"/>
          </a:xfrm>
        </p:spPr>
        <p:txBody>
          <a:bodyPr/>
          <a:lstStyle>
            <a:lvl1pPr marL="457200" indent="-457200">
              <a:buFont typeface="+mj-lt"/>
              <a:buAutoNum type="arabicPeriod"/>
              <a:defRPr sz="1800">
                <a:solidFill>
                  <a:schemeClr val="tx1"/>
                </a:solidFill>
              </a:defRPr>
            </a:lvl1pPr>
            <a:lvl2pPr marL="914400" indent="-457200">
              <a:defRPr sz="1600">
                <a:solidFill>
                  <a:schemeClr val="tx1"/>
                </a:solidFill>
              </a:defRPr>
            </a:lvl2pPr>
            <a:lvl3pPr marL="914400" indent="-457200">
              <a:defRPr sz="1600">
                <a:solidFill>
                  <a:schemeClr val="tx1"/>
                </a:solidFill>
              </a:defRPr>
            </a:lvl3pPr>
            <a:lvl4pPr marL="914400" indent="-457200">
              <a:defRPr sz="1400">
                <a:solidFill>
                  <a:schemeClr val="tx1"/>
                </a:solidFill>
              </a:defRPr>
            </a:lvl4pPr>
            <a:lvl5pPr marL="914400" indent="-457200"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IN"/>
              <a:t>Section header goes here and to insert page numbers use the tab button on the keyboar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31846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6880D4C2-A728-3810-8EAF-6AC78A949BE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051325" y="6520888"/>
            <a:ext cx="4222633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it-IT"/>
              <a:t>Le </a:t>
            </a:r>
            <a:r>
              <a:rPr lang="it-IT" err="1"/>
              <a:t>stablecoin</a:t>
            </a:r>
            <a:r>
              <a:rPr lang="it-IT"/>
              <a:t> e il futuro dei pagamenti digitali | Salone dei pagamenti | 30 ottobre 2025</a:t>
            </a:r>
            <a:endParaRPr lang="en-US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4CB206C2-DFD0-9033-25AE-68BCB50C193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485747" y="6520888"/>
            <a:ext cx="509098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90438EF0-1449-85A8-FBE7-6ACEB03F8A8F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A11353AE-2D42-C6F1-6790-6AC38AEF162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053A18AE-475B-441E-3104-964AD836601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95581FA5-36F5-CE9F-B03C-3AE43501256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658200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right light in the dark&#10;&#10;Description automatically generated">
            <a:extLst>
              <a:ext uri="{FF2B5EF4-FFF2-40B4-BE49-F238E27FC236}">
                <a16:creationId xmlns:a16="http://schemas.microsoft.com/office/drawing/2014/main" id="{C6893964-B096-BBF5-42BC-1EAE055022BA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B9199D71-1BDD-2925-CD92-9B0B3F8439E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756957" y="1411287"/>
            <a:ext cx="1873220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0</a:t>
            </a:r>
            <a:endParaRPr lang="en-US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F8391354-FDE4-DE4D-8084-A61467B9F4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 flipH="1">
            <a:off x="2845421" y="3642518"/>
            <a:ext cx="1784756" cy="240744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Agenda text goes here and delete the bullet if not required</a:t>
            </a:r>
            <a:endParaRPr lang="en-US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F575A1BC-5BD6-1793-C917-0720FC3DE98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116855" y="1411287"/>
            <a:ext cx="1873220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0</a:t>
            </a:r>
            <a:endParaRPr lang="en-US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F9CBCE1B-3F39-C7B5-CCE2-AE84242E774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 flipH="1">
            <a:off x="5205319" y="3642518"/>
            <a:ext cx="1784756" cy="240744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Agenda text goes here and delete the bullet if not required</a:t>
            </a:r>
            <a:endParaRPr lang="en-US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814015C2-B8E4-B890-4CD0-F6A3A2052CA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65217" y="3642518"/>
            <a:ext cx="1784756" cy="240744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Agenda text goes here and delete the bullet if not required</a:t>
            </a:r>
            <a:endParaRPr lang="en-US"/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37959C9A-F406-FB92-6FFF-08F42234CF9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836650" y="1411287"/>
            <a:ext cx="1873220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0</a:t>
            </a:r>
            <a:endParaRPr lang="en-US"/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BC6A6256-32C1-F83C-4A32-D674785CF1D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925114" y="3642518"/>
            <a:ext cx="1784756" cy="240744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Agenda text goes here and delete the bullet if not required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9EC5F5-14E0-4B05-29E6-E9A059AA10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523" y="369888"/>
            <a:ext cx="11224347" cy="47089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Agenda</a:t>
            </a:r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20A2165-CDB3-28AA-F42A-E5E3D72C14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7311" y="1411287"/>
            <a:ext cx="1873220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0</a:t>
            </a:r>
            <a:endParaRPr lang="en-US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F78D4931-12A7-7D80-F380-EDF6BE10CA4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5523" y="3642518"/>
            <a:ext cx="1784756" cy="240744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Agenda text goes here and delete the bullet if not required</a:t>
            </a:r>
            <a:endParaRPr lang="en-US"/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8D52684-7A0E-2BDF-C56C-F721FED04E3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476754" y="1411287"/>
            <a:ext cx="1873220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0</a:t>
            </a:r>
            <a:endParaRPr lang="en-US"/>
          </a:p>
        </p:txBody>
      </p:sp>
      <p:sp>
        <p:nvSpPr>
          <p:cNvPr id="36" name="SmartArt Placeholder 35">
            <a:extLst>
              <a:ext uri="{FF2B5EF4-FFF2-40B4-BE49-F238E27FC236}">
                <a16:creationId xmlns:a16="http://schemas.microsoft.com/office/drawing/2014/main" id="{6D23DAA3-59C7-A352-8728-D157F22D25EF}"/>
              </a:ext>
            </a:extLst>
          </p:cNvPr>
          <p:cNvSpPr>
            <a:spLocks noGrp="1"/>
          </p:cNvSpPr>
          <p:nvPr>
            <p:ph type="dgm" sz="quarter" idx="36" hasCustomPrompt="1"/>
          </p:nvPr>
        </p:nvSpPr>
        <p:spPr>
          <a:xfrm>
            <a:off x="2556050" y="2020781"/>
            <a:ext cx="3600" cy="4030662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37" name="SmartArt Placeholder 35">
            <a:extLst>
              <a:ext uri="{FF2B5EF4-FFF2-40B4-BE49-F238E27FC236}">
                <a16:creationId xmlns:a16="http://schemas.microsoft.com/office/drawing/2014/main" id="{D33DFC67-321E-4CFE-436A-CF6FA96BA7E4}"/>
              </a:ext>
            </a:extLst>
          </p:cNvPr>
          <p:cNvSpPr>
            <a:spLocks noGrp="1"/>
          </p:cNvSpPr>
          <p:nvPr>
            <p:ph type="dgm" sz="quarter" idx="37" hasCustomPrompt="1"/>
          </p:nvPr>
        </p:nvSpPr>
        <p:spPr>
          <a:xfrm flipH="1">
            <a:off x="4915948" y="2020781"/>
            <a:ext cx="3600" cy="4030662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38" name="SmartArt Placeholder 35">
            <a:extLst>
              <a:ext uri="{FF2B5EF4-FFF2-40B4-BE49-F238E27FC236}">
                <a16:creationId xmlns:a16="http://schemas.microsoft.com/office/drawing/2014/main" id="{A43CB924-4778-AEB3-1D6C-5B802CD043B0}"/>
              </a:ext>
            </a:extLst>
          </p:cNvPr>
          <p:cNvSpPr>
            <a:spLocks noGrp="1"/>
          </p:cNvSpPr>
          <p:nvPr>
            <p:ph type="dgm" sz="quarter" idx="38" hasCustomPrompt="1"/>
          </p:nvPr>
        </p:nvSpPr>
        <p:spPr>
          <a:xfrm>
            <a:off x="7275846" y="2020781"/>
            <a:ext cx="3600" cy="4030662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39" name="SmartArt Placeholder 35">
            <a:extLst>
              <a:ext uri="{FF2B5EF4-FFF2-40B4-BE49-F238E27FC236}">
                <a16:creationId xmlns:a16="http://schemas.microsoft.com/office/drawing/2014/main" id="{225723D6-9330-76F1-3F3B-6A582AC1C154}"/>
              </a:ext>
            </a:extLst>
          </p:cNvPr>
          <p:cNvSpPr>
            <a:spLocks noGrp="1"/>
          </p:cNvSpPr>
          <p:nvPr>
            <p:ph type="dgm" sz="quarter" idx="39" hasCustomPrompt="1"/>
          </p:nvPr>
        </p:nvSpPr>
        <p:spPr>
          <a:xfrm>
            <a:off x="9635744" y="2020781"/>
            <a:ext cx="3600" cy="4030662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019C0555-55BD-32D2-B375-0C0BC6641F54}"/>
              </a:ext>
            </a:extLst>
          </p:cNvPr>
          <p:cNvSpPr>
            <a:spLocks noGrp="1"/>
          </p:cNvSpPr>
          <p:nvPr>
            <p:ph type="dt" sz="half" idx="4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CAA8F600-C044-B2C2-407F-BE157F6651C1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it-IT"/>
              <a:t>Le stablecoin e il futuro dei pagamenti digitali | Salone dei pagamenti | 30 ottobre 2025</a:t>
            </a:r>
            <a:endParaRPr lang="en-US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4E7CD09-1595-ACE1-D22D-0DB2944898EF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4" name="Group 4">
            <a:extLst>
              <a:ext uri="{FF2B5EF4-FFF2-40B4-BE49-F238E27FC236}">
                <a16:creationId xmlns:a16="http://schemas.microsoft.com/office/drawing/2014/main" id="{8453F1BC-17EA-77B8-592E-FCFE83B19F75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9B26ED38-5705-7F09-4DBF-E084B72B074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1C5BFB2A-1E13-09AB-7074-98B802DA0A9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5EF03636-2B32-4286-9F50-04A4BF52226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894394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olorful circle on a black background&#10;&#10;Description automatically generated">
            <a:extLst>
              <a:ext uri="{FF2B5EF4-FFF2-40B4-BE49-F238E27FC236}">
                <a16:creationId xmlns:a16="http://schemas.microsoft.com/office/drawing/2014/main" id="{C39DD3F9-9341-288C-0536-DED981D0E40F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1F20FD9-346B-5423-9ECF-F0D4E362CC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5774" y="1947546"/>
            <a:ext cx="11218863" cy="4304030"/>
          </a:xfrm>
        </p:spPr>
        <p:txBody>
          <a:bodyPr/>
          <a:lstStyle>
            <a:lvl1pPr marL="0" indent="0">
              <a:lnSpc>
                <a:spcPct val="85000"/>
              </a:lnSpc>
              <a:buNone/>
              <a:defRPr sz="8000" b="1">
                <a:solidFill>
                  <a:schemeClr val="tx1"/>
                </a:solidFill>
                <a:latin typeface="EYInterstate Regular" panose="02000503020000020004" pitchFamily="2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D2006E5E-EB55-C43F-A9B4-8DABEB5C239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445F7D0D-6905-1D3D-D30A-EBA5E1125CB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it-IT"/>
              <a:t>Le stablecoin e il futuro dei pagamenti digitali | Salone dei pagamenti | 30 ottobre 2025</a:t>
            </a:r>
            <a:endParaRPr lang="en-US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7363F73-563F-BF23-4175-916ADF6ADD1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E0806E92-9CA8-7CD6-8C03-853AAAF9884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3" name="Freeform 5">
              <a:extLst>
                <a:ext uri="{FF2B5EF4-FFF2-40B4-BE49-F238E27FC236}">
                  <a16:creationId xmlns:a16="http://schemas.microsoft.com/office/drawing/2014/main" id="{F98ACE82-2958-251A-9634-105994D7768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4" name="Freeform 6">
              <a:extLst>
                <a:ext uri="{FF2B5EF4-FFF2-40B4-BE49-F238E27FC236}">
                  <a16:creationId xmlns:a16="http://schemas.microsoft.com/office/drawing/2014/main" id="{8A190E6F-E59B-12A9-9497-C41DFEF6B3D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B2FA1C3C-0418-38FF-CF34-587CFC0C570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808718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urry image of a colorful light&#10;&#10;Description automatically generated">
            <a:extLst>
              <a:ext uri="{FF2B5EF4-FFF2-40B4-BE49-F238E27FC236}">
                <a16:creationId xmlns:a16="http://schemas.microsoft.com/office/drawing/2014/main" id="{BFF9BC5C-A44C-B902-3ACE-C29AC4CE3E4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1F20FD9-346B-5423-9ECF-F0D4E362CC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5774" y="1947546"/>
            <a:ext cx="11218863" cy="4304030"/>
          </a:xfrm>
        </p:spPr>
        <p:txBody>
          <a:bodyPr/>
          <a:lstStyle>
            <a:lvl1pPr marL="0" indent="0">
              <a:lnSpc>
                <a:spcPct val="85000"/>
              </a:lnSpc>
              <a:buNone/>
              <a:defRPr sz="8000" b="1">
                <a:solidFill>
                  <a:schemeClr val="tx1"/>
                </a:solidFill>
                <a:latin typeface="EYInterstate Regular" panose="02000503020000020004" pitchFamily="2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7" name="Date Placeholder 16">
            <a:extLst>
              <a:ext uri="{FF2B5EF4-FFF2-40B4-BE49-F238E27FC236}">
                <a16:creationId xmlns:a16="http://schemas.microsoft.com/office/drawing/2014/main" id="{81B29507-2BB1-EC71-EE9B-8A9EE3F01E0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E046374F-F6C3-5157-DBE0-F11F0D83F9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it-IT"/>
              <a:t>Le stablecoin e il futuro dei pagamenti digitali | Salone dei pagamenti | 30 ottobre 2025</a:t>
            </a:r>
            <a:endParaRPr lang="en-US"/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C71B9A51-27B6-2F80-3AE9-7FB15995610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1CDE27BD-46C7-A524-5EB7-8B5FEEA62B74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3" name="Freeform 5">
              <a:extLst>
                <a:ext uri="{FF2B5EF4-FFF2-40B4-BE49-F238E27FC236}">
                  <a16:creationId xmlns:a16="http://schemas.microsoft.com/office/drawing/2014/main" id="{A4C2A58F-B939-7AED-F76A-0D247C5D6F1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4" name="Freeform 6">
              <a:extLst>
                <a:ext uri="{FF2B5EF4-FFF2-40B4-BE49-F238E27FC236}">
                  <a16:creationId xmlns:a16="http://schemas.microsoft.com/office/drawing/2014/main" id="{41374777-5950-D16E-5C8A-CEEBDD9C5F6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86648B71-A102-284C-B1D1-FB11D93E1D1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745734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rry image of a rainbow&#10;&#10;Description automatically generated">
            <a:extLst>
              <a:ext uri="{FF2B5EF4-FFF2-40B4-BE49-F238E27FC236}">
                <a16:creationId xmlns:a16="http://schemas.microsoft.com/office/drawing/2014/main" id="{317BE7A3-A673-B58A-8BE4-D36A0E590D3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3D8D2553-DCAF-2D9D-2138-FE4E794B7FFA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297" name="Freeform 296">
              <a:extLst>
                <a:ext uri="{FF2B5EF4-FFF2-40B4-BE49-F238E27FC236}">
                  <a16:creationId xmlns:a16="http://schemas.microsoft.com/office/drawing/2014/main" id="{AD4E5D8B-12B4-19F3-17D4-D12BF368FC85}"/>
                </a:ext>
              </a:extLst>
            </p:cNvPr>
            <p:cNvSpPr/>
            <p:nvPr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8" name="Freeform 297">
              <a:extLst>
                <a:ext uri="{FF2B5EF4-FFF2-40B4-BE49-F238E27FC236}">
                  <a16:creationId xmlns:a16="http://schemas.microsoft.com/office/drawing/2014/main" id="{219789D6-6B07-F2E6-06BE-8CA9DC83E385}"/>
                </a:ext>
              </a:extLst>
            </p:cNvPr>
            <p:cNvSpPr/>
            <p:nvPr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9767D4D9-A47B-4020-6B9B-87B081166C85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99" name="Freeform 298">
              <a:extLst>
                <a:ext uri="{FF2B5EF4-FFF2-40B4-BE49-F238E27FC236}">
                  <a16:creationId xmlns:a16="http://schemas.microsoft.com/office/drawing/2014/main" id="{70589FC3-4491-BD75-2C16-660DF0B71BBC}"/>
                </a:ext>
              </a:extLst>
            </p:cNvPr>
            <p:cNvSpPr/>
            <p:nvPr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3" name="Freeform 292">
              <a:extLst>
                <a:ext uri="{FF2B5EF4-FFF2-40B4-BE49-F238E27FC236}">
                  <a16:creationId xmlns:a16="http://schemas.microsoft.com/office/drawing/2014/main" id="{B00DB918-F11D-F855-5478-ECB25A1AC3D1}"/>
                </a:ext>
              </a:extLst>
            </p:cNvPr>
            <p:cNvSpPr/>
            <p:nvPr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46000">
                  <a:srgbClr val="FFE600"/>
                </a:gs>
                <a:gs pos="66000">
                  <a:srgbClr val="FF32FF"/>
                </a:gs>
                <a:gs pos="100000">
                  <a:srgbClr val="32FFFF"/>
                </a:gs>
              </a:gsLst>
              <a:lin ang="1860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  <p:sp>
        <p:nvSpPr>
          <p:cNvPr id="274" name="Subtitle 2">
            <a:extLst>
              <a:ext uri="{FF2B5EF4-FFF2-40B4-BE49-F238E27FC236}">
                <a16:creationId xmlns:a16="http://schemas.microsoft.com/office/drawing/2014/main" id="{74103396-CF0A-A808-BF1B-463C3EF7376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75" name="Title 4">
            <a:extLst>
              <a:ext uri="{FF2B5EF4-FFF2-40B4-BE49-F238E27FC236}">
                <a16:creationId xmlns:a16="http://schemas.microsoft.com/office/drawing/2014/main" id="{B57CD4DB-AED0-4F7E-41BA-02CA96598A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89" name="Text Placeholder 288">
            <a:extLst>
              <a:ext uri="{FF2B5EF4-FFF2-40B4-BE49-F238E27FC236}">
                <a16:creationId xmlns:a16="http://schemas.microsoft.com/office/drawing/2014/main" id="{31D45A6D-135C-8C27-4F13-A3BC79AB3ED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10" name="Group 309">
            <a:extLst>
              <a:ext uri="{FF2B5EF4-FFF2-40B4-BE49-F238E27FC236}">
                <a16:creationId xmlns:a16="http://schemas.microsoft.com/office/drawing/2014/main" id="{CE838069-3AB1-D532-FB66-FDAEA51877B1}"/>
              </a:ext>
            </a:extLst>
          </p:cNvPr>
          <p:cNvGrpSpPr/>
          <p:nvPr userDrawn="1"/>
        </p:nvGrpSpPr>
        <p:grpSpPr bwMode="black">
          <a:xfrm>
            <a:off x="10563224" y="5167683"/>
            <a:ext cx="1219200" cy="1284606"/>
            <a:chOff x="10563224" y="5158158"/>
            <a:chExt cx="1219200" cy="1284606"/>
          </a:xfrm>
        </p:grpSpPr>
        <p:sp>
          <p:nvSpPr>
            <p:cNvPr id="311" name="Freeform 310">
              <a:extLst>
                <a:ext uri="{FF2B5EF4-FFF2-40B4-BE49-F238E27FC236}">
                  <a16:creationId xmlns:a16="http://schemas.microsoft.com/office/drawing/2014/main" id="{E6AE5B0D-79EC-EE9E-636A-1E7D4A6A240A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2" name="Freeform 311">
              <a:extLst>
                <a:ext uri="{FF2B5EF4-FFF2-40B4-BE49-F238E27FC236}">
                  <a16:creationId xmlns:a16="http://schemas.microsoft.com/office/drawing/2014/main" id="{8B00C66D-FD9B-3996-472E-1CEF16690026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9581475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olorful light in the dark&#10;&#10;Description automatically generated">
            <a:extLst>
              <a:ext uri="{FF2B5EF4-FFF2-40B4-BE49-F238E27FC236}">
                <a16:creationId xmlns:a16="http://schemas.microsoft.com/office/drawing/2014/main" id="{A6C92DE9-1F7F-6A8E-389D-FBCE38254AD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1970406"/>
            <a:ext cx="7394575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775" y="370800"/>
            <a:ext cx="7394575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/>
              <a:t>Chapter 00</a:t>
            </a:r>
            <a:endParaRPr lang="en-US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DFFE949A-6E9F-DCCB-3981-444F818B70A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6E874CEB-2D3F-A7FC-68BB-B1E5B73F857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4BE24A05-3707-8B71-381D-4FC6EE679AF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EF9B997-BE91-43C4-F809-E78685E578A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7688965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urry image of a colorful light&#10;&#10;Description automatically generated">
            <a:extLst>
              <a:ext uri="{FF2B5EF4-FFF2-40B4-BE49-F238E27FC236}">
                <a16:creationId xmlns:a16="http://schemas.microsoft.com/office/drawing/2014/main" id="{BFF9BC5C-A44C-B902-3ACE-C29AC4CE3E4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1F20FD9-346B-5423-9ECF-F0D4E362CC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5774" y="1411287"/>
            <a:ext cx="11218863" cy="4638675"/>
          </a:xfrm>
        </p:spPr>
        <p:txBody>
          <a:bodyPr/>
          <a:lstStyle>
            <a:lvl1pPr marL="0" indent="0">
              <a:lnSpc>
                <a:spcPct val="85000"/>
              </a:lnSpc>
              <a:buNone/>
              <a:defRPr sz="8000" b="1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2C0D9E54-A379-A966-154D-4362D29B3307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19CE3A53-E53C-AAAA-CD1C-C8F1C56FA3B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A3FDBF06-36FA-A0E2-B3E6-78DF2439777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584168FE-6E03-EFEE-BF63-87C62DF46A2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105939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ntent with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ackground" descr="A colorful light in the dark&#10;&#10;Description automatically generated">
            <a:extLst>
              <a:ext uri="{FF2B5EF4-FFF2-40B4-BE49-F238E27FC236}">
                <a16:creationId xmlns:a16="http://schemas.microsoft.com/office/drawing/2014/main" id="{B01642D7-4E4F-867F-08FE-F5B7458A38C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E49EC5F5-14E0-4B05-29E6-E9A059AA1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69888"/>
            <a:ext cx="11224347" cy="4708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99DD3D67-FDA7-A413-313B-AF74B5AA9F16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auto">
          <a:xfrm>
            <a:off x="485523" y="1411287"/>
            <a:ext cx="3571200" cy="4638675"/>
          </a:xfrm>
          <a:solidFill>
            <a:srgbClr val="2E2E38">
              <a:alpha val="60000"/>
            </a:srgbClr>
          </a:solidFill>
        </p:spPr>
        <p:txBody>
          <a:bodyPr lIns="251999" tIns="180000" rIns="251999" bIns="180000"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lang="en-GB"/>
              <a:t>Only one highlight line should appear. Delete the other two lines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FDAD40B-6BF1-FD89-F7E7-683D2B6F74A7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auto">
          <a:xfrm>
            <a:off x="4312096" y="1411287"/>
            <a:ext cx="3571200" cy="4638675"/>
          </a:xfrm>
          <a:solidFill>
            <a:srgbClr val="2E2E38">
              <a:alpha val="60000"/>
            </a:srgbClr>
          </a:solidFill>
        </p:spPr>
        <p:txBody>
          <a:bodyPr lIns="251999" tIns="180000" rIns="251999" bIns="180000"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lang="en-GB"/>
              <a:t>Only one highlight line should appear. Delete the other two lines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6A69E41B-F39E-4366-2ADE-0A30A6B7B882}"/>
              </a:ext>
            </a:extLst>
          </p:cNvPr>
          <p:cNvSpPr>
            <a:spLocks noGrp="1"/>
          </p:cNvSpPr>
          <p:nvPr>
            <p:ph idx="14" hasCustomPrompt="1"/>
          </p:nvPr>
        </p:nvSpPr>
        <p:spPr bwMode="auto">
          <a:xfrm>
            <a:off x="8138670" y="1411287"/>
            <a:ext cx="3571200" cy="4638675"/>
          </a:xfrm>
          <a:solidFill>
            <a:srgbClr val="2E2E38">
              <a:alpha val="60000"/>
            </a:srgbClr>
          </a:solidFill>
        </p:spPr>
        <p:txBody>
          <a:bodyPr lIns="251999" tIns="180000" rIns="251999" bIns="180000"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lang="en-GB"/>
              <a:t>Only one highlight line should appear. Delete the other two lines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Slide Number Placeholder ">
            <a:extLst>
              <a:ext uri="{FF2B5EF4-FFF2-40B4-BE49-F238E27FC236}">
                <a16:creationId xmlns:a16="http://schemas.microsoft.com/office/drawing/2014/main" id="{E26F7576-DAEE-2232-6A83-201B728CC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/>
          </a:p>
        </p:txBody>
      </p:sp>
      <p:sp>
        <p:nvSpPr>
          <p:cNvPr id="4" name="Date Placeholder ">
            <a:extLst>
              <a:ext uri="{FF2B5EF4-FFF2-40B4-BE49-F238E27FC236}">
                <a16:creationId xmlns:a16="http://schemas.microsoft.com/office/drawing/2014/main" id="{6DECAE16-1D46-ECE2-67B1-B4055F3854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">
            <a:extLst>
              <a:ext uri="{FF2B5EF4-FFF2-40B4-BE49-F238E27FC236}">
                <a16:creationId xmlns:a16="http://schemas.microsoft.com/office/drawing/2014/main" id="{98E63702-02E0-6C43-ACB9-CF47EDD90C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e stablecoin e il futuro dei pagamenti digitali | Salone dei pagamenti | 30 ottobre 2025</a:t>
            </a:r>
          </a:p>
        </p:txBody>
      </p:sp>
      <p:sp>
        <p:nvSpPr>
          <p:cNvPr id="8" name="Highlight line 1">
            <a:extLst>
              <a:ext uri="{FF2B5EF4-FFF2-40B4-BE49-F238E27FC236}">
                <a16:creationId xmlns:a16="http://schemas.microsoft.com/office/drawing/2014/main" id="{E1FBA9F5-4E1E-7157-650F-920396E6BD16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485775" y="1411287"/>
            <a:ext cx="3571200" cy="3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sz="800"/>
            </a:lvl1pPr>
          </a:lstStyle>
          <a:p>
            <a:r>
              <a:rPr lang="en-US"/>
              <a:t> </a:t>
            </a:r>
          </a:p>
        </p:txBody>
      </p:sp>
      <p:sp>
        <p:nvSpPr>
          <p:cNvPr id="9" name="Highlight line 2">
            <a:extLst>
              <a:ext uri="{FF2B5EF4-FFF2-40B4-BE49-F238E27FC236}">
                <a16:creationId xmlns:a16="http://schemas.microsoft.com/office/drawing/2014/main" id="{F0D5216F-CE4B-8B47-FCA1-EA9B01BBAD6B}"/>
              </a:ext>
            </a:extLst>
          </p:cNvPr>
          <p:cNvSpPr>
            <a:spLocks noGrp="1"/>
          </p:cNvSpPr>
          <p:nvPr>
            <p:ph type="dgm" sz="quarter" idx="16" hasCustomPrompt="1"/>
          </p:nvPr>
        </p:nvSpPr>
        <p:spPr>
          <a:xfrm>
            <a:off x="4312096" y="1411287"/>
            <a:ext cx="3571200" cy="3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sz="800"/>
            </a:lvl1pPr>
          </a:lstStyle>
          <a:p>
            <a:r>
              <a:rPr lang="en-US"/>
              <a:t> </a:t>
            </a:r>
          </a:p>
        </p:txBody>
      </p:sp>
      <p:sp>
        <p:nvSpPr>
          <p:cNvPr id="10" name="Highlight line 3">
            <a:extLst>
              <a:ext uri="{FF2B5EF4-FFF2-40B4-BE49-F238E27FC236}">
                <a16:creationId xmlns:a16="http://schemas.microsoft.com/office/drawing/2014/main" id="{945CF969-2B44-5C5F-B1A2-132B74FE4B46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8139851" y="1411287"/>
            <a:ext cx="3571200" cy="3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sz="800"/>
            </a:lvl1pPr>
          </a:lstStyle>
          <a:p>
            <a:r>
              <a:rPr lang="en-US"/>
              <a:t> </a:t>
            </a:r>
          </a:p>
        </p:txBody>
      </p:sp>
      <p:grpSp>
        <p:nvGrpSpPr>
          <p:cNvPr id="17" name="Logo">
            <a:extLst>
              <a:ext uri="{FF2B5EF4-FFF2-40B4-BE49-F238E27FC236}">
                <a16:creationId xmlns:a16="http://schemas.microsoft.com/office/drawing/2014/main" id="{EC0BFB89-FAB5-160D-D6E7-673C72C630D5}"/>
              </a:ext>
            </a:extLst>
          </p:cNvPr>
          <p:cNvGrpSpPr/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49E0C4E9-31F6-3AD8-056E-81A5BE6A3E4C}"/>
                </a:ext>
              </a:extLst>
            </p:cNvPr>
            <p:cNvSpPr/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290A4FFE-C215-2C91-4D46-32D31805E46C}"/>
                </a:ext>
              </a:extLst>
            </p:cNvPr>
            <p:cNvSpPr/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7E3BFB0A-D692-C730-136A-21B4EBAA94EC}"/>
                </a:ext>
              </a:extLst>
            </p:cNvPr>
            <p:cNvSpPr/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343685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49EC5F5-14E0-4B05-29E6-E9A059AA10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A5EED3AD-188C-E954-617B-9CB9E1BA8A1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85521" y="1411287"/>
            <a:ext cx="11224800" cy="463867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BEF5EE-C1B0-CB56-30BC-F2EA02D0DD7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539B410-713F-D002-C7AD-50375ABC034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Le stablecoin e il futuro dei pagamenti digitali | Salone dei pagamenti | 30 ottobre 2025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4877F87-1E81-7C70-C23C-765CF083A38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29881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Spectrum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olorful light in the dark&#10;&#10;Description automatically generated">
            <a:extLst>
              <a:ext uri="{FF2B5EF4-FFF2-40B4-BE49-F238E27FC236}">
                <a16:creationId xmlns:a16="http://schemas.microsoft.com/office/drawing/2014/main" id="{76F31E31-25A6-21A9-5DF2-0E1AA48A3DF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3224" y="5167683"/>
            <a:ext cx="1219200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3450C8DF-4702-5EBD-26CC-DEBD6800743F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tx1"/>
                </a:solidFill>
                <a:latin typeface="EYInterstate Regular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tx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EYInterstate Regular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51712FD-9300-4754-120C-13FA331421AB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90AAC841-3D56-6842-04D1-F0B7D973D86D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FF7D1E"/>
                </a:gs>
                <a:gs pos="100000">
                  <a:srgbClr val="FF32FF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121120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Yellow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4089FD7-604E-6D50-B8E8-386FF8CEA9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9938084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8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0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16936F3-C182-891A-97A0-CF098568C803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chemeClr val="bg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 Regular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65A0015-0244-01BA-67B6-11CDC3C588A5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7E9D0337-F340-664F-6A13-B03AA4BA4F82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solidFill>
              <a:schemeClr val="tx2"/>
            </a:soli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15CD7B89-1732-21A9-80B3-03F3E285B8E3}"/>
              </a:ext>
            </a:extLst>
          </p:cNvPr>
          <p:cNvGrpSpPr/>
          <p:nvPr userDrawn="1"/>
        </p:nvGrpSpPr>
        <p:grpSpPr bwMode="black">
          <a:xfrm>
            <a:off x="10563224" y="5167683"/>
            <a:ext cx="1219200" cy="1284606"/>
            <a:chOff x="10563224" y="5158158"/>
            <a:chExt cx="1219200" cy="1284606"/>
          </a:xfrm>
        </p:grpSpPr>
        <p:sp>
          <p:nvSpPr>
            <p:cNvPr id="3" name="Freeform 21">
              <a:extLst>
                <a:ext uri="{FF2B5EF4-FFF2-40B4-BE49-F238E27FC236}">
                  <a16:creationId xmlns:a16="http://schemas.microsoft.com/office/drawing/2014/main" id="{B3D1F132-9888-1D12-123B-99A581A18207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22">
              <a:extLst>
                <a:ext uri="{FF2B5EF4-FFF2-40B4-BE49-F238E27FC236}">
                  <a16:creationId xmlns:a16="http://schemas.microsoft.com/office/drawing/2014/main" id="{01F94DD1-855D-04C0-4FF8-8E4DDEB0AA49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chemeClr val="bg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895010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Wri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EA698E1-9315-F464-C75D-F86E6E4A15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86354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38649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 Regular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12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1272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44759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D3F6603-D012-19C2-19E4-3C9A6BAA4779}"/>
              </a:ext>
            </a:extLst>
          </p:cNvPr>
          <p:cNvGrpSpPr/>
          <p:nvPr userDrawn="1"/>
        </p:nvGrpSpPr>
        <p:grpSpPr>
          <a:xfrm>
            <a:off x="485774" y="719508"/>
            <a:ext cx="5706110" cy="4360545"/>
            <a:chOff x="485774" y="719508"/>
            <a:chExt cx="5706110" cy="4360545"/>
          </a:xfrm>
        </p:grpSpPr>
        <p:sp>
          <p:nvSpPr>
            <p:cNvPr id="10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49784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4" name="Freeform 3">
              <a:extLst>
                <a:ext uri="{FF2B5EF4-FFF2-40B4-BE49-F238E27FC236}">
                  <a16:creationId xmlns:a16="http://schemas.microsoft.com/office/drawing/2014/main" id="{7E9D0337-F340-664F-6A13-B03AA4BA4F82}"/>
                </a:ext>
              </a:extLst>
            </p:cNvPr>
            <p:cNvSpPr/>
            <p:nvPr userDrawn="1"/>
          </p:nvSpPr>
          <p:spPr>
            <a:xfrm>
              <a:off x="485775" y="7195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solidFill>
              <a:schemeClr val="tx2"/>
            </a:soli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EEB2775D-C14D-1FFE-E3E9-4E62DDA32301}"/>
              </a:ext>
            </a:extLst>
          </p:cNvPr>
          <p:cNvSpPr txBox="1"/>
          <p:nvPr userDrawn="1"/>
        </p:nvSpPr>
        <p:spPr>
          <a:xfrm>
            <a:off x="461984" y="5552404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>
                <a:solidFill>
                  <a:schemeClr val="bg1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FAE2F50B-78AF-04F3-4BFF-980630AF7A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4" y="5966393"/>
            <a:ext cx="3089275" cy="18000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5473ED8-C1F4-379D-AE01-5E7A3D5F34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4" y="6164011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8" name="Picture Placeholder 19">
            <a:extLst>
              <a:ext uri="{FF2B5EF4-FFF2-40B4-BE49-F238E27FC236}">
                <a16:creationId xmlns:a16="http://schemas.microsoft.com/office/drawing/2014/main" id="{812BC08D-D0F7-900D-1481-4C172F6BE56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861846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25B130A-4E65-32BD-4CB8-C7E2B623FD74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656264"/>
            <a:ext cx="8122101" cy="0"/>
          </a:xfrm>
          <a:prstGeom prst="line">
            <a:avLst/>
          </a:prstGeom>
          <a:ln w="9525" cap="flat" cmpd="sng" algn="ctr">
            <a:solidFill>
              <a:srgbClr val="C4C4CD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30198169-EBCF-F789-C136-516462A02A87}"/>
              </a:ext>
            </a:extLst>
          </p:cNvPr>
          <p:cNvGrpSpPr/>
          <p:nvPr userDrawn="1"/>
        </p:nvGrpSpPr>
        <p:grpSpPr bwMode="black">
          <a:xfrm>
            <a:off x="10563224" y="5167683"/>
            <a:ext cx="1219200" cy="1284606"/>
            <a:chOff x="10563224" y="5158158"/>
            <a:chExt cx="1219200" cy="1284606"/>
          </a:xfrm>
        </p:grpSpPr>
        <p:sp>
          <p:nvSpPr>
            <p:cNvPr id="5" name="Freeform 21">
              <a:extLst>
                <a:ext uri="{FF2B5EF4-FFF2-40B4-BE49-F238E27FC236}">
                  <a16:creationId xmlns:a16="http://schemas.microsoft.com/office/drawing/2014/main" id="{948E788F-209B-C633-EA21-F87ED8782E45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22">
              <a:extLst>
                <a:ext uri="{FF2B5EF4-FFF2-40B4-BE49-F238E27FC236}">
                  <a16:creationId xmlns:a16="http://schemas.microsoft.com/office/drawing/2014/main" id="{1E01C4C0-AE47-F54F-3296-B24078903EF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chemeClr val="bg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26861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713817A-1A0E-6215-C86F-711F67622A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86354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 Regular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4EBDC9A-DAD0-DF95-C863-A513F5757B58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7E9D0337-F340-664F-6A13-B03AA4BA4F82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46000">
                  <a:srgbClr val="FFE600"/>
                </a:gs>
                <a:gs pos="66000">
                  <a:srgbClr val="FF32FF"/>
                </a:gs>
                <a:gs pos="100000">
                  <a:srgbClr val="32FFFF"/>
                </a:gs>
              </a:gsLst>
              <a:lin ang="1860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5B4B2F52-E2A6-E7F1-87AB-342BB9BFB918}"/>
              </a:ext>
            </a:extLst>
          </p:cNvPr>
          <p:cNvGrpSpPr/>
          <p:nvPr userDrawn="1"/>
        </p:nvGrpSpPr>
        <p:grpSpPr bwMode="black">
          <a:xfrm>
            <a:off x="10563224" y="5167683"/>
            <a:ext cx="1219200" cy="1284606"/>
            <a:chOff x="10563224" y="5158158"/>
            <a:chExt cx="1219200" cy="1284606"/>
          </a:xfrm>
        </p:grpSpPr>
        <p:sp>
          <p:nvSpPr>
            <p:cNvPr id="12" name="Freeform 21">
              <a:extLst>
                <a:ext uri="{FF2B5EF4-FFF2-40B4-BE49-F238E27FC236}">
                  <a16:creationId xmlns:a16="http://schemas.microsoft.com/office/drawing/2014/main" id="{424D6A69-F274-3A5C-9909-D6BE51FECE67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22">
              <a:extLst>
                <a:ext uri="{FF2B5EF4-FFF2-40B4-BE49-F238E27FC236}">
                  <a16:creationId xmlns:a16="http://schemas.microsoft.com/office/drawing/2014/main" id="{238925DC-7482-47FF-833A-878397D63E86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chemeClr val="bg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1882E718-34C5-4345-6EDE-C2A2274567A3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5" name="Freeform 23">
              <a:extLst>
                <a:ext uri="{FF2B5EF4-FFF2-40B4-BE49-F238E27FC236}">
                  <a16:creationId xmlns:a16="http://schemas.microsoft.com/office/drawing/2014/main" id="{04769FC2-AA96-BF7D-A57D-6136B16425B4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6" name="Freeform 24">
              <a:extLst>
                <a:ext uri="{FF2B5EF4-FFF2-40B4-BE49-F238E27FC236}">
                  <a16:creationId xmlns:a16="http://schemas.microsoft.com/office/drawing/2014/main" id="{018A045E-469B-37B4-66BD-A077F6237FA6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chemeClr val="bg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50313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7B25F44-CAE3-AE0B-B97B-B0F6E4B43D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86354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 Regular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092712F-14F6-2950-E68A-ADC32C53EBC0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CC99724B-50FD-5B78-B6B7-D645073026A7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A420F8"/>
                </a:gs>
                <a:gs pos="100000">
                  <a:srgbClr val="5C94F9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CFC0762A-8497-5B79-C5BB-73A29AC66441}"/>
              </a:ext>
            </a:extLst>
          </p:cNvPr>
          <p:cNvGrpSpPr/>
          <p:nvPr userDrawn="1"/>
        </p:nvGrpSpPr>
        <p:grpSpPr bwMode="black">
          <a:xfrm>
            <a:off x="10563224" y="5167683"/>
            <a:ext cx="1219200" cy="1284606"/>
            <a:chOff x="10563224" y="5158158"/>
            <a:chExt cx="1219200" cy="1284606"/>
          </a:xfrm>
        </p:grpSpPr>
        <p:sp>
          <p:nvSpPr>
            <p:cNvPr id="12" name="Freeform 21">
              <a:extLst>
                <a:ext uri="{FF2B5EF4-FFF2-40B4-BE49-F238E27FC236}">
                  <a16:creationId xmlns:a16="http://schemas.microsoft.com/office/drawing/2014/main" id="{799C3E0A-B26B-82EE-7A80-E7BA8605203C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22">
              <a:extLst>
                <a:ext uri="{FF2B5EF4-FFF2-40B4-BE49-F238E27FC236}">
                  <a16:creationId xmlns:a16="http://schemas.microsoft.com/office/drawing/2014/main" id="{BFA27BC0-4608-6064-63BA-AFD78A17F8B2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chemeClr val="bg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D24F0FAD-7582-E59D-E125-54DD5BA160A3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4" name="Freeform 23">
              <a:extLst>
                <a:ext uri="{FF2B5EF4-FFF2-40B4-BE49-F238E27FC236}">
                  <a16:creationId xmlns:a16="http://schemas.microsoft.com/office/drawing/2014/main" id="{6FA849DF-1D4C-EAF0-08A5-7DDBACD55F3C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" name="Freeform 24">
              <a:extLst>
                <a:ext uri="{FF2B5EF4-FFF2-40B4-BE49-F238E27FC236}">
                  <a16:creationId xmlns:a16="http://schemas.microsoft.com/office/drawing/2014/main" id="{AFCBB4D7-2A1F-809A-E4FD-A2FEADA71C98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chemeClr val="bg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036850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D8D4830-1AF6-9C3D-EC53-70FC3C7CBE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86354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 Regular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E4019ED-5B2C-404F-02EC-797AD0FF10FD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" name="Freeform 1">
              <a:extLst>
                <a:ext uri="{FF2B5EF4-FFF2-40B4-BE49-F238E27FC236}">
                  <a16:creationId xmlns:a16="http://schemas.microsoft.com/office/drawing/2014/main" id="{63327741-8A1F-B922-5F7C-0313A67883A4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FF7D1E"/>
                </a:gs>
                <a:gs pos="100000">
                  <a:srgbClr val="FF32FF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72B85FCE-7D00-DCCA-BC35-732ABB795B05}"/>
              </a:ext>
            </a:extLst>
          </p:cNvPr>
          <p:cNvGrpSpPr/>
          <p:nvPr userDrawn="1"/>
        </p:nvGrpSpPr>
        <p:grpSpPr bwMode="black">
          <a:xfrm>
            <a:off x="10563224" y="5167683"/>
            <a:ext cx="1219200" cy="1284606"/>
            <a:chOff x="10563224" y="5158158"/>
            <a:chExt cx="1219200" cy="1284606"/>
          </a:xfrm>
        </p:grpSpPr>
        <p:sp>
          <p:nvSpPr>
            <p:cNvPr id="12" name="Freeform 21">
              <a:extLst>
                <a:ext uri="{FF2B5EF4-FFF2-40B4-BE49-F238E27FC236}">
                  <a16:creationId xmlns:a16="http://schemas.microsoft.com/office/drawing/2014/main" id="{D1155DC7-2B94-9E8B-866B-740F6C42BC2F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22">
              <a:extLst>
                <a:ext uri="{FF2B5EF4-FFF2-40B4-BE49-F238E27FC236}">
                  <a16:creationId xmlns:a16="http://schemas.microsoft.com/office/drawing/2014/main" id="{7E76DE21-502E-8E60-921D-8AE5A6CE5EA0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chemeClr val="bg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A6D27708-5BDE-7609-B2E7-5BB669F020F7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5" name="Freeform 23">
              <a:extLst>
                <a:ext uri="{FF2B5EF4-FFF2-40B4-BE49-F238E27FC236}">
                  <a16:creationId xmlns:a16="http://schemas.microsoft.com/office/drawing/2014/main" id="{ED53A776-F7E6-4162-5C9C-EBEC582A810E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6" name="Freeform 24">
              <a:extLst>
                <a:ext uri="{FF2B5EF4-FFF2-40B4-BE49-F238E27FC236}">
                  <a16:creationId xmlns:a16="http://schemas.microsoft.com/office/drawing/2014/main" id="{AD73404A-FC7B-D657-2C28-CB0C86D6B749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chemeClr val="bg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06086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2D7BB4A-5FCC-BE0E-4598-A4CBBA847A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86354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 Regular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AE5DE78-B7B3-7321-F9AE-079289C97DAA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7E9D0337-F340-664F-6A13-B03AA4BA4F82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46000">
                  <a:srgbClr val="FFE600"/>
                </a:gs>
                <a:gs pos="66000">
                  <a:srgbClr val="00C864"/>
                </a:gs>
                <a:gs pos="100000">
                  <a:srgbClr val="4696FF"/>
                </a:gs>
              </a:gsLst>
              <a:lin ang="1860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8ABF55A2-059D-B6B9-9AE4-6C1292007A6F}"/>
              </a:ext>
            </a:extLst>
          </p:cNvPr>
          <p:cNvGrpSpPr/>
          <p:nvPr userDrawn="1"/>
        </p:nvGrpSpPr>
        <p:grpSpPr bwMode="black">
          <a:xfrm>
            <a:off x="10563224" y="5167683"/>
            <a:ext cx="1219200" cy="1284606"/>
            <a:chOff x="10563224" y="5158158"/>
            <a:chExt cx="1219200" cy="1284606"/>
          </a:xfrm>
        </p:grpSpPr>
        <p:sp>
          <p:nvSpPr>
            <p:cNvPr id="12" name="Freeform 21">
              <a:extLst>
                <a:ext uri="{FF2B5EF4-FFF2-40B4-BE49-F238E27FC236}">
                  <a16:creationId xmlns:a16="http://schemas.microsoft.com/office/drawing/2014/main" id="{5CD006A2-84E4-525B-D2D6-3AA817F4AD13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22">
              <a:extLst>
                <a:ext uri="{FF2B5EF4-FFF2-40B4-BE49-F238E27FC236}">
                  <a16:creationId xmlns:a16="http://schemas.microsoft.com/office/drawing/2014/main" id="{2639EFD4-CC46-F7A1-58A2-61FBCAA50F90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chemeClr val="bg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0E3E6A4-E7C7-D8B1-D168-425F837286E8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5" name="Freeform 23">
              <a:extLst>
                <a:ext uri="{FF2B5EF4-FFF2-40B4-BE49-F238E27FC236}">
                  <a16:creationId xmlns:a16="http://schemas.microsoft.com/office/drawing/2014/main" id="{68A48E44-3626-12D9-7447-675C0E15D905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6" name="Freeform 24">
              <a:extLst>
                <a:ext uri="{FF2B5EF4-FFF2-40B4-BE49-F238E27FC236}">
                  <a16:creationId xmlns:a16="http://schemas.microsoft.com/office/drawing/2014/main" id="{2D5DD4F1-1FCF-E20D-2541-C550DC2B1532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chemeClr val="bg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284243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27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8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17F9F6E8-590F-532C-EE5F-26490476F9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444826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73" imgH="473" progId="TCLayout.ActiveDocument.1">
                  <p:embed/>
                </p:oleObj>
              </mc:Choice>
              <mc:Fallback>
                <p:oleObj name="think-cell Slide" r:id="rId27" imgW="473" imgH="473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7F9F6E8-590F-532C-EE5F-26490476F9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5523" y="369888"/>
            <a:ext cx="11224347" cy="4708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5523" y="1411287"/>
            <a:ext cx="11224347" cy="4638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First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20pt</a:t>
            </a:r>
            <a:endParaRPr lang="en-US"/>
          </a:p>
          <a:p>
            <a:pPr lvl="1"/>
            <a:r>
              <a:rPr lang="en-US"/>
              <a:t>Second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20pt</a:t>
            </a:r>
            <a:endParaRPr lang="en-US"/>
          </a:p>
          <a:p>
            <a:pPr lvl="2"/>
            <a:r>
              <a:rPr lang="en-US"/>
              <a:t>Third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8pt</a:t>
            </a:r>
            <a:endParaRPr lang="en-US"/>
          </a:p>
          <a:p>
            <a:pPr lvl="3"/>
            <a:r>
              <a:rPr lang="en-US"/>
              <a:t>Four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6pt</a:t>
            </a:r>
            <a:endParaRPr lang="en-US"/>
          </a:p>
          <a:p>
            <a:pPr lvl="4"/>
            <a:r>
              <a:rPr lang="en-US"/>
              <a:t>Fif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6pt</a:t>
            </a:r>
            <a:endParaRPr lang="en-US"/>
          </a:p>
          <a:p>
            <a:pPr lvl="5"/>
            <a:r>
              <a:rPr lang="en-US"/>
              <a:t>Six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4pt</a:t>
            </a:r>
            <a:endParaRPr lang="en-US"/>
          </a:p>
          <a:p>
            <a:pPr lvl="6"/>
            <a:r>
              <a:rPr lang="en-US"/>
              <a:t>Seven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4pt</a:t>
            </a:r>
            <a:endParaRPr lang="en-US"/>
          </a:p>
          <a:p>
            <a:pPr lvl="7"/>
            <a:r>
              <a:rPr lang="en-US"/>
              <a:t>Eigh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2pt</a:t>
            </a:r>
            <a:endParaRPr lang="en-US"/>
          </a:p>
          <a:p>
            <a:pPr lvl="8"/>
            <a:r>
              <a:rPr lang="en-US"/>
              <a:t>Nine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2pt</a:t>
            </a:r>
            <a:endParaRPr lang="en-US"/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84D8E7BF-2CB9-F661-3559-99D90AE0A4E5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B6AA6DF4-2FEA-00BD-9BF9-6CDE40EF389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9F5D8B0B-D61C-3D77-A3C6-C71B65E6645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66939EE2-541D-2E43-8858-BD44D3A0144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2" name="Slide Number Placeholder">
            <a:extLst>
              <a:ext uri="{FF2B5EF4-FFF2-40B4-BE49-F238E27FC236}">
                <a16:creationId xmlns:a16="http://schemas.microsoft.com/office/drawing/2014/main" id="{ED74E7B3-73BA-6CBF-F361-5C4836CC1A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5747" y="6437115"/>
            <a:ext cx="50909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Date Placeholder">
            <a:extLst>
              <a:ext uri="{FF2B5EF4-FFF2-40B4-BE49-F238E27FC236}">
                <a16:creationId xmlns:a16="http://schemas.microsoft.com/office/drawing/2014/main" id="{F72B6F9D-B29D-E927-36D7-47D6721092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4845" y="6437115"/>
            <a:ext cx="1275686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5" name="Footer Placeholder">
            <a:extLst>
              <a:ext uri="{FF2B5EF4-FFF2-40B4-BE49-F238E27FC236}">
                <a16:creationId xmlns:a16="http://schemas.microsoft.com/office/drawing/2014/main" id="{F3C10C79-9BC5-0699-5C8C-F8347F4643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70531" y="6437115"/>
            <a:ext cx="3825470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algn="l" defTabSz="914400" rtl="0" eaLnBrk="1" latinLnBrk="0" hangingPunct="1">
              <a:defRPr lang="en-IN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it-IT"/>
              <a:t>Le stablecoin e il futuro dei pagamenti digitali | Salone dei pagamenti | 30 ottobre 2025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69784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773" r:id="rId20"/>
    <p:sldLayoutId id="2147483774" r:id="rId21"/>
    <p:sldLayoutId id="2147483680" r:id="rId22"/>
    <p:sldLayoutId id="2147483681" r:id="rId23"/>
    <p:sldLayoutId id="2147483682" r:id="rId24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600" b="1" i="0" kern="1200">
          <a:solidFill>
            <a:schemeClr val="bg1"/>
          </a:solidFill>
          <a:latin typeface="EYInterstate Regular" panose="02000503020000020004" pitchFamily="2" charset="0"/>
          <a:ea typeface="+mj-ea"/>
          <a:cs typeface="Arial" pitchFamily="34" charset="0"/>
        </a:defRPr>
      </a:lvl1pPr>
    </p:titleStyle>
    <p:bodyStyle>
      <a:lvl1pPr marL="252000" indent="-252000" algn="l" defTabSz="914400" rtl="0" eaLnBrk="1" latinLnBrk="0" hangingPunct="1">
        <a:spcBef>
          <a:spcPts val="40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spcBef>
          <a:spcPts val="40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008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260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1512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400" kern="1200">
          <a:solidFill>
            <a:schemeClr val="bg1"/>
          </a:solidFill>
          <a:latin typeface="+mn-lt"/>
          <a:ea typeface="+mn-ea"/>
          <a:cs typeface="+mn-cs"/>
        </a:defRPr>
      </a:lvl6pPr>
      <a:lvl7pPr marL="1764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2016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200" kern="1200">
          <a:solidFill>
            <a:schemeClr val="bg1"/>
          </a:solidFill>
          <a:latin typeface="+mn-lt"/>
          <a:ea typeface="+mn-ea"/>
          <a:cs typeface="+mn-cs"/>
        </a:defRPr>
      </a:lvl8pPr>
      <a:lvl9pPr marL="2268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2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48" orient="horz" pos="527">
          <p15:clr>
            <a:srgbClr val="F26B43"/>
          </p15:clr>
        </p15:guide>
        <p15:guide id="57" orient="horz" pos="890">
          <p15:clr>
            <a:srgbClr val="F26B43"/>
          </p15:clr>
        </p15:guide>
        <p15:guide id="78" orient="horz" pos="3816">
          <p15:clr>
            <a:srgbClr val="F26B43"/>
          </p15:clr>
        </p15:guide>
        <p15:guide id="79" orient="horz" pos="23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671777CF-6909-784C-A7A2-958B77DC54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80789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3" progId="TCLayout.ActiveDocument.1">
                  <p:embed/>
                </p:oleObj>
              </mc:Choice>
              <mc:Fallback>
                <p:oleObj name="think-cell Slide" r:id="rId8" imgW="473" imgH="473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1777CF-6909-784C-A7A2-958B77DC54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5523" y="369888"/>
            <a:ext cx="11224347" cy="4708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5523" y="1411287"/>
            <a:ext cx="11224347" cy="4638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First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20pt</a:t>
            </a:r>
            <a:endParaRPr lang="en-US"/>
          </a:p>
          <a:p>
            <a:pPr lvl="1"/>
            <a:r>
              <a:rPr lang="en-US"/>
              <a:t>Second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20pt</a:t>
            </a:r>
            <a:endParaRPr lang="en-US"/>
          </a:p>
          <a:p>
            <a:pPr lvl="2"/>
            <a:r>
              <a:rPr lang="en-US"/>
              <a:t>Third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8pt</a:t>
            </a:r>
            <a:endParaRPr lang="en-US"/>
          </a:p>
          <a:p>
            <a:pPr lvl="3"/>
            <a:r>
              <a:rPr lang="en-US"/>
              <a:t>Four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6pt</a:t>
            </a:r>
            <a:endParaRPr lang="en-US"/>
          </a:p>
          <a:p>
            <a:pPr lvl="4"/>
            <a:r>
              <a:rPr lang="en-US"/>
              <a:t>Fif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6pt</a:t>
            </a:r>
            <a:endParaRPr lang="en-US"/>
          </a:p>
          <a:p>
            <a:pPr lvl="5"/>
            <a:r>
              <a:rPr lang="en-US"/>
              <a:t>Six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4pt</a:t>
            </a:r>
            <a:endParaRPr lang="en-US"/>
          </a:p>
          <a:p>
            <a:pPr lvl="6"/>
            <a:r>
              <a:rPr lang="en-US"/>
              <a:t>Seven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4pt</a:t>
            </a:r>
            <a:endParaRPr lang="en-US"/>
          </a:p>
          <a:p>
            <a:pPr lvl="7"/>
            <a:r>
              <a:rPr lang="en-US"/>
              <a:t>Eigh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2pt</a:t>
            </a:r>
            <a:endParaRPr lang="en-US"/>
          </a:p>
          <a:p>
            <a:pPr lvl="8"/>
            <a:r>
              <a:rPr lang="en-US"/>
              <a:t>Nine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2pt</a:t>
            </a:r>
            <a:endParaRPr lang="en-US"/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84D8E7BF-2CB9-F661-3559-99D90AE0A4E5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B6AA6DF4-2FEA-00BD-9BF9-6CDE40EF389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9F5D8B0B-D61C-3D77-A3C6-C71B65E6645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66939EE2-541D-2E43-8858-BD44D3A0144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5638053E-0ACB-3F40-150B-19A5D9F05C50}"/>
              </a:ext>
            </a:extLst>
          </p:cNvPr>
          <p:cNvSpPr txBox="1">
            <a:spLocks/>
          </p:cNvSpPr>
          <p:nvPr userDrawn="1"/>
        </p:nvSpPr>
        <p:spPr>
          <a:xfrm>
            <a:off x="485747" y="6437115"/>
            <a:ext cx="509098" cy="123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4FCA0F3-9F3A-694B-99BB-0E592A7977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DisplayedGrid">
            <a:extLst>
              <a:ext uri="{FF2B5EF4-FFF2-40B4-BE49-F238E27FC236}">
                <a16:creationId xmlns:a16="http://schemas.microsoft.com/office/drawing/2014/main" id="{636F2733-FCF4-F67A-1490-14FE74C00399}"/>
              </a:ext>
            </a:extLst>
          </p:cNvPr>
          <p:cNvSpPr/>
          <p:nvPr userDrawn="1"/>
        </p:nvSpPr>
        <p:spPr>
          <a:xfrm>
            <a:off x="603069" y="1327149"/>
            <a:ext cx="10974283" cy="4797425"/>
          </a:xfrm>
          <a:prstGeom prst="rect">
            <a:avLst/>
          </a:prstGeom>
          <a:noFill/>
          <a:ln w="9525">
            <a:solidFill>
              <a:srgbClr val="FF0000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/>
          <a:lstStyle/>
          <a:p>
            <a:pPr marL="252000" indent="-2520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it-IT" sz="20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8749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9" r:id="rId4"/>
    <p:sldLayoutId id="2147483730" r:id="rId5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600" b="1" i="0" kern="1200">
          <a:solidFill>
            <a:schemeClr val="tx2"/>
          </a:solidFill>
          <a:latin typeface="+mj-lt"/>
          <a:ea typeface="+mj-ea"/>
          <a:cs typeface="Arial" pitchFamily="34" charset="0"/>
        </a:defRPr>
      </a:lvl1pPr>
    </p:titleStyle>
    <p:bodyStyle>
      <a:lvl1pPr marL="252000" indent="-252000" algn="l" defTabSz="914400" rtl="0" eaLnBrk="1" latinLnBrk="0" hangingPunct="1">
        <a:spcBef>
          <a:spcPts val="40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spcBef>
          <a:spcPts val="40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008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260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1512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400" kern="1200">
          <a:solidFill>
            <a:schemeClr val="bg1"/>
          </a:solidFill>
          <a:latin typeface="+mn-lt"/>
          <a:ea typeface="+mn-ea"/>
          <a:cs typeface="+mn-cs"/>
        </a:defRPr>
      </a:lvl6pPr>
      <a:lvl7pPr marL="1764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2016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200" kern="1200">
          <a:solidFill>
            <a:schemeClr val="bg1"/>
          </a:solidFill>
          <a:latin typeface="+mn-lt"/>
          <a:ea typeface="+mn-ea"/>
          <a:cs typeface="+mn-cs"/>
        </a:defRPr>
      </a:lvl8pPr>
      <a:lvl9pPr marL="2268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2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9" pos="7378">
          <p15:clr>
            <a:srgbClr val="F26B43"/>
          </p15:clr>
        </p15:guide>
        <p15:guide id="35" pos="302">
          <p15:clr>
            <a:srgbClr val="F26B43"/>
          </p15:clr>
        </p15:guide>
        <p15:guide id="36" orient="horz" pos="210">
          <p15:clr>
            <a:srgbClr val="F26B43"/>
          </p15:clr>
        </p15:guide>
        <p15:guide id="37" orient="horz" pos="527">
          <p15:clr>
            <a:srgbClr val="F26B43"/>
          </p15:clr>
        </p15:guide>
        <p15:guide id="38" orient="horz" pos="890">
          <p15:clr>
            <a:srgbClr val="F26B43"/>
          </p15:clr>
        </p15:guide>
        <p15:guide id="39" orient="horz" pos="383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13" Type="http://schemas.openxmlformats.org/officeDocument/2006/relationships/tags" Target="../tags/tag88.xml"/><Relationship Id="rId18" Type="http://schemas.openxmlformats.org/officeDocument/2006/relationships/tags" Target="../tags/tag93.xml"/><Relationship Id="rId3" Type="http://schemas.openxmlformats.org/officeDocument/2006/relationships/tags" Target="../tags/tag78.xml"/><Relationship Id="rId21" Type="http://schemas.openxmlformats.org/officeDocument/2006/relationships/chart" Target="../charts/chart8.xml"/><Relationship Id="rId7" Type="http://schemas.openxmlformats.org/officeDocument/2006/relationships/tags" Target="../tags/tag82.xml"/><Relationship Id="rId12" Type="http://schemas.openxmlformats.org/officeDocument/2006/relationships/tags" Target="../tags/tag87.xml"/><Relationship Id="rId17" Type="http://schemas.openxmlformats.org/officeDocument/2006/relationships/tags" Target="../tags/tag92.xml"/><Relationship Id="rId25" Type="http://schemas.openxmlformats.org/officeDocument/2006/relationships/chart" Target="../charts/chart12.xml"/><Relationship Id="rId2" Type="http://schemas.openxmlformats.org/officeDocument/2006/relationships/tags" Target="../tags/tag77.xml"/><Relationship Id="rId16" Type="http://schemas.openxmlformats.org/officeDocument/2006/relationships/tags" Target="../tags/tag91.xml"/><Relationship Id="rId20" Type="http://schemas.openxmlformats.org/officeDocument/2006/relationships/slideLayout" Target="../slideLayouts/slideLayout20.xml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11" Type="http://schemas.openxmlformats.org/officeDocument/2006/relationships/tags" Target="../tags/tag86.xml"/><Relationship Id="rId24" Type="http://schemas.openxmlformats.org/officeDocument/2006/relationships/chart" Target="../charts/chart11.xml"/><Relationship Id="rId5" Type="http://schemas.openxmlformats.org/officeDocument/2006/relationships/tags" Target="../tags/tag80.xml"/><Relationship Id="rId15" Type="http://schemas.openxmlformats.org/officeDocument/2006/relationships/tags" Target="../tags/tag90.xml"/><Relationship Id="rId23" Type="http://schemas.openxmlformats.org/officeDocument/2006/relationships/chart" Target="../charts/chart10.xml"/><Relationship Id="rId10" Type="http://schemas.openxmlformats.org/officeDocument/2006/relationships/tags" Target="../tags/tag85.xml"/><Relationship Id="rId19" Type="http://schemas.openxmlformats.org/officeDocument/2006/relationships/tags" Target="../tags/tag94.xml"/><Relationship Id="rId4" Type="http://schemas.openxmlformats.org/officeDocument/2006/relationships/tags" Target="../tags/tag79.xml"/><Relationship Id="rId9" Type="http://schemas.openxmlformats.org/officeDocument/2006/relationships/tags" Target="../tags/tag84.xml"/><Relationship Id="rId14" Type="http://schemas.openxmlformats.org/officeDocument/2006/relationships/tags" Target="../tags/tag89.xml"/><Relationship Id="rId22" Type="http://schemas.openxmlformats.org/officeDocument/2006/relationships/chart" Target="../charts/chart9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107.xml"/><Relationship Id="rId18" Type="http://schemas.openxmlformats.org/officeDocument/2006/relationships/tags" Target="../tags/tag112.xml"/><Relationship Id="rId26" Type="http://schemas.openxmlformats.org/officeDocument/2006/relationships/tags" Target="../tags/tag120.xml"/><Relationship Id="rId39" Type="http://schemas.openxmlformats.org/officeDocument/2006/relationships/chart" Target="../charts/chart13.xml"/><Relationship Id="rId21" Type="http://schemas.openxmlformats.org/officeDocument/2006/relationships/tags" Target="../tags/tag115.xml"/><Relationship Id="rId34" Type="http://schemas.openxmlformats.org/officeDocument/2006/relationships/tags" Target="../tags/tag128.xml"/><Relationship Id="rId7" Type="http://schemas.openxmlformats.org/officeDocument/2006/relationships/tags" Target="../tags/tag101.xml"/><Relationship Id="rId2" Type="http://schemas.openxmlformats.org/officeDocument/2006/relationships/tags" Target="../tags/tag96.xml"/><Relationship Id="rId16" Type="http://schemas.openxmlformats.org/officeDocument/2006/relationships/tags" Target="../tags/tag110.xml"/><Relationship Id="rId20" Type="http://schemas.openxmlformats.org/officeDocument/2006/relationships/tags" Target="../tags/tag114.xml"/><Relationship Id="rId29" Type="http://schemas.openxmlformats.org/officeDocument/2006/relationships/tags" Target="../tags/tag123.xml"/><Relationship Id="rId41" Type="http://schemas.openxmlformats.org/officeDocument/2006/relationships/chart" Target="../charts/chart15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tags" Target="../tags/tag105.xml"/><Relationship Id="rId24" Type="http://schemas.openxmlformats.org/officeDocument/2006/relationships/tags" Target="../tags/tag118.xml"/><Relationship Id="rId32" Type="http://schemas.openxmlformats.org/officeDocument/2006/relationships/tags" Target="../tags/tag126.xml"/><Relationship Id="rId37" Type="http://schemas.openxmlformats.org/officeDocument/2006/relationships/tags" Target="../tags/tag131.xml"/><Relationship Id="rId40" Type="http://schemas.openxmlformats.org/officeDocument/2006/relationships/chart" Target="../charts/chart14.xml"/><Relationship Id="rId5" Type="http://schemas.openxmlformats.org/officeDocument/2006/relationships/tags" Target="../tags/tag99.xml"/><Relationship Id="rId15" Type="http://schemas.openxmlformats.org/officeDocument/2006/relationships/tags" Target="../tags/tag109.xml"/><Relationship Id="rId23" Type="http://schemas.openxmlformats.org/officeDocument/2006/relationships/tags" Target="../tags/tag117.xml"/><Relationship Id="rId28" Type="http://schemas.openxmlformats.org/officeDocument/2006/relationships/tags" Target="../tags/tag122.xml"/><Relationship Id="rId36" Type="http://schemas.openxmlformats.org/officeDocument/2006/relationships/tags" Target="../tags/tag130.xml"/><Relationship Id="rId10" Type="http://schemas.openxmlformats.org/officeDocument/2006/relationships/tags" Target="../tags/tag104.xml"/><Relationship Id="rId19" Type="http://schemas.openxmlformats.org/officeDocument/2006/relationships/tags" Target="../tags/tag113.xml"/><Relationship Id="rId31" Type="http://schemas.openxmlformats.org/officeDocument/2006/relationships/tags" Target="../tags/tag125.xml"/><Relationship Id="rId4" Type="http://schemas.openxmlformats.org/officeDocument/2006/relationships/tags" Target="../tags/tag98.xml"/><Relationship Id="rId9" Type="http://schemas.openxmlformats.org/officeDocument/2006/relationships/tags" Target="../tags/tag103.xml"/><Relationship Id="rId14" Type="http://schemas.openxmlformats.org/officeDocument/2006/relationships/tags" Target="../tags/tag108.xml"/><Relationship Id="rId22" Type="http://schemas.openxmlformats.org/officeDocument/2006/relationships/tags" Target="../tags/tag116.xml"/><Relationship Id="rId27" Type="http://schemas.openxmlformats.org/officeDocument/2006/relationships/tags" Target="../tags/tag121.xml"/><Relationship Id="rId30" Type="http://schemas.openxmlformats.org/officeDocument/2006/relationships/tags" Target="../tags/tag124.xml"/><Relationship Id="rId35" Type="http://schemas.openxmlformats.org/officeDocument/2006/relationships/tags" Target="../tags/tag129.xml"/><Relationship Id="rId8" Type="http://schemas.openxmlformats.org/officeDocument/2006/relationships/tags" Target="../tags/tag102.xml"/><Relationship Id="rId3" Type="http://schemas.openxmlformats.org/officeDocument/2006/relationships/tags" Target="../tags/tag97.xml"/><Relationship Id="rId12" Type="http://schemas.openxmlformats.org/officeDocument/2006/relationships/tags" Target="../tags/tag106.xml"/><Relationship Id="rId17" Type="http://schemas.openxmlformats.org/officeDocument/2006/relationships/tags" Target="../tags/tag111.xml"/><Relationship Id="rId25" Type="http://schemas.openxmlformats.org/officeDocument/2006/relationships/tags" Target="../tags/tag119.xml"/><Relationship Id="rId33" Type="http://schemas.openxmlformats.org/officeDocument/2006/relationships/tags" Target="../tags/tag127.xml"/><Relationship Id="rId38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144.xml"/><Relationship Id="rId18" Type="http://schemas.openxmlformats.org/officeDocument/2006/relationships/tags" Target="../tags/tag149.xml"/><Relationship Id="rId26" Type="http://schemas.openxmlformats.org/officeDocument/2006/relationships/tags" Target="../tags/tag157.xml"/><Relationship Id="rId39" Type="http://schemas.openxmlformats.org/officeDocument/2006/relationships/chart" Target="../charts/chart24.xml"/><Relationship Id="rId21" Type="http://schemas.openxmlformats.org/officeDocument/2006/relationships/tags" Target="../tags/tag152.xml"/><Relationship Id="rId34" Type="http://schemas.openxmlformats.org/officeDocument/2006/relationships/chart" Target="../charts/chart19.xml"/><Relationship Id="rId7" Type="http://schemas.openxmlformats.org/officeDocument/2006/relationships/tags" Target="../tags/tag138.xml"/><Relationship Id="rId12" Type="http://schemas.openxmlformats.org/officeDocument/2006/relationships/tags" Target="../tags/tag143.xml"/><Relationship Id="rId17" Type="http://schemas.openxmlformats.org/officeDocument/2006/relationships/tags" Target="../tags/tag148.xml"/><Relationship Id="rId25" Type="http://schemas.openxmlformats.org/officeDocument/2006/relationships/tags" Target="../tags/tag156.xml"/><Relationship Id="rId33" Type="http://schemas.openxmlformats.org/officeDocument/2006/relationships/chart" Target="../charts/chart18.xml"/><Relationship Id="rId38" Type="http://schemas.openxmlformats.org/officeDocument/2006/relationships/chart" Target="../charts/chart23.xml"/><Relationship Id="rId2" Type="http://schemas.openxmlformats.org/officeDocument/2006/relationships/tags" Target="../tags/tag133.xml"/><Relationship Id="rId16" Type="http://schemas.openxmlformats.org/officeDocument/2006/relationships/tags" Target="../tags/tag147.xml"/><Relationship Id="rId20" Type="http://schemas.openxmlformats.org/officeDocument/2006/relationships/tags" Target="../tags/tag151.xml"/><Relationship Id="rId29" Type="http://schemas.openxmlformats.org/officeDocument/2006/relationships/tags" Target="../tags/tag160.xml"/><Relationship Id="rId1" Type="http://schemas.openxmlformats.org/officeDocument/2006/relationships/tags" Target="../tags/tag132.xml"/><Relationship Id="rId6" Type="http://schemas.openxmlformats.org/officeDocument/2006/relationships/tags" Target="../tags/tag137.xml"/><Relationship Id="rId11" Type="http://schemas.openxmlformats.org/officeDocument/2006/relationships/tags" Target="../tags/tag142.xml"/><Relationship Id="rId24" Type="http://schemas.openxmlformats.org/officeDocument/2006/relationships/tags" Target="../tags/tag155.xml"/><Relationship Id="rId32" Type="http://schemas.openxmlformats.org/officeDocument/2006/relationships/chart" Target="../charts/chart17.xml"/><Relationship Id="rId37" Type="http://schemas.openxmlformats.org/officeDocument/2006/relationships/chart" Target="../charts/chart22.xml"/><Relationship Id="rId5" Type="http://schemas.openxmlformats.org/officeDocument/2006/relationships/tags" Target="../tags/tag136.xml"/><Relationship Id="rId15" Type="http://schemas.openxmlformats.org/officeDocument/2006/relationships/tags" Target="../tags/tag146.xml"/><Relationship Id="rId23" Type="http://schemas.openxmlformats.org/officeDocument/2006/relationships/tags" Target="../tags/tag154.xml"/><Relationship Id="rId28" Type="http://schemas.openxmlformats.org/officeDocument/2006/relationships/tags" Target="../tags/tag159.xml"/><Relationship Id="rId36" Type="http://schemas.openxmlformats.org/officeDocument/2006/relationships/chart" Target="../charts/chart21.xml"/><Relationship Id="rId10" Type="http://schemas.openxmlformats.org/officeDocument/2006/relationships/tags" Target="../tags/tag141.xml"/><Relationship Id="rId19" Type="http://schemas.openxmlformats.org/officeDocument/2006/relationships/tags" Target="../tags/tag150.xml"/><Relationship Id="rId31" Type="http://schemas.openxmlformats.org/officeDocument/2006/relationships/chart" Target="../charts/chart16.xml"/><Relationship Id="rId4" Type="http://schemas.openxmlformats.org/officeDocument/2006/relationships/tags" Target="../tags/tag135.xml"/><Relationship Id="rId9" Type="http://schemas.openxmlformats.org/officeDocument/2006/relationships/tags" Target="../tags/tag140.xml"/><Relationship Id="rId14" Type="http://schemas.openxmlformats.org/officeDocument/2006/relationships/tags" Target="../tags/tag145.xml"/><Relationship Id="rId22" Type="http://schemas.openxmlformats.org/officeDocument/2006/relationships/tags" Target="../tags/tag153.xml"/><Relationship Id="rId27" Type="http://schemas.openxmlformats.org/officeDocument/2006/relationships/tags" Target="../tags/tag158.xml"/><Relationship Id="rId30" Type="http://schemas.openxmlformats.org/officeDocument/2006/relationships/slideLayout" Target="../slideLayouts/slideLayout20.xml"/><Relationship Id="rId35" Type="http://schemas.openxmlformats.org/officeDocument/2006/relationships/chart" Target="../charts/chart20.xml"/><Relationship Id="rId8" Type="http://schemas.openxmlformats.org/officeDocument/2006/relationships/tags" Target="../tags/tag139.xml"/><Relationship Id="rId3" Type="http://schemas.openxmlformats.org/officeDocument/2006/relationships/tags" Target="../tags/tag134.xml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tags" Target="../tags/tag173.xml"/><Relationship Id="rId18" Type="http://schemas.openxmlformats.org/officeDocument/2006/relationships/tags" Target="../tags/tag178.xml"/><Relationship Id="rId26" Type="http://schemas.openxmlformats.org/officeDocument/2006/relationships/tags" Target="../tags/tag186.xml"/><Relationship Id="rId39" Type="http://schemas.openxmlformats.org/officeDocument/2006/relationships/chart" Target="../charts/chart25.xml"/><Relationship Id="rId21" Type="http://schemas.openxmlformats.org/officeDocument/2006/relationships/tags" Target="../tags/tag181.xml"/><Relationship Id="rId34" Type="http://schemas.openxmlformats.org/officeDocument/2006/relationships/tags" Target="../tags/tag194.xml"/><Relationship Id="rId42" Type="http://schemas.openxmlformats.org/officeDocument/2006/relationships/chart" Target="../charts/chart28.xml"/><Relationship Id="rId7" Type="http://schemas.openxmlformats.org/officeDocument/2006/relationships/tags" Target="../tags/tag167.xml"/><Relationship Id="rId2" Type="http://schemas.openxmlformats.org/officeDocument/2006/relationships/tags" Target="../tags/tag162.xml"/><Relationship Id="rId16" Type="http://schemas.openxmlformats.org/officeDocument/2006/relationships/tags" Target="../tags/tag176.xml"/><Relationship Id="rId29" Type="http://schemas.openxmlformats.org/officeDocument/2006/relationships/tags" Target="../tags/tag189.xml"/><Relationship Id="rId1" Type="http://schemas.openxmlformats.org/officeDocument/2006/relationships/tags" Target="../tags/tag161.xml"/><Relationship Id="rId6" Type="http://schemas.openxmlformats.org/officeDocument/2006/relationships/tags" Target="../tags/tag166.xml"/><Relationship Id="rId11" Type="http://schemas.openxmlformats.org/officeDocument/2006/relationships/tags" Target="../tags/tag171.xml"/><Relationship Id="rId24" Type="http://schemas.openxmlformats.org/officeDocument/2006/relationships/tags" Target="../tags/tag184.xml"/><Relationship Id="rId32" Type="http://schemas.openxmlformats.org/officeDocument/2006/relationships/tags" Target="../tags/tag192.xml"/><Relationship Id="rId37" Type="http://schemas.openxmlformats.org/officeDocument/2006/relationships/tags" Target="../tags/tag197.xml"/><Relationship Id="rId40" Type="http://schemas.openxmlformats.org/officeDocument/2006/relationships/chart" Target="../charts/chart26.xml"/><Relationship Id="rId45" Type="http://schemas.openxmlformats.org/officeDocument/2006/relationships/chart" Target="../charts/chart31.xml"/><Relationship Id="rId5" Type="http://schemas.openxmlformats.org/officeDocument/2006/relationships/tags" Target="../tags/tag165.xml"/><Relationship Id="rId15" Type="http://schemas.openxmlformats.org/officeDocument/2006/relationships/tags" Target="../tags/tag175.xml"/><Relationship Id="rId23" Type="http://schemas.openxmlformats.org/officeDocument/2006/relationships/tags" Target="../tags/tag183.xml"/><Relationship Id="rId28" Type="http://schemas.openxmlformats.org/officeDocument/2006/relationships/tags" Target="../tags/tag188.xml"/><Relationship Id="rId36" Type="http://schemas.openxmlformats.org/officeDocument/2006/relationships/tags" Target="../tags/tag196.xml"/><Relationship Id="rId10" Type="http://schemas.openxmlformats.org/officeDocument/2006/relationships/tags" Target="../tags/tag170.xml"/><Relationship Id="rId19" Type="http://schemas.openxmlformats.org/officeDocument/2006/relationships/tags" Target="../tags/tag179.xml"/><Relationship Id="rId31" Type="http://schemas.openxmlformats.org/officeDocument/2006/relationships/tags" Target="../tags/tag191.xml"/><Relationship Id="rId44" Type="http://schemas.openxmlformats.org/officeDocument/2006/relationships/chart" Target="../charts/chart30.xml"/><Relationship Id="rId4" Type="http://schemas.openxmlformats.org/officeDocument/2006/relationships/tags" Target="../tags/tag164.xml"/><Relationship Id="rId9" Type="http://schemas.openxmlformats.org/officeDocument/2006/relationships/tags" Target="../tags/tag169.xml"/><Relationship Id="rId14" Type="http://schemas.openxmlformats.org/officeDocument/2006/relationships/tags" Target="../tags/tag174.xml"/><Relationship Id="rId22" Type="http://schemas.openxmlformats.org/officeDocument/2006/relationships/tags" Target="../tags/tag182.xml"/><Relationship Id="rId27" Type="http://schemas.openxmlformats.org/officeDocument/2006/relationships/tags" Target="../tags/tag187.xml"/><Relationship Id="rId30" Type="http://schemas.openxmlformats.org/officeDocument/2006/relationships/tags" Target="../tags/tag190.xml"/><Relationship Id="rId35" Type="http://schemas.openxmlformats.org/officeDocument/2006/relationships/tags" Target="../tags/tag195.xml"/><Relationship Id="rId43" Type="http://schemas.openxmlformats.org/officeDocument/2006/relationships/chart" Target="../charts/chart29.xml"/><Relationship Id="rId8" Type="http://schemas.openxmlformats.org/officeDocument/2006/relationships/tags" Target="../tags/tag168.xml"/><Relationship Id="rId3" Type="http://schemas.openxmlformats.org/officeDocument/2006/relationships/tags" Target="../tags/tag163.xml"/><Relationship Id="rId12" Type="http://schemas.openxmlformats.org/officeDocument/2006/relationships/tags" Target="../tags/tag172.xml"/><Relationship Id="rId17" Type="http://schemas.openxmlformats.org/officeDocument/2006/relationships/tags" Target="../tags/tag177.xml"/><Relationship Id="rId25" Type="http://schemas.openxmlformats.org/officeDocument/2006/relationships/tags" Target="../tags/tag185.xml"/><Relationship Id="rId33" Type="http://schemas.openxmlformats.org/officeDocument/2006/relationships/tags" Target="../tags/tag193.xml"/><Relationship Id="rId38" Type="http://schemas.openxmlformats.org/officeDocument/2006/relationships/slideLayout" Target="../slideLayouts/slideLayout20.xml"/><Relationship Id="rId20" Type="http://schemas.openxmlformats.org/officeDocument/2006/relationships/tags" Target="../tags/tag180.xml"/><Relationship Id="rId41" Type="http://schemas.openxmlformats.org/officeDocument/2006/relationships/chart" Target="../charts/chart2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35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9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hyperlink" Target="http://de.wikipedia.org/w/index.php?title=Datei:Flag_of_Canada.svg&amp;filetimestamp=20100218045341" TargetMode="External"/><Relationship Id="rId7" Type="http://schemas.openxmlformats.org/officeDocument/2006/relationships/image" Target="../media/image40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0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5.pn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12" Type="http://schemas.openxmlformats.org/officeDocument/2006/relationships/image" Target="../media/image54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8.png"/><Relationship Id="rId11" Type="http://schemas.openxmlformats.org/officeDocument/2006/relationships/image" Target="../media/image53.png"/><Relationship Id="rId5" Type="http://schemas.openxmlformats.org/officeDocument/2006/relationships/image" Target="../media/image47.png"/><Relationship Id="rId15" Type="http://schemas.openxmlformats.org/officeDocument/2006/relationships/hyperlink" Target="https://www.weforum.org/stories/2025/03/stablecoins-cryptocurrency-on-rise-financial-systems/" TargetMode="External"/><Relationship Id="rId10" Type="http://schemas.openxmlformats.org/officeDocument/2006/relationships/image" Target="../media/image52.png"/><Relationship Id="rId4" Type="http://schemas.openxmlformats.org/officeDocument/2006/relationships/image" Target="../media/image46.png"/><Relationship Id="rId9" Type="http://schemas.openxmlformats.org/officeDocument/2006/relationships/image" Target="../media/image51.png"/><Relationship Id="rId14" Type="http://schemas.openxmlformats.org/officeDocument/2006/relationships/image" Target="../media/image56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oleObject" Target="../embeddings/oleObject12.bin"/><Relationship Id="rId7" Type="http://schemas.openxmlformats.org/officeDocument/2006/relationships/image" Target="../media/image59.pn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199.xml"/><Relationship Id="rId6" Type="http://schemas.openxmlformats.org/officeDocument/2006/relationships/image" Target="../media/image58.png"/><Relationship Id="rId5" Type="http://schemas.openxmlformats.org/officeDocument/2006/relationships/image" Target="../media/image57.jpeg"/><Relationship Id="rId10" Type="http://schemas.openxmlformats.org/officeDocument/2006/relationships/image" Target="../media/image62.png"/><Relationship Id="rId4" Type="http://schemas.openxmlformats.org/officeDocument/2006/relationships/image" Target="../media/image1.emf"/><Relationship Id="rId9" Type="http://schemas.openxmlformats.org/officeDocument/2006/relationships/image" Target="../media/image61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3" Type="http://schemas.openxmlformats.org/officeDocument/2006/relationships/image" Target="../media/image64.png"/><Relationship Id="rId7" Type="http://schemas.openxmlformats.org/officeDocument/2006/relationships/image" Target="../media/image68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67.png"/><Relationship Id="rId5" Type="http://schemas.openxmlformats.org/officeDocument/2006/relationships/image" Target="../media/image66.png"/><Relationship Id="rId10" Type="http://schemas.openxmlformats.org/officeDocument/2006/relationships/image" Target="../media/image71.png"/><Relationship Id="rId4" Type="http://schemas.openxmlformats.org/officeDocument/2006/relationships/image" Target="../media/image65.png"/><Relationship Id="rId9" Type="http://schemas.openxmlformats.org/officeDocument/2006/relationships/image" Target="../media/image7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200.xml"/><Relationship Id="rId5" Type="http://schemas.openxmlformats.org/officeDocument/2006/relationships/image" Target="../media/image72.emf"/><Relationship Id="rId4" Type="http://schemas.openxmlformats.org/officeDocument/2006/relationships/oleObject" Target="../embeddings/oleObject13.bin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jpe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74.jpe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201.xml"/><Relationship Id="rId6" Type="http://schemas.openxmlformats.org/officeDocument/2006/relationships/image" Target="../media/image7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76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79.png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13" Type="http://schemas.openxmlformats.org/officeDocument/2006/relationships/image" Target="../media/image88.png"/><Relationship Id="rId3" Type="http://schemas.openxmlformats.org/officeDocument/2006/relationships/oleObject" Target="../embeddings/oleObject15.bin"/><Relationship Id="rId7" Type="http://schemas.openxmlformats.org/officeDocument/2006/relationships/image" Target="../media/image82.png"/><Relationship Id="rId12" Type="http://schemas.openxmlformats.org/officeDocument/2006/relationships/image" Target="../media/image87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202.xml"/><Relationship Id="rId6" Type="http://schemas.openxmlformats.org/officeDocument/2006/relationships/image" Target="../media/image81.svg"/><Relationship Id="rId11" Type="http://schemas.openxmlformats.org/officeDocument/2006/relationships/image" Target="../media/image86.png"/><Relationship Id="rId5" Type="http://schemas.openxmlformats.org/officeDocument/2006/relationships/image" Target="../media/image80.png"/><Relationship Id="rId10" Type="http://schemas.openxmlformats.org/officeDocument/2006/relationships/image" Target="../media/image85.png"/><Relationship Id="rId4" Type="http://schemas.openxmlformats.org/officeDocument/2006/relationships/image" Target="../media/image1.emf"/><Relationship Id="rId9" Type="http://schemas.openxmlformats.org/officeDocument/2006/relationships/image" Target="../media/image84.png"/><Relationship Id="rId14" Type="http://schemas.openxmlformats.org/officeDocument/2006/relationships/image" Target="../media/image8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.x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chart" Target="../charts/chart2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8.x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hyperlink" Target="https://crypto.com/it/research/2024-review-2025-ahead" TargetMode="External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9.xml"/><Relationship Id="rId6" Type="http://schemas.openxmlformats.org/officeDocument/2006/relationships/image" Target="../media/image15.jpeg"/><Relationship Id="rId11" Type="http://schemas.openxmlformats.org/officeDocument/2006/relationships/image" Target="../media/image20.png"/><Relationship Id="rId5" Type="http://schemas.openxmlformats.org/officeDocument/2006/relationships/image" Target="../media/image1.emf"/><Relationship Id="rId15" Type="http://schemas.openxmlformats.org/officeDocument/2006/relationships/hyperlink" Target="https://visaonchainanalytics.com/" TargetMode="External"/><Relationship Id="rId10" Type="http://schemas.openxmlformats.org/officeDocument/2006/relationships/image" Target="../media/image19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18.png"/><Relationship Id="rId14" Type="http://schemas.openxmlformats.org/officeDocument/2006/relationships/hyperlink" Target="https://www.ey.com/en_us/insights/financial-services/how-investors-make-digital-assets-part-of-their-lives?utm_source=chatgpt.com" TargetMode="Externa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13" Type="http://schemas.openxmlformats.org/officeDocument/2006/relationships/image" Target="../media/image30.png"/><Relationship Id="rId3" Type="http://schemas.openxmlformats.org/officeDocument/2006/relationships/oleObject" Target="../embeddings/oleObject9.bin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17" Type="http://schemas.openxmlformats.org/officeDocument/2006/relationships/hyperlink" Target="https://visaonchainanalytics.com/" TargetMode="External"/><Relationship Id="rId2" Type="http://schemas.openxmlformats.org/officeDocument/2006/relationships/slideLayout" Target="../slideLayouts/slideLayout20.xml"/><Relationship Id="rId16" Type="http://schemas.openxmlformats.org/officeDocument/2006/relationships/image" Target="../media/image33.png"/><Relationship Id="rId1" Type="http://schemas.openxmlformats.org/officeDocument/2006/relationships/tags" Target="../tags/tag10.xml"/><Relationship Id="rId6" Type="http://schemas.openxmlformats.org/officeDocument/2006/relationships/image" Target="../media/image23.svg"/><Relationship Id="rId11" Type="http://schemas.openxmlformats.org/officeDocument/2006/relationships/image" Target="../media/image28.png"/><Relationship Id="rId5" Type="http://schemas.openxmlformats.org/officeDocument/2006/relationships/image" Target="../media/image22.png"/><Relationship Id="rId15" Type="http://schemas.openxmlformats.org/officeDocument/2006/relationships/image" Target="../media/image32.png"/><Relationship Id="rId10" Type="http://schemas.openxmlformats.org/officeDocument/2006/relationships/image" Target="../media/image27.svg"/><Relationship Id="rId4" Type="http://schemas.openxmlformats.org/officeDocument/2006/relationships/image" Target="../media/image1.emf"/><Relationship Id="rId9" Type="http://schemas.openxmlformats.org/officeDocument/2006/relationships/image" Target="../media/image26.png"/><Relationship Id="rId14" Type="http://schemas.openxmlformats.org/officeDocument/2006/relationships/image" Target="../media/image31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9.xml.rels><?xml version="1.0" encoding="UTF-8" standalone="yes"?>
<Relationships xmlns="http://schemas.openxmlformats.org/package/2006/relationships"><Relationship Id="rId26" Type="http://schemas.openxmlformats.org/officeDocument/2006/relationships/tags" Target="../tags/tag37.xml"/><Relationship Id="rId21" Type="http://schemas.openxmlformats.org/officeDocument/2006/relationships/tags" Target="../tags/tag32.xml"/><Relationship Id="rId42" Type="http://schemas.openxmlformats.org/officeDocument/2006/relationships/tags" Target="../tags/tag53.xml"/><Relationship Id="rId47" Type="http://schemas.openxmlformats.org/officeDocument/2006/relationships/tags" Target="../tags/tag58.xml"/><Relationship Id="rId63" Type="http://schemas.openxmlformats.org/officeDocument/2006/relationships/tags" Target="../tags/tag74.xml"/><Relationship Id="rId68" Type="http://schemas.openxmlformats.org/officeDocument/2006/relationships/chart" Target="../charts/chart5.xml"/><Relationship Id="rId7" Type="http://schemas.openxmlformats.org/officeDocument/2006/relationships/tags" Target="../tags/tag18.xml"/><Relationship Id="rId2" Type="http://schemas.openxmlformats.org/officeDocument/2006/relationships/tags" Target="../tags/tag13.xml"/><Relationship Id="rId16" Type="http://schemas.openxmlformats.org/officeDocument/2006/relationships/tags" Target="../tags/tag27.xml"/><Relationship Id="rId29" Type="http://schemas.openxmlformats.org/officeDocument/2006/relationships/tags" Target="../tags/tag40.xml"/><Relationship Id="rId11" Type="http://schemas.openxmlformats.org/officeDocument/2006/relationships/tags" Target="../tags/tag22.xml"/><Relationship Id="rId24" Type="http://schemas.openxmlformats.org/officeDocument/2006/relationships/tags" Target="../tags/tag35.xml"/><Relationship Id="rId32" Type="http://schemas.openxmlformats.org/officeDocument/2006/relationships/tags" Target="../tags/tag43.xml"/><Relationship Id="rId37" Type="http://schemas.openxmlformats.org/officeDocument/2006/relationships/tags" Target="../tags/tag48.xml"/><Relationship Id="rId40" Type="http://schemas.openxmlformats.org/officeDocument/2006/relationships/tags" Target="../tags/tag51.xml"/><Relationship Id="rId45" Type="http://schemas.openxmlformats.org/officeDocument/2006/relationships/tags" Target="../tags/tag56.xml"/><Relationship Id="rId53" Type="http://schemas.openxmlformats.org/officeDocument/2006/relationships/tags" Target="../tags/tag64.xml"/><Relationship Id="rId58" Type="http://schemas.openxmlformats.org/officeDocument/2006/relationships/tags" Target="../tags/tag69.xml"/><Relationship Id="rId66" Type="http://schemas.openxmlformats.org/officeDocument/2006/relationships/chart" Target="../charts/chart3.xml"/><Relationship Id="rId5" Type="http://schemas.openxmlformats.org/officeDocument/2006/relationships/tags" Target="../tags/tag16.xml"/><Relationship Id="rId61" Type="http://schemas.openxmlformats.org/officeDocument/2006/relationships/tags" Target="../tags/tag72.xml"/><Relationship Id="rId19" Type="http://schemas.openxmlformats.org/officeDocument/2006/relationships/tags" Target="../tags/tag30.xml"/><Relationship Id="rId14" Type="http://schemas.openxmlformats.org/officeDocument/2006/relationships/tags" Target="../tags/tag25.xml"/><Relationship Id="rId22" Type="http://schemas.openxmlformats.org/officeDocument/2006/relationships/tags" Target="../tags/tag33.xml"/><Relationship Id="rId27" Type="http://schemas.openxmlformats.org/officeDocument/2006/relationships/tags" Target="../tags/tag38.xml"/><Relationship Id="rId30" Type="http://schemas.openxmlformats.org/officeDocument/2006/relationships/tags" Target="../tags/tag41.xml"/><Relationship Id="rId35" Type="http://schemas.openxmlformats.org/officeDocument/2006/relationships/tags" Target="../tags/tag46.xml"/><Relationship Id="rId43" Type="http://schemas.openxmlformats.org/officeDocument/2006/relationships/tags" Target="../tags/tag54.xml"/><Relationship Id="rId48" Type="http://schemas.openxmlformats.org/officeDocument/2006/relationships/tags" Target="../tags/tag59.xml"/><Relationship Id="rId56" Type="http://schemas.openxmlformats.org/officeDocument/2006/relationships/tags" Target="../tags/tag67.xml"/><Relationship Id="rId64" Type="http://schemas.openxmlformats.org/officeDocument/2006/relationships/tags" Target="../tags/tag75.xml"/><Relationship Id="rId69" Type="http://schemas.openxmlformats.org/officeDocument/2006/relationships/chart" Target="../charts/chart6.xml"/><Relationship Id="rId8" Type="http://schemas.openxmlformats.org/officeDocument/2006/relationships/tags" Target="../tags/tag19.xml"/><Relationship Id="rId51" Type="http://schemas.openxmlformats.org/officeDocument/2006/relationships/tags" Target="../tags/tag62.xml"/><Relationship Id="rId3" Type="http://schemas.openxmlformats.org/officeDocument/2006/relationships/tags" Target="../tags/tag14.xml"/><Relationship Id="rId12" Type="http://schemas.openxmlformats.org/officeDocument/2006/relationships/tags" Target="../tags/tag23.xml"/><Relationship Id="rId17" Type="http://schemas.openxmlformats.org/officeDocument/2006/relationships/tags" Target="../tags/tag28.xml"/><Relationship Id="rId25" Type="http://schemas.openxmlformats.org/officeDocument/2006/relationships/tags" Target="../tags/tag36.xml"/><Relationship Id="rId33" Type="http://schemas.openxmlformats.org/officeDocument/2006/relationships/tags" Target="../tags/tag44.xml"/><Relationship Id="rId38" Type="http://schemas.openxmlformats.org/officeDocument/2006/relationships/tags" Target="../tags/tag49.xml"/><Relationship Id="rId46" Type="http://schemas.openxmlformats.org/officeDocument/2006/relationships/tags" Target="../tags/tag57.xml"/><Relationship Id="rId59" Type="http://schemas.openxmlformats.org/officeDocument/2006/relationships/tags" Target="../tags/tag70.xml"/><Relationship Id="rId67" Type="http://schemas.openxmlformats.org/officeDocument/2006/relationships/chart" Target="../charts/chart4.xml"/><Relationship Id="rId20" Type="http://schemas.openxmlformats.org/officeDocument/2006/relationships/tags" Target="../tags/tag31.xml"/><Relationship Id="rId41" Type="http://schemas.openxmlformats.org/officeDocument/2006/relationships/tags" Target="../tags/tag52.xml"/><Relationship Id="rId54" Type="http://schemas.openxmlformats.org/officeDocument/2006/relationships/tags" Target="../tags/tag65.xml"/><Relationship Id="rId62" Type="http://schemas.openxmlformats.org/officeDocument/2006/relationships/tags" Target="../tags/tag73.xml"/><Relationship Id="rId70" Type="http://schemas.openxmlformats.org/officeDocument/2006/relationships/chart" Target="../charts/chart7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5" Type="http://schemas.openxmlformats.org/officeDocument/2006/relationships/tags" Target="../tags/tag26.xml"/><Relationship Id="rId23" Type="http://schemas.openxmlformats.org/officeDocument/2006/relationships/tags" Target="../tags/tag34.xml"/><Relationship Id="rId28" Type="http://schemas.openxmlformats.org/officeDocument/2006/relationships/tags" Target="../tags/tag39.xml"/><Relationship Id="rId36" Type="http://schemas.openxmlformats.org/officeDocument/2006/relationships/tags" Target="../tags/tag47.xml"/><Relationship Id="rId49" Type="http://schemas.openxmlformats.org/officeDocument/2006/relationships/tags" Target="../tags/tag60.xml"/><Relationship Id="rId57" Type="http://schemas.openxmlformats.org/officeDocument/2006/relationships/tags" Target="../tags/tag68.xml"/><Relationship Id="rId10" Type="http://schemas.openxmlformats.org/officeDocument/2006/relationships/tags" Target="../tags/tag21.xml"/><Relationship Id="rId31" Type="http://schemas.openxmlformats.org/officeDocument/2006/relationships/tags" Target="../tags/tag42.xml"/><Relationship Id="rId44" Type="http://schemas.openxmlformats.org/officeDocument/2006/relationships/tags" Target="../tags/tag55.xml"/><Relationship Id="rId52" Type="http://schemas.openxmlformats.org/officeDocument/2006/relationships/tags" Target="../tags/tag63.xml"/><Relationship Id="rId60" Type="http://schemas.openxmlformats.org/officeDocument/2006/relationships/tags" Target="../tags/tag71.xml"/><Relationship Id="rId65" Type="http://schemas.openxmlformats.org/officeDocument/2006/relationships/slideLayout" Target="../slideLayouts/slideLayout20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3" Type="http://schemas.openxmlformats.org/officeDocument/2006/relationships/tags" Target="../tags/tag24.xml"/><Relationship Id="rId18" Type="http://schemas.openxmlformats.org/officeDocument/2006/relationships/tags" Target="../tags/tag29.xml"/><Relationship Id="rId39" Type="http://schemas.openxmlformats.org/officeDocument/2006/relationships/tags" Target="../tags/tag50.xml"/><Relationship Id="rId34" Type="http://schemas.openxmlformats.org/officeDocument/2006/relationships/tags" Target="../tags/tag45.xml"/><Relationship Id="rId50" Type="http://schemas.openxmlformats.org/officeDocument/2006/relationships/tags" Target="../tags/tag61.xml"/><Relationship Id="rId55" Type="http://schemas.openxmlformats.org/officeDocument/2006/relationships/tags" Target="../tags/tag6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C5D2B1A-62AC-41BB-D689-1492A6A7C7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5D2B1A-62AC-41BB-D689-1492A6A7C7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0D369242-9032-FA49-40E3-3539D4DAF7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5122418" cy="1654043"/>
          </a:xfrm>
        </p:spPr>
        <p:txBody>
          <a:bodyPr vert="horz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rgbClr val="27ACAA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it-IT" sz="4000" dirty="0"/>
              <a:t>Le </a:t>
            </a:r>
            <a:r>
              <a:rPr lang="it-IT" sz="4000" dirty="0" err="1"/>
              <a:t>stablecoin</a:t>
            </a:r>
            <a:r>
              <a:rPr lang="it-IT" sz="4000" dirty="0"/>
              <a:t> </a:t>
            </a:r>
            <a:br>
              <a:rPr lang="it-IT" sz="4000" dirty="0"/>
            </a:br>
            <a:r>
              <a:rPr lang="it-IT" sz="4000" dirty="0"/>
              <a:t>e il futuro dei </a:t>
            </a:r>
            <a:br>
              <a:rPr lang="it-IT" sz="4000" dirty="0"/>
            </a:br>
            <a:r>
              <a:rPr lang="it-IT" sz="4000" dirty="0"/>
              <a:t>pagamenti digitali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22B6E94-7EFF-F4AF-6DEE-D59791BE0BC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it-IT" dirty="0"/>
              <a:t>30 ottobre 2025, Salone dei Pagamenti</a:t>
            </a:r>
          </a:p>
        </p:txBody>
      </p:sp>
      <p:pic>
        <p:nvPicPr>
          <p:cNvPr id="2" name="Immagine 1" descr="Immagine che contiene testo, cerchio, logo, schermata&#10;&#10;Il contenuto generato dall&amp;#39;IA potrebbe non essere corretto.">
            <a:extLst>
              <a:ext uri="{FF2B5EF4-FFF2-40B4-BE49-F238E27FC236}">
                <a16:creationId xmlns:a16="http://schemas.microsoft.com/office/drawing/2014/main" id="{30E58DDF-51E0-9590-B6DC-17C4A581626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01967" y="12004"/>
            <a:ext cx="2188010" cy="2220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98287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>
            <a:extLst>
              <a:ext uri="{FF2B5EF4-FFF2-40B4-BE49-F238E27FC236}">
                <a16:creationId xmlns:a16="http://schemas.microsoft.com/office/drawing/2014/main" id="{7160E512-904F-7750-D475-F621FF2B4CD2}"/>
              </a:ext>
            </a:extLst>
          </p:cNvPr>
          <p:cNvSpPr/>
          <p:nvPr/>
        </p:nvSpPr>
        <p:spPr>
          <a:xfrm>
            <a:off x="241300" y="2177888"/>
            <a:ext cx="1990725" cy="481175"/>
          </a:xfrm>
          <a:prstGeom prst="rect">
            <a:avLst/>
          </a:prstGeom>
          <a:solidFill>
            <a:schemeClr val="bg1">
              <a:lumMod val="75000"/>
              <a:lumOff val="25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t" anchorCtr="0"/>
          <a:lstStyle/>
          <a:p>
            <a:pPr marL="252000" marR="0" indent="-252000" algn="l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  <a:buSzTx/>
              <a:buFont typeface="Wingdings" pitchFamily="2" charset="2"/>
              <a:buChar char="§"/>
              <a:tabLst/>
            </a:pPr>
            <a:endParaRPr kumimoji="0" lang="en-IT" sz="2000" b="0" i="0" u="none" strike="noStrike" kern="0" cap="none" spc="0" normalizeH="0" baseline="0" noProof="0" err="1">
              <a:ln>
                <a:noFill/>
              </a:ln>
              <a:solidFill>
                <a:srgbClr val="1A1A24"/>
              </a:solidFill>
              <a:effectLst/>
              <a:uLnTx/>
              <a:uFillTx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218E40-56C3-A679-DEB3-A7D36829DB8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it-IT"/>
              <a:t>Le stablecoin e il futuro dei pagamenti digitali | Salone dei pagamenti | 30 ottobre 2025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B50EBED-E5FA-713E-6594-34B281430E1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10</a:t>
            </a:fld>
            <a:endParaRPr lang="en-GB"/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908D77E7-45D4-7197-BCED-EC85C7BB3473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473521"/>
              </p:ext>
            </p:extLst>
          </p:nvPr>
        </p:nvGraphicFramePr>
        <p:xfrm>
          <a:off x="774700" y="2149475"/>
          <a:ext cx="5403850" cy="29397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30A8049-482A-BA33-DA3F-9FC5E38EA683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1441450" y="5175690"/>
            <a:ext cx="577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323291B-06FF-4070-8F77-15A9E655F835}" type="datetime'''TOT''''''''''''''A''''''''''''''''''''''''''''L''''''''''E'">
              <a:rPr lang="en-GB" altLang="en-US" sz="1200" b="1" smtClean="0">
                <a:solidFill>
                  <a:schemeClr val="tx2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OTALE</a:t>
            </a:fld>
            <a:endParaRPr lang="en-GB" sz="1200" b="1">
              <a:solidFill>
                <a:schemeClr val="tx2"/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B5F246B-6B20-97E5-99A8-F49A15708C68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3070225" y="2336800"/>
            <a:ext cx="377825" cy="182563"/>
          </a:xfrm>
          <a:prstGeom prst="rect">
            <a:avLst/>
          </a:prstGeom>
          <a:solidFill>
            <a:srgbClr val="FFEFBA"/>
          </a:solidFill>
          <a:ln>
            <a:noFill/>
          </a:ln>
          <a:effectLst/>
        </p:spPr>
        <p:txBody>
          <a:bodyPr vert="horz" wrap="none" lIns="22225" tIns="0" rIns="22225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E62DB67-1E98-47D5-825E-7EC19E868865}" type="datetime'''''''''''''1'''''',''''''''''''''0''''''''''%'''''''''''">
              <a:rPr lang="en-GB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0%</a:t>
            </a:fld>
            <a:endParaRPr lang="en-GB" sz="120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7554DEC-E890-EEE3-E316-8C32FAF91F1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009900" y="5175690"/>
            <a:ext cx="9334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E8CFB75-03BF-4F5E-83BB-9E769D2C7BD5}" type="datetime'C''''''''''''''''O''''''RP''''''''O''''R''A''''''''TE'''''''">
              <a:rPr lang="en-GB" altLang="en-US" sz="1200" b="1" smtClean="0">
                <a:solidFill>
                  <a:schemeClr val="tx2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ORPORATE</a:t>
            </a:fld>
            <a:endParaRPr lang="en-GB" sz="1200" b="1">
              <a:solidFill>
                <a:schemeClr val="tx2"/>
              </a:solidFill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1E3B870-5C1F-349A-DE37-CF86A2830211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5033963" y="2659063"/>
            <a:ext cx="377825" cy="182563"/>
          </a:xfrm>
          <a:prstGeom prst="rect">
            <a:avLst/>
          </a:prstGeom>
          <a:solidFill>
            <a:srgbClr val="FFEFBA"/>
          </a:solidFill>
          <a:ln>
            <a:noFill/>
          </a:ln>
          <a:effectLst/>
        </p:spPr>
        <p:txBody>
          <a:bodyPr vert="horz" wrap="none" lIns="22225" tIns="0" rIns="22225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C3F651-2A80-469A-9E0B-4F16B3C11371}" type="datetime'''''''1'''''''''''',''''''''0%'''''''''''''''''''''">
              <a:rPr lang="en-GB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0%</a:t>
            </a:fld>
            <a:endParaRPr lang="en-GB" sz="120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FE71E32-6BEC-993B-1F41-6F5280B41C1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697413" y="5175690"/>
            <a:ext cx="105251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4957777-6EF2-4D3F-8A5B-B71D0478E1DE}" type="datetime'FINAN''C''I''A''''L ''I''NSTI''TU''''''T''IO''N''''S'''''">
              <a:rPr lang="en-GB" altLang="en-US" sz="1200" b="1" smtClean="0">
                <a:solidFill>
                  <a:schemeClr val="tx2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INANCIAL INSTITUTIONS</a:t>
            </a:fld>
            <a:endParaRPr lang="en-GB" sz="1200" b="1">
              <a:solidFill>
                <a:schemeClr val="tx2"/>
              </a:solidFill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BFF2850-4BAA-3CBD-FDC0-7ECE072B566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323975" y="2428875"/>
            <a:ext cx="377825" cy="182563"/>
          </a:xfrm>
          <a:prstGeom prst="rect">
            <a:avLst/>
          </a:prstGeom>
          <a:solidFill>
            <a:srgbClr val="FFEFBA"/>
          </a:solidFill>
          <a:ln>
            <a:noFill/>
          </a:ln>
          <a:effectLst/>
        </p:spPr>
        <p:txBody>
          <a:bodyPr vert="horz" wrap="none" lIns="22225" tIns="0" rIns="22225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D7619FF-5F9C-497F-BDC6-5799AD6CAC69}" type="datetime'''''''1'''''''',0''%'''''''''''">
              <a:rPr lang="en-GB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0%</a:t>
            </a:fld>
            <a:endParaRPr lang="en-GB" sz="120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41D2F10-2272-84F9-7B9A-74F7F8F98526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1493838" y="3443288"/>
            <a:ext cx="473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4B4BBE2-8084-47B1-8B39-2715FADE91AD}" type="datetime'''''''8''''''''''7'''''''''''''',''''0''%'''''''''''''''''''''">
              <a:rPr lang="en-GB" altLang="en-US" sz="1200" b="1" smtClean="0">
                <a:solidFill>
                  <a:schemeClr val="tx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7,0%</a:t>
            </a:fld>
            <a:endParaRPr lang="en-GB" sz="1200" b="1">
              <a:solidFill>
                <a:schemeClr val="tx1"/>
              </a:solidFill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7C940DE-ADA2-C899-5913-F745BDC56B7C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3506788" y="2233613"/>
            <a:ext cx="3778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0A3A58A-395A-4E63-B44F-2BFB33280C80}" type="datetime'''''''''''''''''8'''''''',''0''''''''''%'''">
              <a:rPr lang="en-GB" altLang="en-US" sz="12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,0%</a:t>
            </a:fld>
            <a:endParaRPr lang="en-GB" sz="1200" b="1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7DB4A3C-ADD3-816D-35E3-61FCC139AB2C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3240088" y="3397250"/>
            <a:ext cx="473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D640AA-D032-4BBF-9F9E-B01313CA78FF}" type="datetime'''91'''''',''''''0''''''''''''''''''''''''%'''''">
              <a:rPr lang="en-GB" altLang="en-US" sz="1200" b="1" smtClean="0">
                <a:solidFill>
                  <a:schemeClr val="tx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1,0%</a:t>
            </a:fld>
            <a:endParaRPr lang="en-GB" sz="1200" b="1">
              <a:solidFill>
                <a:schemeClr val="tx1"/>
              </a:solidFill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8563F4FC-1DD0-1CD7-2770-B7A35714D350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4986338" y="2393950"/>
            <a:ext cx="473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7356CAF-8A2A-46C2-93E1-0514CC23D304}" type="datetime'''''''''''2''''''''''''''''''''2'''''''',0''''''%'">
              <a:rPr lang="en-GB" altLang="en-US" sz="12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,0%</a:t>
            </a:fld>
            <a:endParaRPr lang="en-GB" sz="1200" b="1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BE4630C0-37CA-B307-D031-9010B96DE131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4986338" y="3557588"/>
            <a:ext cx="473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C8F48D-DAD0-4DA4-BC7C-AA54C6DE78C1}" type="datetime'''''''''''''''''''''''''''7''''7'''',''''0''%'''''''''''">
              <a:rPr lang="en-GB" altLang="en-US" sz="1200" b="1" smtClean="0">
                <a:solidFill>
                  <a:schemeClr val="tx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,0%</a:t>
            </a:fld>
            <a:endParaRPr lang="en-GB" sz="1200" b="1">
              <a:solidFill>
                <a:schemeClr val="tx1"/>
              </a:solidFill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83CCF8D8-EA41-ADD1-0430-13FDC69FA6C1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1712913" y="2279650"/>
            <a:ext cx="473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0BA8BEB-47F5-4AF6-8F12-1D6535187611}" type="datetime'1''''''''2'''''''''''''''''''''''',''''''''''0%'''''''''''''">
              <a:rPr lang="en-GB" altLang="en-US" sz="12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,0%</a:t>
            </a:fld>
            <a:endParaRPr lang="en-GB" sz="1200" b="1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3759E95-852F-2DDA-EC5E-C629B6F61075}"/>
              </a:ext>
            </a:extLst>
          </p:cNvPr>
          <p:cNvSpPr txBox="1"/>
          <p:nvPr/>
        </p:nvSpPr>
        <p:spPr>
          <a:xfrm>
            <a:off x="346012" y="1313184"/>
            <a:ext cx="637501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600" b="1" i="1"/>
              <a:t>ORGANIZZAZIONI CHE HANNO UTILIZZATO STABLECOIN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3E71FC3-293E-BB79-2B09-8CF2D578E6DE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911225" y="5704648"/>
            <a:ext cx="187325" cy="139700"/>
          </a:xfrm>
          <a:prstGeom prst="rect">
            <a:avLst/>
          </a:prstGeom>
          <a:solidFill>
            <a:schemeClr val="tx2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t" anchorCtr="0"/>
          <a:lstStyle/>
          <a:p>
            <a:pPr marL="252000" marR="0" indent="-252000" algn="l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  <a:buSzTx/>
              <a:buFont typeface="Wingdings" pitchFamily="2" charset="2"/>
              <a:buChar char="§"/>
              <a:tabLst/>
            </a:pPr>
            <a:endParaRPr kumimoji="0" lang="en-GB" sz="2000" b="0" i="0" u="none" strike="noStrike" kern="0" cap="none" spc="0" normalizeH="0" baseline="0" noProof="0" err="1">
              <a:ln>
                <a:noFill/>
              </a:ln>
              <a:solidFill>
                <a:srgbClr val="1A1A24"/>
              </a:solidFill>
              <a:effectLst/>
              <a:uLnTx/>
              <a:uFillTx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1F608C3-3440-DCA3-90B6-025ADCD03789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911225" y="5915785"/>
            <a:ext cx="187325" cy="139700"/>
          </a:xfrm>
          <a:prstGeom prst="rect">
            <a:avLst/>
          </a:prstGeom>
          <a:solidFill>
            <a:srgbClr val="FFEFBA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t" anchorCtr="0"/>
          <a:lstStyle/>
          <a:p>
            <a:pPr marL="252000" marR="0" indent="-252000" algn="l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  <a:buSzTx/>
              <a:buFont typeface="Wingdings" pitchFamily="2" charset="2"/>
              <a:buChar char="§"/>
              <a:tabLst/>
            </a:pPr>
            <a:endParaRPr kumimoji="0" lang="en-GB" sz="2000" b="0" i="0" u="none" strike="noStrike" kern="0" cap="none" spc="0" normalizeH="0" baseline="0" noProof="0" err="1">
              <a:ln>
                <a:noFill/>
              </a:ln>
              <a:solidFill>
                <a:srgbClr val="1A1A24"/>
              </a:solidFill>
              <a:effectLst/>
              <a:uLnTx/>
              <a:uFillTx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F59456C-F46D-3F59-47B9-8ECE81786130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911225" y="6126923"/>
            <a:ext cx="187325" cy="139700"/>
          </a:xfrm>
          <a:prstGeom prst="rect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t" anchorCtr="0"/>
          <a:lstStyle/>
          <a:p>
            <a:pPr marL="252000" marR="0" indent="-252000" algn="l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  <a:buSzTx/>
              <a:buFont typeface="Wingdings" pitchFamily="2" charset="2"/>
              <a:buChar char="§"/>
              <a:tabLst/>
            </a:pPr>
            <a:endParaRPr kumimoji="0" lang="en-GB" sz="2000" b="0" i="0" u="none" strike="noStrike" kern="0" cap="none" spc="0" normalizeH="0" baseline="0" noProof="0" err="1">
              <a:ln>
                <a:noFill/>
              </a:ln>
              <a:solidFill>
                <a:srgbClr val="1A1A24"/>
              </a:solidFill>
              <a:effectLst/>
              <a:uLnTx/>
              <a:uFillTx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C5200E72-DE2D-C105-2A03-F5A3873A6304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149350" y="5699885"/>
            <a:ext cx="43053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303E009-AA24-4549-80BA-48E03B60B80E}" type="thinkcell&lt;?xml version=&quot;1.0&quot; encoding=&quot;UTF-16&quot; standalone=&quot;yes&quot;?&gt;&lt;root reqver=&quot;28224&quot;&gt;&lt;version val=&quot;35788&quot;/&gt;&lt;PersistentType&gt;&lt;m_guid val=&quot;fa77a19e-5a0a-4df5-bf0f-5c8c477bf2bf&quot;/&gt;&lt;m_prec&gt;&lt;m_yearfmt&gt;&lt;begin val=&quot;0&quot;/&gt;&lt;end val=&quot;4&quot;/&gt;&lt;/m_yearfmt&gt;&lt;/m_prec&gt;&lt;m_bUseExcelFont val=&quot;0&quot;/&gt;&lt;m_bUseExcelFontColor val=&quot;0&quot;/&gt;&lt;/PersistentType&gt;&lt;/root&gt;">
              <a:rPr lang="it-IT" altLang="en-US" sz="1050" smtClean="0">
                <a:solidFill>
                  <a:schemeClr val="tx1"/>
                </a:solidFill>
              </a:rPr>
              <a:pPr/>
              <a:t>Sì, utilizziamo attivamente le stablecoin per pagamenti o altri casi d’uso</a:t>
            </a:fld>
            <a:endParaRPr lang="en-GB" sz="1050">
              <a:solidFill>
                <a:schemeClr val="tx1"/>
              </a:solidFill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EB6E21C0-CDA4-4900-470D-B9F2DE7009C2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149350" y="5911023"/>
            <a:ext cx="469582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0C7C8DB-F7C8-406E-A6CF-672BF07F488B}" type="thinkcell&lt;?xml version=&quot;1.0&quot; encoding=&quot;UTF-16&quot; standalone=&quot;yes&quot;?&gt;&lt;root reqver=&quot;28224&quot;&gt;&lt;version val=&quot;35788&quot;/&gt;&lt;PersistentType&gt;&lt;m_guid val=&quot;c8ff405f-b5e3-4bee-89b5-5a03a12a649e&quot;/&gt;&lt;m_prec&gt;&lt;m_yearfmt&gt;&lt;begin val=&quot;0&quot;/&gt;&lt;end val=&quot;4&quot;/&gt;&lt;/m_yearfmt&gt;&lt;/m_prec&gt;&lt;m_bUseExcelFont val=&quot;0&quot;/&gt;&lt;m_bUseExcelFontColor val=&quot;0&quot;/&gt;&lt;/PersistentType&gt;&lt;/root&gt;">
              <a:rPr lang="it-IT" altLang="en-US" sz="1050" smtClean="0">
                <a:solidFill>
                  <a:schemeClr val="tx1"/>
                </a:solidFill>
              </a:rPr>
              <a:pPr/>
              <a:t>Sì, in passato, abbiamo usato stablecoin ma non le utilizziamo più attivamente</a:t>
            </a:fld>
            <a:endParaRPr lang="en-GB" sz="1050">
              <a:solidFill>
                <a:schemeClr val="tx1"/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528CBC8B-29E5-429F-EBDA-2F8E71E7300E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149350" y="6122160"/>
            <a:ext cx="379888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E46EB19-8ACF-436C-93BB-6A470B30EAEA}" type="thinkcell&lt;?xml version=&quot;1.0&quot; encoding=&quot;UTF-16&quot; standalone=&quot;yes&quot;?&gt;&lt;root reqver=&quot;28224&quot;&gt;&lt;version val=&quot;35788&quot;/&gt;&lt;PersistentType&gt;&lt;m_guid val=&quot;bbe40379-aacc-42c4-b4af-9ce94e71ebf3&quot;/&gt;&lt;m_prec&gt;&lt;m_yearfmt&gt;&lt;begin val=&quot;0&quot;/&gt;&lt;end val=&quot;4&quot;/&gt;&lt;/m_yearfmt&gt;&lt;/m_prec&gt;&lt;m_bUseExcelFont val=&quot;0&quot;/&gt;&lt;m_bUseExcelFontColor val=&quot;0&quot;/&gt;&lt;/PersistentType&gt;&lt;/root&gt;">
              <a:rPr lang="it-IT" altLang="en-US" sz="1050" smtClean="0">
                <a:solidFill>
                  <a:schemeClr val="tx1"/>
                </a:solidFill>
              </a:rPr>
              <a:pPr/>
              <a:t>No, conosciamo le stablecoin, ma non le abbiamo mai utilizzate</a:t>
            </a:fld>
            <a:endParaRPr lang="en-GB" sz="1050">
              <a:solidFill>
                <a:schemeClr val="tx1"/>
              </a:solidFill>
            </a:endParaRPr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24BB9370-C532-FE0C-95AB-AA0AE2BA5416}"/>
              </a:ext>
            </a:extLst>
          </p:cNvPr>
          <p:cNvSpPr txBox="1">
            <a:spLocks/>
          </p:cNvSpPr>
          <p:nvPr/>
        </p:nvSpPr>
        <p:spPr>
          <a:xfrm>
            <a:off x="1273175" y="1998663"/>
            <a:ext cx="914400" cy="15398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lang="en-IN"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it-IT" sz="1000"/>
              <a:t>n=350</a:t>
            </a:r>
            <a:endParaRPr lang="en-US" sz="1000"/>
          </a:p>
        </p:txBody>
      </p:sp>
      <p:sp>
        <p:nvSpPr>
          <p:cNvPr id="31" name="Footer Placeholder 4">
            <a:extLst>
              <a:ext uri="{FF2B5EF4-FFF2-40B4-BE49-F238E27FC236}">
                <a16:creationId xmlns:a16="http://schemas.microsoft.com/office/drawing/2014/main" id="{928A8C02-993D-48EE-0C3D-241869467373}"/>
              </a:ext>
            </a:extLst>
          </p:cNvPr>
          <p:cNvSpPr txBox="1">
            <a:spLocks/>
          </p:cNvSpPr>
          <p:nvPr/>
        </p:nvSpPr>
        <p:spPr>
          <a:xfrm>
            <a:off x="3019425" y="1998663"/>
            <a:ext cx="914400" cy="15398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lang="en-IN"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it-IT" sz="1000"/>
              <a:t>n=250</a:t>
            </a:r>
            <a:endParaRPr lang="en-US" sz="1000"/>
          </a:p>
        </p:txBody>
      </p:sp>
      <p:sp>
        <p:nvSpPr>
          <p:cNvPr id="32" name="Footer Placeholder 4">
            <a:extLst>
              <a:ext uri="{FF2B5EF4-FFF2-40B4-BE49-F238E27FC236}">
                <a16:creationId xmlns:a16="http://schemas.microsoft.com/office/drawing/2014/main" id="{78EA80F1-8700-48C2-7803-82499E8919DB}"/>
              </a:ext>
            </a:extLst>
          </p:cNvPr>
          <p:cNvSpPr txBox="1">
            <a:spLocks/>
          </p:cNvSpPr>
          <p:nvPr/>
        </p:nvSpPr>
        <p:spPr>
          <a:xfrm>
            <a:off x="4764881" y="1998663"/>
            <a:ext cx="915988" cy="15398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lang="en-IN"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it-IT" sz="1000"/>
              <a:t>n=100</a:t>
            </a:r>
            <a:endParaRPr lang="en-US" sz="1000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4A2C3C1C-9073-78D5-2E5E-543A77963876}"/>
              </a:ext>
            </a:extLst>
          </p:cNvPr>
          <p:cNvCxnSpPr>
            <a:cxnSpLocks/>
          </p:cNvCxnSpPr>
          <p:nvPr/>
        </p:nvCxnSpPr>
        <p:spPr>
          <a:xfrm>
            <a:off x="2617360" y="1991141"/>
            <a:ext cx="0" cy="3367112"/>
          </a:xfrm>
          <a:prstGeom prst="line">
            <a:avLst/>
          </a:prstGeom>
          <a:ln w="3175">
            <a:solidFill>
              <a:schemeClr val="tx1"/>
            </a:solidFill>
            <a:prstDash val="lg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ooter Placeholder 4">
            <a:extLst>
              <a:ext uri="{FF2B5EF4-FFF2-40B4-BE49-F238E27FC236}">
                <a16:creationId xmlns:a16="http://schemas.microsoft.com/office/drawing/2014/main" id="{582831E2-E1A2-0D0F-26E2-719FC35F3E00}"/>
              </a:ext>
            </a:extLst>
          </p:cNvPr>
          <p:cNvSpPr txBox="1">
            <a:spLocks/>
          </p:cNvSpPr>
          <p:nvPr/>
        </p:nvSpPr>
        <p:spPr>
          <a:xfrm>
            <a:off x="297064" y="2246753"/>
            <a:ext cx="915787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lang="en-IN"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900" i="1"/>
              <a:t>13% ha utilizzato </a:t>
            </a:r>
            <a:r>
              <a:rPr lang="it-IT" sz="900" i="1" err="1"/>
              <a:t>Stablecoin</a:t>
            </a:r>
            <a:endParaRPr lang="en-US" sz="900" i="1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F1498E76-5F91-484A-71C1-432B197C86D5}"/>
              </a:ext>
            </a:extLst>
          </p:cNvPr>
          <p:cNvSpPr txBox="1"/>
          <p:nvPr/>
        </p:nvSpPr>
        <p:spPr>
          <a:xfrm>
            <a:off x="7582031" y="1825228"/>
            <a:ext cx="383526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200"/>
              <a:t>Tra i non utilizzatori (</a:t>
            </a:r>
            <a:r>
              <a:rPr lang="it-IT" sz="1200" err="1"/>
              <a:t>n</a:t>
            </a:r>
            <a:r>
              <a:rPr lang="it-IT" sz="1200"/>
              <a:t>=305), il 54% prevede di </a:t>
            </a:r>
            <a:r>
              <a:rPr lang="it-IT" sz="1200" b="1">
                <a:solidFill>
                  <a:schemeClr val="tx2"/>
                </a:solidFill>
              </a:rPr>
              <a:t>introdurre l’impiego di </a:t>
            </a:r>
            <a:r>
              <a:rPr lang="it-IT" sz="1200" b="1" err="1">
                <a:solidFill>
                  <a:schemeClr val="tx2"/>
                </a:solidFill>
              </a:rPr>
              <a:t>stablecoin</a:t>
            </a:r>
            <a:r>
              <a:rPr lang="it-IT" sz="1200" b="1">
                <a:solidFill>
                  <a:schemeClr val="tx2"/>
                </a:solidFill>
              </a:rPr>
              <a:t> entro i prossimi 6–12 mesi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49FDBA44-C29E-6BC9-D0C6-D5806D7D4A66}"/>
              </a:ext>
            </a:extLst>
          </p:cNvPr>
          <p:cNvGrpSpPr/>
          <p:nvPr/>
        </p:nvGrpSpPr>
        <p:grpSpPr>
          <a:xfrm>
            <a:off x="6671472" y="1555750"/>
            <a:ext cx="984855" cy="1227138"/>
            <a:chOff x="6671472" y="2380950"/>
            <a:chExt cx="984855" cy="1226347"/>
          </a:xfrm>
        </p:grpSpPr>
        <p:graphicFrame>
          <p:nvGraphicFramePr>
            <p:cNvPr id="40" name="Chart 39">
              <a:extLst>
                <a:ext uri="{FF2B5EF4-FFF2-40B4-BE49-F238E27FC236}">
                  <a16:creationId xmlns:a16="http://schemas.microsoft.com/office/drawing/2014/main" id="{7B9E061E-E01B-2B77-6351-5896665BF45E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857652642"/>
                </p:ext>
              </p:extLst>
            </p:nvPr>
          </p:nvGraphicFramePr>
          <p:xfrm>
            <a:off x="6671472" y="2380950"/>
            <a:ext cx="984855" cy="122634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2"/>
            </a:graphicData>
          </a:graphic>
        </p:graphicFrame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1AB1AA00-29ED-C4BB-43DF-F978DAD5ED36}"/>
                </a:ext>
              </a:extLst>
            </p:cNvPr>
            <p:cNvSpPr txBox="1"/>
            <p:nvPr/>
          </p:nvSpPr>
          <p:spPr>
            <a:xfrm>
              <a:off x="6812401" y="2833302"/>
              <a:ext cx="664419" cy="30757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it-IT" sz="1400" b="1">
                  <a:solidFill>
                    <a:schemeClr val="tx2"/>
                  </a:solidFill>
                </a:rPr>
                <a:t>54%</a:t>
              </a:r>
              <a:endParaRPr lang="it-IT" sz="1400"/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FCB7D237-B272-DB97-6E1F-B32FF174E316}"/>
              </a:ext>
            </a:extLst>
          </p:cNvPr>
          <p:cNvGrpSpPr/>
          <p:nvPr/>
        </p:nvGrpSpPr>
        <p:grpSpPr>
          <a:xfrm>
            <a:off x="6671472" y="2784871"/>
            <a:ext cx="984855" cy="1225550"/>
            <a:chOff x="6671472" y="3389515"/>
            <a:chExt cx="984855" cy="1226347"/>
          </a:xfrm>
        </p:grpSpPr>
        <p:graphicFrame>
          <p:nvGraphicFramePr>
            <p:cNvPr id="43" name="Chart 42">
              <a:extLst>
                <a:ext uri="{FF2B5EF4-FFF2-40B4-BE49-F238E27FC236}">
                  <a16:creationId xmlns:a16="http://schemas.microsoft.com/office/drawing/2014/main" id="{E128F847-51C9-D0BB-F048-D16EC1CF7807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4284705600"/>
                </p:ext>
              </p:extLst>
            </p:nvPr>
          </p:nvGraphicFramePr>
          <p:xfrm>
            <a:off x="6671472" y="3389515"/>
            <a:ext cx="984855" cy="122634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3"/>
            </a:graphicData>
          </a:graphic>
        </p:graphicFrame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C7E8271F-57D1-54B0-0B95-7F1686719749}"/>
                </a:ext>
              </a:extLst>
            </p:cNvPr>
            <p:cNvSpPr txBox="1"/>
            <p:nvPr/>
          </p:nvSpPr>
          <p:spPr>
            <a:xfrm>
              <a:off x="6829654" y="3858340"/>
              <a:ext cx="664419" cy="3079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it-IT" sz="1400" b="1">
                  <a:solidFill>
                    <a:schemeClr val="tx2"/>
                  </a:solidFill>
                </a:rPr>
                <a:t>96%</a:t>
              </a:r>
              <a:endParaRPr lang="it-IT" sz="1400"/>
            </a:p>
          </p:txBody>
        </p:sp>
      </p:grpSp>
      <p:sp>
        <p:nvSpPr>
          <p:cNvPr id="45" name="TextBox 44">
            <a:extLst>
              <a:ext uri="{FF2B5EF4-FFF2-40B4-BE49-F238E27FC236}">
                <a16:creationId xmlns:a16="http://schemas.microsoft.com/office/drawing/2014/main" id="{40D6E155-E94D-B6A4-0C54-3D5E63BB2991}"/>
              </a:ext>
            </a:extLst>
          </p:cNvPr>
          <p:cNvSpPr txBox="1"/>
          <p:nvPr/>
        </p:nvSpPr>
        <p:spPr>
          <a:xfrm>
            <a:off x="7582031" y="3012477"/>
            <a:ext cx="3835269" cy="6461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200"/>
              <a:t>Tra le organizzazioni con </a:t>
            </a:r>
            <a:r>
              <a:rPr lang="it-IT" sz="1200" b="1">
                <a:solidFill>
                  <a:schemeClr val="tx2"/>
                </a:solidFill>
              </a:rPr>
              <a:t>ricavi &gt;50b$</a:t>
            </a:r>
            <a:r>
              <a:rPr lang="it-IT" sz="1200"/>
              <a:t>, il </a:t>
            </a:r>
            <a:r>
              <a:rPr lang="it-IT" sz="1200" b="1">
                <a:solidFill>
                  <a:schemeClr val="tx2"/>
                </a:solidFill>
              </a:rPr>
              <a:t>96% prevede di adottare o utilizzare </a:t>
            </a:r>
            <a:r>
              <a:rPr lang="it-IT" sz="1200" b="1" err="1">
                <a:solidFill>
                  <a:schemeClr val="tx2"/>
                </a:solidFill>
              </a:rPr>
              <a:t>stablecoin</a:t>
            </a:r>
            <a:r>
              <a:rPr lang="it-IT" sz="1200" b="1"/>
              <a:t> </a:t>
            </a:r>
            <a:r>
              <a:rPr lang="it-IT" sz="1200"/>
              <a:t>tra il 2026 e il 2027</a:t>
            </a:r>
            <a:endParaRPr lang="it-IT" sz="1200">
              <a:solidFill>
                <a:schemeClr val="tx2"/>
              </a:solidFill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71003C72-6AE1-4046-EE86-AEDFF2AB6260}"/>
              </a:ext>
            </a:extLst>
          </p:cNvPr>
          <p:cNvGrpSpPr/>
          <p:nvPr/>
        </p:nvGrpSpPr>
        <p:grpSpPr>
          <a:xfrm>
            <a:off x="6671472" y="4012404"/>
            <a:ext cx="984855" cy="1227138"/>
            <a:chOff x="6671472" y="4331957"/>
            <a:chExt cx="984855" cy="1226347"/>
          </a:xfrm>
        </p:grpSpPr>
        <p:graphicFrame>
          <p:nvGraphicFramePr>
            <p:cNvPr id="47" name="Chart 46">
              <a:extLst>
                <a:ext uri="{FF2B5EF4-FFF2-40B4-BE49-F238E27FC236}">
                  <a16:creationId xmlns:a16="http://schemas.microsoft.com/office/drawing/2014/main" id="{BC8F8DF2-BFE1-95EF-A387-82BBC0B454D1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859020028"/>
                </p:ext>
              </p:extLst>
            </p:nvPr>
          </p:nvGraphicFramePr>
          <p:xfrm>
            <a:off x="6671472" y="4331957"/>
            <a:ext cx="984855" cy="122634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4"/>
            </a:graphicData>
          </a:graphic>
        </p:graphicFrame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70D74045-3EBB-4824-3B37-C7DE113E6306}"/>
                </a:ext>
              </a:extLst>
            </p:cNvPr>
            <p:cNvSpPr txBox="1"/>
            <p:nvPr/>
          </p:nvSpPr>
          <p:spPr>
            <a:xfrm>
              <a:off x="6829654" y="4795005"/>
              <a:ext cx="664419" cy="30757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it-IT" sz="1400" b="1">
                  <a:solidFill>
                    <a:schemeClr val="tx2"/>
                  </a:solidFill>
                </a:rPr>
                <a:t>91%</a:t>
              </a:r>
              <a:endParaRPr lang="it-IT" sz="1400"/>
            </a:p>
          </p:txBody>
        </p: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FCED523A-C2DF-5A91-D38F-373BA1A04EBC}"/>
              </a:ext>
            </a:extLst>
          </p:cNvPr>
          <p:cNvSpPr txBox="1"/>
          <p:nvPr/>
        </p:nvSpPr>
        <p:spPr>
          <a:xfrm>
            <a:off x="7582031" y="4262438"/>
            <a:ext cx="3835269" cy="6477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200"/>
              <a:t>Tra gli operatori del </a:t>
            </a:r>
            <a:r>
              <a:rPr lang="it-IT" sz="1200" b="1">
                <a:solidFill>
                  <a:schemeClr val="tx2"/>
                </a:solidFill>
              </a:rPr>
              <a:t>settore finanziario</a:t>
            </a:r>
            <a:r>
              <a:rPr lang="it-IT" sz="1200"/>
              <a:t>, il </a:t>
            </a:r>
            <a:r>
              <a:rPr lang="it-IT" sz="1200" b="1">
                <a:solidFill>
                  <a:schemeClr val="tx2"/>
                </a:solidFill>
              </a:rPr>
              <a:t>91%</a:t>
            </a:r>
            <a:r>
              <a:rPr lang="it-IT" sz="1200"/>
              <a:t> ha indicato che le </a:t>
            </a:r>
            <a:r>
              <a:rPr lang="it-IT" sz="1200" b="1" err="1">
                <a:solidFill>
                  <a:schemeClr val="tx2"/>
                </a:solidFill>
              </a:rPr>
              <a:t>stablecoin</a:t>
            </a:r>
            <a:r>
              <a:rPr lang="it-IT" sz="1200" b="1">
                <a:solidFill>
                  <a:schemeClr val="tx2"/>
                </a:solidFill>
              </a:rPr>
              <a:t> diventeranno una priorità strategica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57D3C1B0-DEC6-1B5D-5DC3-25E196C05CF3}"/>
              </a:ext>
            </a:extLst>
          </p:cNvPr>
          <p:cNvSpPr txBox="1"/>
          <p:nvPr/>
        </p:nvSpPr>
        <p:spPr>
          <a:xfrm>
            <a:off x="7582030" y="5404473"/>
            <a:ext cx="412444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200"/>
              <a:t>Tra i non utilizzatori (</a:t>
            </a:r>
            <a:r>
              <a:rPr lang="it-IT" sz="1200" err="1"/>
              <a:t>n</a:t>
            </a:r>
            <a:r>
              <a:rPr lang="it-IT" sz="1200"/>
              <a:t>=305), il </a:t>
            </a:r>
            <a:r>
              <a:rPr lang="it-IT" sz="1200" b="1">
                <a:solidFill>
                  <a:schemeClr val="tx2"/>
                </a:solidFill>
              </a:rPr>
              <a:t>77% delle aziende del settore energy e utility </a:t>
            </a:r>
            <a:r>
              <a:rPr lang="it-IT" sz="1200"/>
              <a:t>ha dichiarato che le </a:t>
            </a:r>
            <a:r>
              <a:rPr lang="it-IT" sz="1200" b="1" err="1">
                <a:solidFill>
                  <a:schemeClr val="tx2"/>
                </a:solidFill>
              </a:rPr>
              <a:t>stablecoin</a:t>
            </a:r>
            <a:r>
              <a:rPr lang="it-IT" sz="1200" b="1">
                <a:solidFill>
                  <a:schemeClr val="tx2"/>
                </a:solidFill>
              </a:rPr>
              <a:t> saranno oggetto di maggiore attenzione e discussione</a:t>
            </a:r>
          </a:p>
        </p:txBody>
      </p:sp>
      <p:sp>
        <p:nvSpPr>
          <p:cNvPr id="51" name="Title 5">
            <a:extLst>
              <a:ext uri="{FF2B5EF4-FFF2-40B4-BE49-F238E27FC236}">
                <a16:creationId xmlns:a16="http://schemas.microsoft.com/office/drawing/2014/main" id="{091933BB-9DF4-31D3-221F-58FDDFE98CBB}"/>
              </a:ext>
            </a:extLst>
          </p:cNvPr>
          <p:cNvSpPr txBox="1">
            <a:spLocks/>
          </p:cNvSpPr>
          <p:nvPr/>
        </p:nvSpPr>
        <p:spPr>
          <a:xfrm>
            <a:off x="485523" y="369888"/>
            <a:ext cx="11625198" cy="45147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600" b="1" i="0" kern="1200">
                <a:solidFill>
                  <a:schemeClr val="tx2"/>
                </a:solidFill>
                <a:latin typeface="EYInterstate Regular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it-IT" sz="2400">
                <a:latin typeface="+mn-lt"/>
              </a:rPr>
              <a:t>Il 100% delle Corporate e Financial Institution conosce le </a:t>
            </a:r>
            <a:r>
              <a:rPr lang="it-IT" sz="2400" err="1">
                <a:latin typeface="+mn-lt"/>
              </a:rPr>
              <a:t>stablecoin</a:t>
            </a:r>
            <a:r>
              <a:rPr lang="it-IT" sz="2400">
                <a:latin typeface="+mn-lt"/>
              </a:rPr>
              <a:t>, il 13% le utilizza già, e il 54% di chi non le usa prevede di iniziare nei prossimi 6–12 mesi</a:t>
            </a: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E11ADC2F-2086-1AF9-CDD0-A4148E28EB77}"/>
              </a:ext>
            </a:extLst>
          </p:cNvPr>
          <p:cNvCxnSpPr/>
          <p:nvPr/>
        </p:nvCxnSpPr>
        <p:spPr>
          <a:xfrm>
            <a:off x="728282" y="1717589"/>
            <a:ext cx="5610478" cy="0"/>
          </a:xfrm>
          <a:prstGeom prst="line">
            <a:avLst/>
          </a:prstGeom>
          <a:ln w="3175">
            <a:solidFill>
              <a:schemeClr val="tx2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841FD6AB-3D00-2A59-FE96-8970E2C46680}"/>
              </a:ext>
            </a:extLst>
          </p:cNvPr>
          <p:cNvGrpSpPr/>
          <p:nvPr/>
        </p:nvGrpSpPr>
        <p:grpSpPr>
          <a:xfrm>
            <a:off x="6671472" y="5210016"/>
            <a:ext cx="984855" cy="1227138"/>
            <a:chOff x="6671472" y="4331957"/>
            <a:chExt cx="984855" cy="1226347"/>
          </a:xfrm>
        </p:grpSpPr>
        <p:graphicFrame>
          <p:nvGraphicFramePr>
            <p:cNvPr id="3" name="Chart 2">
              <a:extLst>
                <a:ext uri="{FF2B5EF4-FFF2-40B4-BE49-F238E27FC236}">
                  <a16:creationId xmlns:a16="http://schemas.microsoft.com/office/drawing/2014/main" id="{FEEEF4C7-7793-488A-80C2-0367D580ACF0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380541614"/>
                </p:ext>
              </p:extLst>
            </p:nvPr>
          </p:nvGraphicFramePr>
          <p:xfrm>
            <a:off x="6671472" y="4331957"/>
            <a:ext cx="984855" cy="122634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5"/>
            </a:graphicData>
          </a:graphic>
        </p:graphicFrame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47E17B19-8FB5-BD67-1952-8A9A28138E24}"/>
                </a:ext>
              </a:extLst>
            </p:cNvPr>
            <p:cNvSpPr txBox="1"/>
            <p:nvPr/>
          </p:nvSpPr>
          <p:spPr>
            <a:xfrm>
              <a:off x="6829654" y="4795005"/>
              <a:ext cx="664419" cy="30757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it-IT" sz="1400" b="1">
                  <a:solidFill>
                    <a:schemeClr val="tx2"/>
                  </a:solidFill>
                </a:rPr>
                <a:t>77%</a:t>
              </a:r>
              <a:endParaRPr lang="it-IT" sz="1400"/>
            </a:p>
          </p:txBody>
        </p:sp>
      </p:grpSp>
    </p:spTree>
    <p:extLst>
      <p:ext uri="{BB962C8B-B14F-4D97-AF65-F5344CB8AC3E}">
        <p14:creationId xmlns:p14="http://schemas.microsoft.com/office/powerpoint/2010/main" val="16890641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8F70A3-ED16-9D93-CFE5-7244AE030D9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it-IT"/>
              <a:t>Le stablecoin e il futuro dei pagamenti digitali | Salone dei pagamenti | 30 ottobre 2025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5E958ED-624F-2D27-92B1-E9ACBB6700C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11</a:t>
            </a:fld>
            <a:endParaRPr lang="en-GB"/>
          </a:p>
        </p:txBody>
      </p:sp>
      <p:sp>
        <p:nvSpPr>
          <p:cNvPr id="60" name="Rounded Rectangle 42">
            <a:extLst>
              <a:ext uri="{FF2B5EF4-FFF2-40B4-BE49-F238E27FC236}">
                <a16:creationId xmlns:a16="http://schemas.microsoft.com/office/drawing/2014/main" id="{ADF2C794-6790-670D-643F-195C7D62333F}"/>
              </a:ext>
            </a:extLst>
          </p:cNvPr>
          <p:cNvSpPr/>
          <p:nvPr/>
        </p:nvSpPr>
        <p:spPr>
          <a:xfrm>
            <a:off x="496819" y="1139290"/>
            <a:ext cx="5440994" cy="3950235"/>
          </a:xfrm>
          <a:prstGeom prst="roundRect">
            <a:avLst>
              <a:gd name="adj" fmla="val 0"/>
            </a:avLst>
          </a:prstGeom>
          <a:noFill/>
          <a:ln w="12700" cap="flat" cmpd="sng" algn="ctr">
            <a:solidFill>
              <a:schemeClr val="bg1">
                <a:lumMod val="10000"/>
                <a:lumOff val="9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t" anchorCtr="0"/>
          <a:lstStyle/>
          <a:p>
            <a:pPr marL="252000" marR="0" indent="-252000" algn="l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  <a:buSzTx/>
              <a:buFont typeface="Wingdings" pitchFamily="2" charset="2"/>
              <a:buChar char="§"/>
              <a:tabLst/>
            </a:pPr>
            <a:endParaRPr kumimoji="0" lang="it-IT" sz="2000" b="0" i="0" u="none" strike="noStrike" kern="0" cap="none" spc="0" normalizeH="0" baseline="0" noProof="0">
              <a:ln>
                <a:noFill/>
              </a:ln>
              <a:solidFill>
                <a:srgbClr val="1A1A24"/>
              </a:solidFill>
              <a:effectLst/>
              <a:uLnTx/>
              <a:uFillTx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BD337B15-ECF0-2FB1-5F5A-45AE419BCE5E}"/>
              </a:ext>
            </a:extLst>
          </p:cNvPr>
          <p:cNvSpPr txBox="1"/>
          <p:nvPr/>
        </p:nvSpPr>
        <p:spPr>
          <a:xfrm>
            <a:off x="496819" y="1250535"/>
            <a:ext cx="544099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400" b="1">
                <a:solidFill>
                  <a:schemeClr val="tx2"/>
                </a:solidFill>
              </a:rPr>
              <a:t>CASI D’USO IN CUI SONO STATE IMPIEGATE LE STABLECOIN</a:t>
            </a:r>
            <a:endParaRPr lang="it-IT" sz="1400" b="1" i="1">
              <a:solidFill>
                <a:schemeClr val="tx2"/>
              </a:solidFill>
            </a:endParaRPr>
          </a:p>
        </p:txBody>
      </p:sp>
      <p:graphicFrame>
        <p:nvGraphicFramePr>
          <p:cNvPr id="62" name="Chart 61">
            <a:extLst>
              <a:ext uri="{FF2B5EF4-FFF2-40B4-BE49-F238E27FC236}">
                <a16:creationId xmlns:a16="http://schemas.microsoft.com/office/drawing/2014/main" id="{59669639-213C-8E69-98C6-FE8E5A17D2B8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258848"/>
              </p:ext>
            </p:extLst>
          </p:nvPr>
        </p:nvGraphicFramePr>
        <p:xfrm>
          <a:off x="3068638" y="1604963"/>
          <a:ext cx="2078037" cy="3484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9"/>
          </a:graphicData>
        </a:graphic>
      </p:graphicFrame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C61CCAD2-E0FF-706F-2AF2-AFE64CBB4097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1628776" y="1741488"/>
            <a:ext cx="142081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F77C403-D0FB-4BC8-83B1-578A5E4A09DA}" type="datetime'''Pa''gamen''to ''fornit''''''''o''ri'''' &#10;cross borde''''''r'">
              <a:rPr lang="en-GB" altLang="en-US" sz="1200" smtClean="0">
                <a:solidFill>
                  <a:srgbClr val="FFFFFF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agamento fornitori 
cross border</a:t>
            </a:fld>
            <a:endParaRPr lang="en-GB" sz="1200" b="1">
              <a:solidFill>
                <a:srgbClr val="FFFFFF"/>
              </a:solidFill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4F9A7CAD-EE44-8221-833A-F1350E914041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349376" y="2216150"/>
            <a:ext cx="170021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DCABED4-9BCC-443A-8595-E65799FC1059}" type="datetime'Accettazi''one pagamen''ti &#10;business'' cr''o''ss ''bor''de''r'">
              <a:rPr lang="it-IT" altLang="en-US" sz="1200" smtClean="0">
                <a:solidFill>
                  <a:srgbClr val="FFFFFF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Accettazione pagamenti 
business cross border</a:t>
            </a:fld>
            <a:endParaRPr lang="en-GB" sz="1200" b="1">
              <a:solidFill>
                <a:srgbClr val="FFFFFF"/>
              </a:solidFill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BFB7308B-D8F3-1FA3-CB64-9D2C9A882396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733550" y="2689225"/>
            <a:ext cx="13160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A74AD51-9253-435D-9193-37DEC5D50BDD}" type="datetime'''''Cash'''''''' m''ana''geme''nt &#10;c''''r''o''s''s bor''''der'">
              <a:rPr lang="en-GB" altLang="en-US" sz="1200" smtClean="0">
                <a:solidFill>
                  <a:srgbClr val="FFFFFF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ash management 
cross border</a:t>
            </a:fld>
            <a:endParaRPr lang="en-GB" sz="1200" b="1">
              <a:solidFill>
                <a:srgbClr val="FFFFFF"/>
              </a:solidFill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1C14D52F-AEA2-74F8-69C3-18EDF397AC7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349376" y="3163888"/>
            <a:ext cx="170021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CE1C6AC-1E15-4FA7-BFE7-00D7F5C60F52}" type="datetime'A''c''''c''''e''ttazio''ne pagam''ent''i ''&#10;c''onsu''''m''er'">
              <a:rPr lang="en-GB" altLang="en-US" sz="1200" smtClean="0">
                <a:solidFill>
                  <a:srgbClr val="FFFFFF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Accettazione pagamenti 
consumer</a:t>
            </a:fld>
            <a:endParaRPr lang="en-GB" sz="1200" b="1">
              <a:solidFill>
                <a:srgbClr val="FFFFFF"/>
              </a:solidFill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45108CDE-0707-7521-E34D-34688EBC8C6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282700" y="3730625"/>
            <a:ext cx="17668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AD8FA45-6EAF-4995-92CA-58E439E31E77}" type="datetime'Pa''''''g''am''''ento sub''''''''-me''rc''h''''''''a''n''''t'">
              <a:rPr lang="en-GB" altLang="en-US" sz="1200" smtClean="0">
                <a:solidFill>
                  <a:srgbClr val="FFFFFF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agamento sub-merchant</a:t>
            </a:fld>
            <a:endParaRPr lang="en-GB" sz="1200" b="1">
              <a:solidFill>
                <a:srgbClr val="FFFFFF"/>
              </a:solidFill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DA19B5DB-DFEF-48D8-6EFD-BFEF6C8EC0C3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349376" y="4113213"/>
            <a:ext cx="170021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87FB5D5-003C-47D1-8686-4F0632B01536}" type="datetime'Accettazione p''a''ga''''ment''i'' &#10;bu''sin''ess domesti''ci'">
              <a:rPr lang="it-IT" altLang="en-US" sz="1200" smtClean="0">
                <a:solidFill>
                  <a:srgbClr val="FFFFFF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Accettazione pagamenti 
business domestici</a:t>
            </a:fld>
            <a:endParaRPr lang="en-GB" sz="1200" b="1">
              <a:solidFill>
                <a:srgbClr val="FFFFFF"/>
              </a:solidFill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9E367179-68E2-92AB-37B2-2080FD654F4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968375" y="4678363"/>
            <a:ext cx="20812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7E84C02-4BA2-45AB-9663-11FB3F530D6A}" type="datetime'''Paga''me''nto fornitori d''''o''''''m''est''i''ci'''">
              <a:rPr lang="en-GB" altLang="en-US" sz="1200" smtClean="0">
                <a:solidFill>
                  <a:srgbClr val="FFFFFF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agamento fornitori domestici</a:t>
            </a:fld>
            <a:endParaRPr lang="en-GB" sz="1200" b="1">
              <a:solidFill>
                <a:srgbClr val="FFFFFF"/>
              </a:solidFill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D9463DC9-09DB-1967-1900-7349C784370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089525" y="1817688"/>
            <a:ext cx="3794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EAC1C86-E2A5-4F58-94DC-F10543157B75}" type="datetime'''6''''''''''''''''''''''''''''''2''''''''''''''%'''''''''''''">
              <a:rPr lang="en-GB" altLang="en-US" sz="1400" b="1" smtClean="0">
                <a:solidFill>
                  <a:srgbClr val="FFFFFF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2%</a:t>
            </a:fld>
            <a:endParaRPr lang="en-GB" sz="1400" b="1">
              <a:solidFill>
                <a:srgbClr val="FFFFFF"/>
              </a:solidFill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F2E14AEE-BD78-BEEA-3A70-C47948686BC6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811713" y="2292350"/>
            <a:ext cx="3794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5AA3B5D-D553-4B8A-A558-F2E104F2D1DB}" type="datetime'5''''''''''''''''''''3''''''''''''''''''''''''''%'''">
              <a:rPr lang="en-GB" altLang="en-US" sz="1400" b="1" smtClean="0">
                <a:solidFill>
                  <a:srgbClr val="FFFFFF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3%</a:t>
            </a:fld>
            <a:endParaRPr lang="en-GB" sz="1400" b="1">
              <a:solidFill>
                <a:srgbClr val="FFFFFF"/>
              </a:solidFill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893F8409-D9EB-7915-132F-1AEEE51115E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533900" y="2765425"/>
            <a:ext cx="3794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1330B5A-3C1C-4548-B7A9-8C22BBD0FD96}" type="datetime'''4''4''''''''''''''''%'''''''''''''''''''''''''''''''">
              <a:rPr lang="en-GB" altLang="en-US" sz="1400" b="1" smtClean="0">
                <a:solidFill>
                  <a:srgbClr val="FFFFFF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4%</a:t>
            </a:fld>
            <a:endParaRPr lang="en-GB" sz="1400" b="1">
              <a:solidFill>
                <a:srgbClr val="FFFFFF"/>
              </a:solidFill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2399AAAE-E3C3-AA60-C14C-6895805F896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533900" y="3240088"/>
            <a:ext cx="3794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85E5ADF-598D-4480-8EDC-29B0FD0F90DD}" type="datetime'''''''''''''''4''''4''%'''''''''''''''''''''">
              <a:rPr lang="en-GB" altLang="en-US" sz="1400" b="1" smtClean="0">
                <a:solidFill>
                  <a:srgbClr val="FFFFFF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4%</a:t>
            </a:fld>
            <a:endParaRPr lang="en-GB" sz="1400" b="1">
              <a:solidFill>
                <a:srgbClr val="FFFFFF"/>
              </a:solidFill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51324309-3868-F391-B600-86AA5F038BC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471988" y="3714750"/>
            <a:ext cx="3794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61DB842-402B-4B22-A665-4FB6CA0DC6EA}" type="datetime'''''''''''''''4''2''''''''''%'''''''''''''''''''''''">
              <a:rPr lang="en-GB" altLang="en-US" sz="1400" b="1" smtClean="0">
                <a:solidFill>
                  <a:srgbClr val="FFFFFF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2%</a:t>
            </a:fld>
            <a:endParaRPr lang="en-GB" sz="1400" b="1">
              <a:solidFill>
                <a:srgbClr val="FFFFFF"/>
              </a:solidFill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F4211ECA-7E3E-4D45-D1DD-14FD87E0C44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410075" y="4189413"/>
            <a:ext cx="3794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C9E78B2-8300-46CC-BE42-0083C5EC858C}" type="datetime'''40''''''''''''''''''''''''''''''''''''''''''''%'">
              <a:rPr lang="en-GB" altLang="en-US" sz="1400" b="1" smtClean="0">
                <a:solidFill>
                  <a:srgbClr val="FFFFFF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0%</a:t>
            </a:fld>
            <a:endParaRPr lang="en-GB" sz="1400" b="1">
              <a:solidFill>
                <a:srgbClr val="FFFFFF"/>
              </a:solidFill>
            </a:endParaRPr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C4B9EE37-84F9-2CEA-84E7-712547DFF5EF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287838" y="4662488"/>
            <a:ext cx="3794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697FE09-5020-49DD-98B8-0FAFEDB34B01}" type="datetime'''3''''''''''''6%'''''''''''''''''''''''''''''''''''''">
              <a:rPr lang="en-GB" altLang="en-US" sz="1400" b="1" smtClean="0">
                <a:solidFill>
                  <a:srgbClr val="FFFFFF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6%</a:t>
            </a:fld>
            <a:endParaRPr lang="en-GB" sz="1400" b="1">
              <a:solidFill>
                <a:srgbClr val="FFFFFF"/>
              </a:solidFill>
            </a:endParaRPr>
          </a:p>
        </p:txBody>
      </p:sp>
      <p:sp>
        <p:nvSpPr>
          <p:cNvPr id="77" name="Rounded Rectangle 42">
            <a:extLst>
              <a:ext uri="{FF2B5EF4-FFF2-40B4-BE49-F238E27FC236}">
                <a16:creationId xmlns:a16="http://schemas.microsoft.com/office/drawing/2014/main" id="{7614C79D-9E6E-8B1A-B253-5977BE6EF809}"/>
              </a:ext>
            </a:extLst>
          </p:cNvPr>
          <p:cNvSpPr/>
          <p:nvPr/>
        </p:nvSpPr>
        <p:spPr>
          <a:xfrm>
            <a:off x="6296026" y="1139290"/>
            <a:ext cx="5440363" cy="3950235"/>
          </a:xfrm>
          <a:prstGeom prst="roundRect">
            <a:avLst>
              <a:gd name="adj" fmla="val 0"/>
            </a:avLst>
          </a:prstGeom>
          <a:noFill/>
          <a:ln w="12700" cap="flat" cmpd="sng" algn="ctr">
            <a:solidFill>
              <a:schemeClr val="bg1">
                <a:lumMod val="10000"/>
                <a:lumOff val="9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t" anchorCtr="0"/>
          <a:lstStyle/>
          <a:p>
            <a:pPr marL="252000" marR="0" indent="-252000" algn="l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  <a:buSzTx/>
              <a:buFont typeface="Wingdings" pitchFamily="2" charset="2"/>
              <a:buChar char="§"/>
              <a:tabLst/>
            </a:pPr>
            <a:endParaRPr kumimoji="0" lang="it-IT" sz="2000" b="0" i="0" u="none" strike="noStrike" kern="0" cap="none" spc="0" normalizeH="0" baseline="0" noProof="0">
              <a:ln>
                <a:noFill/>
              </a:ln>
              <a:solidFill>
                <a:srgbClr val="1A1A24"/>
              </a:solidFill>
              <a:effectLst/>
              <a:uLnTx/>
              <a:uFillTx/>
            </a:endParaRPr>
          </a:p>
        </p:txBody>
      </p:sp>
      <p:graphicFrame>
        <p:nvGraphicFramePr>
          <p:cNvPr id="78" name="Chart 77">
            <a:extLst>
              <a:ext uri="{FF2B5EF4-FFF2-40B4-BE49-F238E27FC236}">
                <a16:creationId xmlns:a16="http://schemas.microsoft.com/office/drawing/2014/main" id="{BF77ED76-94C3-F756-C865-B84D5BCB2C69}"/>
              </a:ext>
            </a:extLst>
          </p:cNvPr>
          <p:cNvGraphicFramePr/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614288396"/>
              </p:ext>
            </p:extLst>
          </p:nvPr>
        </p:nvGraphicFramePr>
        <p:xfrm>
          <a:off x="8432800" y="2082800"/>
          <a:ext cx="2546350" cy="29765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025B67FF-469C-FD82-BDDB-540AE6BB1EF1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0102850" y="2298700"/>
            <a:ext cx="3286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CB17F04-EF99-4868-AAA9-D02339BD0589}" type="datetime'''''&lt;5''''%'''''''''''''''''''''''''''''''''''''''''''''''''">
              <a:rPr lang="en-GB" altLang="en-US" sz="1400" b="1" smtClean="0">
                <a:solidFill>
                  <a:srgbClr val="FFFFFF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&lt;5%</a:t>
            </a:fld>
            <a:endParaRPr lang="en-GB" sz="1400" b="1">
              <a:solidFill>
                <a:srgbClr val="FFFFFF"/>
              </a:solidFill>
            </a:endParaRPr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6F2FADD4-8EA4-C543-403E-933A51AC9769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0294938" y="4535488"/>
            <a:ext cx="501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479D901-D356-44D6-B6D6-D9C05659CEC0}" type="datetime'''5''''-''''''''''''''1''''''''''''''0''''''''''%'''''''">
              <a:rPr lang="en-GB" altLang="en-US" sz="1400" b="1" smtClean="0">
                <a:solidFill>
                  <a:srgbClr val="FFFFFF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-10%</a:t>
            </a:fld>
            <a:endParaRPr lang="en-GB" sz="1400" b="1">
              <a:solidFill>
                <a:srgbClr val="FFFFFF"/>
              </a:solidFill>
            </a:endParaRP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5F66D18A-FA8A-48A6-8A27-4B12BD7E4AFF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8115934" y="4235466"/>
            <a:ext cx="6111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F9A97A6-18D6-427A-9183-E0189224BCEF}" type="datetime'''''''''1''''''''''''1''''''''-''2''''''''0''''''%'''''''''''">
              <a:rPr lang="en-GB" altLang="en-US" sz="1400" b="1" smtClean="0">
                <a:solidFill>
                  <a:srgbClr val="FFFFFF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1-20%</a:t>
            </a:fld>
            <a:endParaRPr lang="en-GB" sz="1400" b="1">
              <a:solidFill>
                <a:srgbClr val="FFFFFF"/>
              </a:solidFill>
            </a:endParaRP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86EE9DB8-0599-7D5D-B25B-32A0F4F51C2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8397811" y="2529721"/>
            <a:ext cx="6111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E606D44-C88F-46B9-B36B-AD5B8EE0150C}" type="datetime'''''2''''1''''''-30''''''''''''%'''''''''''''''''''''">
              <a:rPr lang="en-GB" altLang="en-US" sz="1400" b="1" smtClean="0">
                <a:solidFill>
                  <a:srgbClr val="FFFFFF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1-30%</a:t>
            </a:fld>
            <a:endParaRPr lang="en-GB" sz="1400" b="1">
              <a:solidFill>
                <a:srgbClr val="FFFFFF"/>
              </a:solidFill>
            </a:endParaRP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7706622C-A143-1D2B-926B-E87479C385AE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8907400" y="2232064"/>
            <a:ext cx="6111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EF95B1F-FFA1-4CF0-8856-95D1E2A02F23}" type="datetime'''3''''''1''''-''''''''''''''''''''''''5''''''0%'''''">
              <a:rPr lang="en-GB" altLang="en-US" sz="1400" b="1" smtClean="0">
                <a:solidFill>
                  <a:srgbClr val="FFFFFF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1-50%</a:t>
            </a:fld>
            <a:endParaRPr lang="en-GB" sz="1400" b="1">
              <a:solidFill>
                <a:srgbClr val="FFFFFF"/>
              </a:solidFill>
            </a:endParaRPr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D711992B-2635-5238-D5FC-92531BBB411C}"/>
              </a:ext>
            </a:extLst>
          </p:cNvPr>
          <p:cNvGrpSpPr/>
          <p:nvPr>
            <p:custDataLst>
              <p:tags r:id="rId22"/>
            </p:custDataLst>
          </p:nvPr>
        </p:nvGrpSpPr>
        <p:grpSpPr>
          <a:xfrm>
            <a:off x="8368271" y="2090753"/>
            <a:ext cx="1329423" cy="2780014"/>
            <a:chOff x="1818575" y="2747369"/>
            <a:chExt cx="1329423" cy="2220248"/>
          </a:xfrm>
        </p:grpSpPr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F3BEB32E-116D-1CA1-BAB5-BED378EAE049}"/>
                </a:ext>
              </a:extLst>
            </p:cNvPr>
            <p:cNvCxnSpPr>
              <a:cxnSpLocks/>
            </p:cNvCxnSpPr>
            <p:nvPr/>
          </p:nvCxnSpPr>
          <p:spPr>
            <a:xfrm>
              <a:off x="1818575" y="2753770"/>
              <a:ext cx="0" cy="2213847"/>
            </a:xfrm>
            <a:prstGeom prst="line">
              <a:avLst/>
            </a:prstGeom>
            <a:ln w="12700">
              <a:solidFill>
                <a:srgbClr val="FFE700"/>
              </a:solidFill>
              <a:prstDash val="sys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76FDE19A-7AA8-F5A0-7CD8-3E028BB8AC81}"/>
                </a:ext>
              </a:extLst>
            </p:cNvPr>
            <p:cNvCxnSpPr>
              <a:cxnSpLocks/>
            </p:cNvCxnSpPr>
            <p:nvPr/>
          </p:nvCxnSpPr>
          <p:spPr>
            <a:xfrm>
              <a:off x="3147998" y="2747369"/>
              <a:ext cx="0" cy="1207553"/>
            </a:xfrm>
            <a:prstGeom prst="line">
              <a:avLst/>
            </a:prstGeom>
            <a:ln w="12700">
              <a:solidFill>
                <a:srgbClr val="FFE700"/>
              </a:solidFill>
              <a:prstDash val="sys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747E6057-C378-D524-9872-113D1390F7B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818575" y="2747369"/>
              <a:ext cx="1329423" cy="0"/>
            </a:xfrm>
            <a:prstGeom prst="line">
              <a:avLst/>
            </a:prstGeom>
            <a:ln w="12700">
              <a:solidFill>
                <a:srgbClr val="FFE700"/>
              </a:solidFill>
              <a:prstDash val="sys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86B4DB0B-7A35-813E-759F-363006BF8DBB}"/>
                </a:ext>
              </a:extLst>
            </p:cNvPr>
            <p:cNvCxnSpPr>
              <a:cxnSpLocks noChangeAspect="1"/>
            </p:cNvCxnSpPr>
            <p:nvPr/>
          </p:nvCxnSpPr>
          <p:spPr>
            <a:xfrm flipH="1">
              <a:off x="2323477" y="3959168"/>
              <a:ext cx="817016" cy="1006294"/>
            </a:xfrm>
            <a:prstGeom prst="line">
              <a:avLst/>
            </a:prstGeom>
            <a:ln w="12700">
              <a:solidFill>
                <a:srgbClr val="FFE700"/>
              </a:solidFill>
              <a:prstDash val="sys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04EBCAB4-EC2F-CCA1-2029-C4BEEA8A19E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818575" y="4959758"/>
              <a:ext cx="504902" cy="0"/>
            </a:xfrm>
            <a:prstGeom prst="line">
              <a:avLst/>
            </a:prstGeom>
            <a:ln w="12700">
              <a:solidFill>
                <a:srgbClr val="FFE700"/>
              </a:solidFill>
              <a:prstDash val="sys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0" name="Rounded Rectangle 42">
            <a:extLst>
              <a:ext uri="{FF2B5EF4-FFF2-40B4-BE49-F238E27FC236}">
                <a16:creationId xmlns:a16="http://schemas.microsoft.com/office/drawing/2014/main" id="{267E8F0C-2E6F-C9E1-ADA7-A79A7557411B}"/>
              </a:ext>
            </a:extLst>
          </p:cNvPr>
          <p:cNvSpPr/>
          <p:nvPr/>
        </p:nvSpPr>
        <p:spPr>
          <a:xfrm>
            <a:off x="496819" y="5178858"/>
            <a:ext cx="11239569" cy="982300"/>
          </a:xfrm>
          <a:prstGeom prst="roundRect">
            <a:avLst>
              <a:gd name="adj" fmla="val 0"/>
            </a:avLst>
          </a:prstGeom>
          <a:solidFill>
            <a:schemeClr val="tx2">
              <a:alpha val="5000"/>
            </a:schemeClr>
          </a:solidFill>
          <a:ln w="12700" cap="flat" cmpd="sng" algn="ctr">
            <a:solidFill>
              <a:schemeClr val="bg1">
                <a:lumMod val="10000"/>
                <a:lumOff val="9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t" anchorCtr="0"/>
          <a:lstStyle/>
          <a:p>
            <a:pPr marL="252000" marR="0" indent="-252000" algn="l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  <a:buSzTx/>
              <a:buFont typeface="Wingdings" pitchFamily="2" charset="2"/>
              <a:buChar char="§"/>
              <a:tabLst/>
            </a:pPr>
            <a:endParaRPr kumimoji="0" lang="it-IT" sz="2000" b="0" i="0" u="none" strike="noStrike" kern="0" cap="none" spc="0" normalizeH="0" baseline="0" noProof="0">
              <a:ln>
                <a:noFill/>
              </a:ln>
              <a:solidFill>
                <a:srgbClr val="1A1A24"/>
              </a:solidFill>
              <a:effectLst/>
              <a:uLnTx/>
              <a:uFillTx/>
            </a:endParaRPr>
          </a:p>
        </p:txBody>
      </p:sp>
      <p:graphicFrame>
        <p:nvGraphicFramePr>
          <p:cNvPr id="92" name="Chart 91">
            <a:extLst>
              <a:ext uri="{FF2B5EF4-FFF2-40B4-BE49-F238E27FC236}">
                <a16:creationId xmlns:a16="http://schemas.microsoft.com/office/drawing/2014/main" id="{C6D68A67-99C2-EABC-6579-6A7033CFA3D5}"/>
              </a:ext>
            </a:extLst>
          </p:cNvPr>
          <p:cNvGraphicFramePr/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820799115"/>
              </p:ext>
            </p:extLst>
          </p:nvPr>
        </p:nvGraphicFramePr>
        <p:xfrm>
          <a:off x="3521075" y="5491163"/>
          <a:ext cx="7969250" cy="38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sp>
        <p:nvSpPr>
          <p:cNvPr id="93" name="Text Placeholder 2">
            <a:extLst>
              <a:ext uri="{FF2B5EF4-FFF2-40B4-BE49-F238E27FC236}">
                <a16:creationId xmlns:a16="http://schemas.microsoft.com/office/drawing/2014/main" id="{E5633845-D02F-C34C-209F-049C8938B2F5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879851" y="5832475"/>
            <a:ext cx="5635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B0451A6-DA37-43C7-B675-D428680457A0}" type="datetime'''''''''U''''''''''''''''S''''''''D'' ''C''''o''''''in'">
              <a:rPr lang="en-GB" altLang="en-US" sz="1000" b="1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USD Coin</a:t>
            </a:fld>
            <a:endParaRPr lang="en-GB" sz="1000" b="1">
              <a:solidFill>
                <a:srgbClr val="FFFFFF"/>
              </a:solidFill>
            </a:endParaRPr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50C87FD9-EB05-262D-05D7-E688EC8130AC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5027613" y="5832475"/>
            <a:ext cx="4953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5ACAF9B-EE69-4F1C-9DE8-938D2B29F998}" type="datetime'''''''''U''SDT&#10;(''''''Tet''h''e''r'')'''''''''''''''''''''''''">
              <a:rPr lang="it-IT" altLang="en-US" sz="1000" b="1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USDT
(Tether)</a:t>
            </a:fld>
            <a:endParaRPr lang="en-GB" sz="1000" b="1">
              <a:solidFill>
                <a:srgbClr val="FFFFFF"/>
              </a:solidFill>
            </a:endParaRPr>
          </a:p>
        </p:txBody>
      </p:sp>
      <p:sp>
        <p:nvSpPr>
          <p:cNvPr id="95" name="Text Placeholder 2">
            <a:extLst>
              <a:ext uri="{FF2B5EF4-FFF2-40B4-BE49-F238E27FC236}">
                <a16:creationId xmlns:a16="http://schemas.microsoft.com/office/drawing/2014/main" id="{2DC51961-C016-923E-A914-36B6EAAA4B40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6054725" y="5832475"/>
            <a:ext cx="67468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8D2082-388F-46F5-9424-F9950B722FE8}" type="datetime'E''URC&#10;''''''(Eu''''''''''''''''ro'''''' ''''''Co''i''''''n)'">
              <a:rPr lang="en-GB" altLang="en-US" sz="1000" b="1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EURC
(Euro Coin)</a:t>
            </a:fld>
            <a:endParaRPr lang="en-GB" sz="1000" b="1">
              <a:solidFill>
                <a:srgbClr val="FFFFFF"/>
              </a:solidFill>
            </a:endParaRPr>
          </a:p>
        </p:txBody>
      </p:sp>
      <p:sp>
        <p:nvSpPr>
          <p:cNvPr id="96" name="Text Placeholder 2">
            <a:extLst>
              <a:ext uri="{FF2B5EF4-FFF2-40B4-BE49-F238E27FC236}">
                <a16:creationId xmlns:a16="http://schemas.microsoft.com/office/drawing/2014/main" id="{24D0F4EC-C3C8-60F7-3CFF-16EF3622DAC4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256464" y="5832475"/>
            <a:ext cx="5000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1283A94-59C4-4642-929B-A0B38FCFF9E3}" type="datetime'''''''P''''YU''S''''''D &#10;''(P''''a''''''y''p''a''''''''l)'''">
              <a:rPr lang="en-GB" altLang="en-US" sz="1000" b="1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YUSD 
(Paypal)</a:t>
            </a:fld>
            <a:endParaRPr lang="en-GB" sz="1000" b="1">
              <a:solidFill>
                <a:srgbClr val="FFFFFF"/>
              </a:solidFill>
            </a:endParaRPr>
          </a:p>
        </p:txBody>
      </p: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7AE9C7F4-755B-B987-D23E-B606DA55BC56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8312150" y="5832475"/>
            <a:ext cx="6175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D41D5CB-4F58-4CED-B225-53CA921C4ED8}" type="datetime'U''S''''''DS''/''D''''''''''A''''I'''''">
              <a:rPr lang="en-GB" altLang="en-US" sz="1000" b="1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USDS/DAI</a:t>
            </a:fld>
            <a:endParaRPr lang="en-GB" sz="1000" b="1">
              <a:solidFill>
                <a:srgbClr val="FFFFFF"/>
              </a:solidFill>
            </a:endParaRPr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D7524D85-F887-8B73-2F19-16915CCCD3D1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9326564" y="5832475"/>
            <a:ext cx="8175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E01F38F-0646-4F22-A29E-787A4C3DCBFF}" type="datetime'U''''''''''S''De''&#10;''/''''E''''t''''hen''''a ''USD'''''')'">
              <a:rPr lang="it-IT" altLang="en-US" sz="1000" b="1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USDe
/Ethena USD)</a:t>
            </a:fld>
            <a:endParaRPr lang="en-GB" sz="1000" b="1">
              <a:solidFill>
                <a:srgbClr val="FFFFFF"/>
              </a:solidFill>
            </a:endParaRPr>
          </a:p>
        </p:txBody>
      </p: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DC0D29E2-37A8-4B32-2C87-1C253E06A865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0310813" y="5832475"/>
            <a:ext cx="10795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31C2EA-1389-465B-A737-AAED10EE6B25}" type="datetime'F''DU''SD &#10;''(F''i''''r''st'' ''Di''''''gital'''' ''U''''SD)'">
              <a:rPr lang="en-GB" altLang="en-US" sz="1000" b="1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DUSD 
(First Digital USD)</a:t>
            </a:fld>
            <a:endParaRPr lang="en-GB" sz="1000" b="1">
              <a:solidFill>
                <a:srgbClr val="FFFFFF"/>
              </a:solidFill>
            </a:endParaRPr>
          </a:p>
        </p:txBody>
      </p:sp>
      <p:sp>
        <p:nvSpPr>
          <p:cNvPr id="100" name="Text Placeholder 2">
            <a:extLst>
              <a:ext uri="{FF2B5EF4-FFF2-40B4-BE49-F238E27FC236}">
                <a16:creationId xmlns:a16="http://schemas.microsoft.com/office/drawing/2014/main" id="{3B47A310-8D19-ED8E-38F8-0FCE55D8671D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3995738" y="5365750"/>
            <a:ext cx="3302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294C7B-83E0-4AFD-B522-732EB1343677}" type="datetime'''''''''''''''''''''''''''''77''''''''''''''''%'''''''''''''">
              <a:rPr lang="en-GB" altLang="en-US" sz="1200" b="1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%</a:t>
            </a:fld>
            <a:endParaRPr lang="en-GB" sz="1200" b="1">
              <a:solidFill>
                <a:srgbClr val="FFFFFF"/>
              </a:solidFill>
            </a:endParaRPr>
          </a:p>
        </p:txBody>
      </p:sp>
      <p:sp>
        <p:nvSpPr>
          <p:cNvPr id="101" name="Text Placeholder 2">
            <a:extLst>
              <a:ext uri="{FF2B5EF4-FFF2-40B4-BE49-F238E27FC236}">
                <a16:creationId xmlns:a16="http://schemas.microsoft.com/office/drawing/2014/main" id="{0B1B5519-0EF5-03C1-D4F3-BE7CBF55C550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5110163" y="5416550"/>
            <a:ext cx="3302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32B4AF4-6100-4C67-AAA8-195DC02C8DD8}" type="datetime'''5''''''9''''''''''''%'''''''''''''''''''''''''''''''">
              <a:rPr lang="en-GB" altLang="en-US" sz="1200" b="1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%</a:t>
            </a:fld>
            <a:endParaRPr lang="en-GB" sz="1200" b="1">
              <a:solidFill>
                <a:srgbClr val="FFFFFF"/>
              </a:solidFill>
            </a:endParaRPr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27705AD8-6AAB-7CA1-674B-D6DDC338B2AC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6226175" y="5456238"/>
            <a:ext cx="3302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5EE9A4-A753-4003-AFE2-23CBB9695FCF}" type="datetime'''''''''4''''''''''''''''''''5''''''''''%'">
              <a:rPr lang="en-GB" altLang="en-US" sz="1200" b="1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%</a:t>
            </a:fld>
            <a:endParaRPr lang="en-GB" sz="1200" b="1">
              <a:solidFill>
                <a:srgbClr val="FFFFFF"/>
              </a:solidFill>
            </a:endParaRPr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181F031A-376B-F2AC-DEB1-A426C6E5FA7D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7340600" y="5480050"/>
            <a:ext cx="3302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01847A9-5A21-426C-80F9-9788440C2A92}" type="datetime'''''''''''''''''''''3''''''''''''''''6''%'''''''''''''''''''''">
              <a:rPr lang="en-GB" altLang="en-US" sz="1200" b="1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%</a:t>
            </a:fld>
            <a:endParaRPr lang="en-GB" sz="1200" b="1">
              <a:solidFill>
                <a:srgbClr val="FFFFFF"/>
              </a:solidFill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96B40227-D6F0-9161-FBDC-C5BE7543301D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8455025" y="5541963"/>
            <a:ext cx="3302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33D0D4-1B97-4CE8-A525-4A0688806BA6}" type="datetime'''''1''''''4''''%'''''''''''''''''''''''''''''''''">
              <a:rPr lang="en-GB" altLang="en-US" sz="1200" b="1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%</a:t>
            </a:fld>
            <a:endParaRPr lang="en-GB" sz="1200" b="1">
              <a:solidFill>
                <a:srgbClr val="FFFFFF"/>
              </a:solidFill>
            </a:endParaRPr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607B82CC-55D2-7874-7784-5C7BE4C1740F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9617075" y="5556250"/>
            <a:ext cx="2349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356E593-F63B-43BE-B558-1FA3C98DBCBB}" type="datetime'''''''''''''''''''''9''''''%'''''''''''''''''''">
              <a:rPr lang="en-GB" altLang="en-US" sz="1200" b="1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%</a:t>
            </a:fld>
            <a:endParaRPr lang="en-GB" sz="1200" b="1">
              <a:solidFill>
                <a:srgbClr val="FFFFFF"/>
              </a:solidFill>
            </a:endParaRPr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AAC756CB-C534-AC9A-8113-ACB78E053C0A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10733088" y="5567363"/>
            <a:ext cx="2349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C94C799-33A2-469E-9A07-258888782A26}" type="datetime'''''''''''''''''''''''''''''''''''''''''''5''''''''%'''''">
              <a:rPr lang="en-GB" altLang="en-US" sz="1200" b="1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endParaRPr lang="en-GB" sz="1200" b="1">
              <a:solidFill>
                <a:srgbClr val="FFFFFF"/>
              </a:solidFill>
            </a:endParaRPr>
          </a:p>
        </p:txBody>
      </p:sp>
      <p:sp>
        <p:nvSpPr>
          <p:cNvPr id="107" name="Arrow: Pentagon 395">
            <a:extLst>
              <a:ext uri="{FF2B5EF4-FFF2-40B4-BE49-F238E27FC236}">
                <a16:creationId xmlns:a16="http://schemas.microsoft.com/office/drawing/2014/main" id="{A143A35A-C9F7-9C38-407C-DA6BBAD84A3A}"/>
              </a:ext>
            </a:extLst>
          </p:cNvPr>
          <p:cNvSpPr/>
          <p:nvPr/>
        </p:nvSpPr>
        <p:spPr>
          <a:xfrm>
            <a:off x="7056904" y="2930977"/>
            <a:ext cx="1398121" cy="810695"/>
          </a:xfrm>
          <a:prstGeom prst="homePlate">
            <a:avLst>
              <a:gd name="adj" fmla="val 0"/>
            </a:avLst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ctr" anchorCtr="0"/>
          <a:lstStyle/>
          <a:p>
            <a:pPr algn="ctr">
              <a:lnSpc>
                <a:spcPct val="90000"/>
              </a:lnSpc>
              <a:buClr>
                <a:srgbClr val="FFE600"/>
              </a:buClr>
            </a:pPr>
            <a:r>
              <a:rPr lang="it-IT" sz="1400" b="1" kern="0">
                <a:solidFill>
                  <a:schemeClr val="bg1"/>
                </a:solidFill>
              </a:rPr>
              <a:t>41% </a:t>
            </a:r>
            <a:r>
              <a:rPr lang="it-IT" sz="1400" i="1" kern="0">
                <a:solidFill>
                  <a:schemeClr val="bg1"/>
                </a:solidFill>
              </a:rPr>
              <a:t>registra un </a:t>
            </a:r>
            <a:r>
              <a:rPr lang="it-IT" sz="1400" i="1" kern="0" err="1">
                <a:solidFill>
                  <a:schemeClr val="bg1"/>
                </a:solidFill>
              </a:rPr>
              <a:t>saving</a:t>
            </a:r>
            <a:r>
              <a:rPr lang="it-IT" sz="1400" i="1" kern="0">
                <a:solidFill>
                  <a:schemeClr val="bg1"/>
                </a:solidFill>
              </a:rPr>
              <a:t> di costo &gt;10%</a:t>
            </a:r>
          </a:p>
        </p:txBody>
      </p:sp>
      <p:sp>
        <p:nvSpPr>
          <p:cNvPr id="108" name="Title 5">
            <a:extLst>
              <a:ext uri="{FF2B5EF4-FFF2-40B4-BE49-F238E27FC236}">
                <a16:creationId xmlns:a16="http://schemas.microsoft.com/office/drawing/2014/main" id="{D200CEAF-9B74-7222-ED93-1CF38CFA1616}"/>
              </a:ext>
            </a:extLst>
          </p:cNvPr>
          <p:cNvSpPr txBox="1">
            <a:spLocks/>
          </p:cNvSpPr>
          <p:nvPr/>
        </p:nvSpPr>
        <p:spPr>
          <a:xfrm>
            <a:off x="485522" y="369888"/>
            <a:ext cx="11413253" cy="45147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600" b="1" i="0" kern="1200">
                <a:solidFill>
                  <a:schemeClr val="tx2"/>
                </a:solidFill>
                <a:latin typeface="EYInterstate Regular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it-IT" sz="2400">
                <a:latin typeface="+mn-lt"/>
              </a:rPr>
              <a:t>Tra gli </a:t>
            </a:r>
            <a:r>
              <a:rPr lang="it-IT" sz="2400">
                <a:solidFill>
                  <a:schemeClr val="tx1"/>
                </a:solidFill>
                <a:latin typeface="+mn-lt"/>
              </a:rPr>
              <a:t>USER</a:t>
            </a:r>
            <a:r>
              <a:rPr lang="it-IT" sz="2400">
                <a:latin typeface="+mn-lt"/>
              </a:rPr>
              <a:t>, le principali applicazioni delle </a:t>
            </a:r>
            <a:r>
              <a:rPr lang="it-IT" sz="2400" err="1">
                <a:latin typeface="+mn-lt"/>
              </a:rPr>
              <a:t>stablecoin</a:t>
            </a:r>
            <a:r>
              <a:rPr lang="it-IT" sz="2400">
                <a:latin typeface="+mn-lt"/>
              </a:rPr>
              <a:t> riguardano i pagamenti cross </a:t>
            </a:r>
            <a:r>
              <a:rPr lang="it-IT" sz="2400" err="1">
                <a:latin typeface="+mn-lt"/>
              </a:rPr>
              <a:t>border</a:t>
            </a:r>
            <a:r>
              <a:rPr lang="it-IT" sz="2400">
                <a:latin typeface="+mn-lt"/>
              </a:rPr>
              <a:t> con il 41% che dichiara un risparmio di costi superiore al 10%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419A5BFA-9238-C14C-813C-8FBFD0ED890A}"/>
              </a:ext>
            </a:extLst>
          </p:cNvPr>
          <p:cNvSpPr txBox="1"/>
          <p:nvPr/>
        </p:nvSpPr>
        <p:spPr>
          <a:xfrm>
            <a:off x="6245704" y="1250535"/>
            <a:ext cx="544099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400" b="1">
                <a:solidFill>
                  <a:schemeClr val="tx2"/>
                </a:solidFill>
              </a:rPr>
              <a:t>PERCENTUALE DI RISPARMIO SUI COSTI REGISTRATO</a:t>
            </a:r>
            <a:endParaRPr lang="it-IT" sz="1400" b="1" i="1">
              <a:solidFill>
                <a:schemeClr val="tx2"/>
              </a:solidFill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D0FB52C7-646C-0971-C530-B6373C5F653B}"/>
              </a:ext>
            </a:extLst>
          </p:cNvPr>
          <p:cNvSpPr txBox="1"/>
          <p:nvPr/>
        </p:nvSpPr>
        <p:spPr>
          <a:xfrm>
            <a:off x="636588" y="5485287"/>
            <a:ext cx="3100388" cy="2862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buClr>
                <a:srgbClr val="FFE600"/>
              </a:buClr>
            </a:pPr>
            <a:r>
              <a:rPr lang="it-IT" sz="1400" b="1" kern="0">
                <a:solidFill>
                  <a:schemeClr val="tx2"/>
                </a:solidFill>
              </a:rPr>
              <a:t>STABLECOIN UTILIZZATE</a:t>
            </a:r>
          </a:p>
        </p:txBody>
      </p:sp>
    </p:spTree>
    <p:extLst>
      <p:ext uri="{BB962C8B-B14F-4D97-AF65-F5344CB8AC3E}">
        <p14:creationId xmlns:p14="http://schemas.microsoft.com/office/powerpoint/2010/main" val="40964387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A50EB6E-95AD-E36A-EF5E-21890BA19CC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it-IT"/>
              <a:t>Le stablecoin e il futuro dei pagamenti digitali | Salone dei pagamenti | 30 ottobre 2025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BD4DED6-564C-15CB-6C52-A57C54D02E3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12</a:t>
            </a:fld>
            <a:endParaRPr lang="en-GB"/>
          </a:p>
        </p:txBody>
      </p:sp>
      <p:sp>
        <p:nvSpPr>
          <p:cNvPr id="7" name="Rounded Rectangle 42">
            <a:extLst>
              <a:ext uri="{FF2B5EF4-FFF2-40B4-BE49-F238E27FC236}">
                <a16:creationId xmlns:a16="http://schemas.microsoft.com/office/drawing/2014/main" id="{E58E8762-760C-C34F-C0F8-B8112434B887}"/>
              </a:ext>
            </a:extLst>
          </p:cNvPr>
          <p:cNvSpPr/>
          <p:nvPr/>
        </p:nvSpPr>
        <p:spPr>
          <a:xfrm>
            <a:off x="485523" y="1261097"/>
            <a:ext cx="3592306" cy="4960800"/>
          </a:xfrm>
          <a:prstGeom prst="roundRect">
            <a:avLst>
              <a:gd name="adj" fmla="val 0"/>
            </a:avLst>
          </a:prstGeom>
          <a:noFill/>
          <a:ln w="12700" cap="flat" cmpd="sng" algn="ctr">
            <a:solidFill>
              <a:schemeClr val="bg1">
                <a:lumMod val="10000"/>
                <a:lumOff val="9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t" anchorCtr="0"/>
          <a:lstStyle/>
          <a:p>
            <a:pPr marL="252000" marR="0" indent="-252000" algn="l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  <a:buSzTx/>
              <a:buFont typeface="Wingdings" pitchFamily="2" charset="2"/>
              <a:buChar char="§"/>
              <a:tabLst/>
            </a:pPr>
            <a:endParaRPr kumimoji="0" lang="it-IT" sz="2000" b="0" i="0" u="none" strike="noStrike" kern="0" cap="none" spc="0" normalizeH="0" baseline="0" noProof="0">
              <a:ln>
                <a:noFill/>
              </a:ln>
              <a:solidFill>
                <a:srgbClr val="1A1A24"/>
              </a:solidFill>
              <a:effectLst/>
              <a:uLnTx/>
              <a:uFillTx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47B614E-0959-2BD4-0844-22D20B47AA45}"/>
              </a:ext>
            </a:extLst>
          </p:cNvPr>
          <p:cNvSpPr txBox="1"/>
          <p:nvPr/>
        </p:nvSpPr>
        <p:spPr>
          <a:xfrm>
            <a:off x="532472" y="1347360"/>
            <a:ext cx="3498408" cy="73866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r>
              <a:rPr lang="it-IT" sz="1400">
                <a:solidFill>
                  <a:schemeClr val="tx2"/>
                </a:solidFill>
              </a:rPr>
              <a:t>PERCEZIONE DEL VANTAGGIO COMPETITIVO DERIVANTE DALL’ADOZIONE DELLE STABLECOIN</a:t>
            </a:r>
            <a:endParaRPr lang="it-IT" sz="1400" b="1" i="1">
              <a:solidFill>
                <a:schemeClr val="tx2"/>
              </a:solidFill>
            </a:endParaRP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3EB93C2C-48E3-BF09-AF4B-E77BAEC4297B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9931489"/>
              </p:ext>
            </p:extLst>
          </p:nvPr>
        </p:nvGraphicFramePr>
        <p:xfrm>
          <a:off x="534988" y="2892425"/>
          <a:ext cx="3406775" cy="1212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C6282B0-BD47-3BFB-CE8D-CBB434376091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634999" y="4065588"/>
            <a:ext cx="7747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B78390-8EB1-4854-B9A0-5F0EEB5AC29E}" type="datetime'S''i'','' ''u''n ''''''''''g''r''an''d''e'' vant''agg''''i''o'">
              <a:rPr lang="en-GB" altLang="en-US" sz="10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i, un grande vantaggio</a:t>
            </a:fld>
            <a:endParaRPr lang="en-GB" sz="1000" b="1">
              <a:solidFill>
                <a:srgbClr val="FFFFFF"/>
              </a:solidFill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8C7F6F1-5B12-9DE3-FF82-5954F5988136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477963" y="4065588"/>
            <a:ext cx="712788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8CEC79-B428-4827-A999-CA7EE540A3D7}" type="datetime'I''n qu''alch''e'''''' ''modo v''a''n''''''t''''''a''ggios''o'">
              <a:rPr lang="it-IT" altLang="en-US" sz="10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In qualche modo vantaggioso</a:t>
            </a:fld>
            <a:endParaRPr lang="en-GB" sz="1000" b="1">
              <a:solidFill>
                <a:srgbClr val="FFFFFF"/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1150501-DD5E-6F1D-1967-80478D52249C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205038" y="4065588"/>
            <a:ext cx="8763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961CC72-5E67-4E14-8EB9-3A76382F806A}" type="datetime'''P''''''robabilm''en''te'''''' n''o''''n vanta''gg''io''s''o'">
              <a:rPr lang="en-GB" altLang="en-US" sz="10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robabilmente non vantaggioso</a:t>
            </a:fld>
            <a:endParaRPr lang="en-GB" sz="1000">
              <a:solidFill>
                <a:srgbClr val="FFFFFF"/>
              </a:solidFill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84BFA5E7-1A6B-EAA7-1A27-61DC9A92EB2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130549" y="4065588"/>
            <a:ext cx="6477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87E169-2649-48E5-99C1-20BFDB90E429}" type="datetime'N''o'','' ''''n''e''''ss''u''''''n ''va''nt''''''''''aggio'">
              <a:rPr lang="en-GB" altLang="en-US" sz="10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, nessun vantaggio</a:t>
            </a:fld>
            <a:endParaRPr lang="en-GB" sz="1000" b="1">
              <a:solidFill>
                <a:srgbClr val="FFFFFF"/>
              </a:solidFill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39412A27-2152-B76A-78D1-98B2BA0A872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904875" y="3694113"/>
            <a:ext cx="2349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741E6C-1C51-4709-A3EB-C44B3E5F9AF1}" type="datetime'''''''''''''9''''''''''''''''''''''''''''''''''''''''%'''">
              <a:rPr lang="en-GB" altLang="en-US" sz="1200" b="1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%</a:t>
            </a:fld>
            <a:endParaRPr lang="en-GB" sz="1200" b="1">
              <a:solidFill>
                <a:srgbClr val="FFFFFF"/>
              </a:solidFill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91C1E85-65F3-29C4-BD88-19ADB2325ED4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668463" y="2767013"/>
            <a:ext cx="3302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65A7FC3-5927-460E-8FCE-083A3A30EA2F}" type="datetime'''''''''''''''''''7''''''''''''''''''8''''''''''''%'''">
              <a:rPr lang="en-GB" altLang="en-US" sz="1200" b="1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%</a:t>
            </a:fld>
            <a:endParaRPr lang="en-GB" sz="1200" b="1">
              <a:solidFill>
                <a:srgbClr val="FFFFFF"/>
              </a:solidFill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1E129A8F-C12E-6567-6DD4-59DD8D5492B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478088" y="3652838"/>
            <a:ext cx="3302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EE0ECB-B29C-4705-BD43-99E6162BB5BF}" type="datetime'''''''''''''''''''''''''''''''12''''''''''''''''''''%'''''">
              <a:rPr lang="en-GB" altLang="en-US" sz="1200" b="1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%</a:t>
            </a:fld>
            <a:endParaRPr lang="en-GB" sz="1200" b="1">
              <a:solidFill>
                <a:srgbClr val="FFFFFF"/>
              </a:solidFill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6CC5281-50A7-B5F5-832F-3F59D7EF79A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336925" y="3802063"/>
            <a:ext cx="2349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C70857E-3F6D-4311-8382-1F5A4278C52C}" type="datetime'''''''''''''''''''''''''1''''''''''''''%'''">
              <a:rPr lang="en-GB" altLang="en-US" sz="1200" b="1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en-GB" sz="1200" b="1">
              <a:solidFill>
                <a:srgbClr val="FFFFFF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3D5D991-DB68-8301-E448-3308AA62FED9}"/>
              </a:ext>
            </a:extLst>
          </p:cNvPr>
          <p:cNvSpPr/>
          <p:nvPr/>
        </p:nvSpPr>
        <p:spPr>
          <a:xfrm>
            <a:off x="592862" y="2562225"/>
            <a:ext cx="1597889" cy="2051050"/>
          </a:xfrm>
          <a:prstGeom prst="rect">
            <a:avLst/>
          </a:prstGeom>
          <a:noFill/>
          <a:ln w="12700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t" anchorCtr="0"/>
          <a:lstStyle/>
          <a:p>
            <a:pPr marL="252000" marR="0" indent="-252000" algn="l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  <a:buSzTx/>
              <a:buFont typeface="Wingdings" pitchFamily="2" charset="2"/>
              <a:buChar char="§"/>
              <a:tabLst/>
            </a:pPr>
            <a:endParaRPr kumimoji="0" lang="en-GB" sz="2000" b="0" i="0" u="none" strike="noStrike" kern="0" cap="none" spc="0" normalizeH="0" baseline="0" noProof="0" err="1">
              <a:ln>
                <a:noFill/>
              </a:ln>
              <a:solidFill>
                <a:srgbClr val="1A1A24"/>
              </a:solidFill>
              <a:effectLst/>
              <a:uLnTx/>
              <a:uFillTx/>
            </a:endParaRPr>
          </a:p>
        </p:txBody>
      </p:sp>
      <p:sp>
        <p:nvSpPr>
          <p:cNvPr id="19" name="Rounded Rectangle 42">
            <a:extLst>
              <a:ext uri="{FF2B5EF4-FFF2-40B4-BE49-F238E27FC236}">
                <a16:creationId xmlns:a16="http://schemas.microsoft.com/office/drawing/2014/main" id="{C9E19F49-0BF1-A851-ED9C-DE9290ACC13E}"/>
              </a:ext>
            </a:extLst>
          </p:cNvPr>
          <p:cNvSpPr/>
          <p:nvPr/>
        </p:nvSpPr>
        <p:spPr>
          <a:xfrm>
            <a:off x="4393136" y="1261097"/>
            <a:ext cx="3563766" cy="4960800"/>
          </a:xfrm>
          <a:prstGeom prst="roundRect">
            <a:avLst>
              <a:gd name="adj" fmla="val 0"/>
            </a:avLst>
          </a:prstGeom>
          <a:noFill/>
          <a:ln w="12700" cap="flat" cmpd="sng" algn="ctr">
            <a:solidFill>
              <a:schemeClr val="bg1">
                <a:lumMod val="10000"/>
                <a:lumOff val="9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t" anchorCtr="0"/>
          <a:lstStyle/>
          <a:p>
            <a:pPr marL="252000" marR="0" indent="-252000" algn="l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  <a:buSzTx/>
              <a:buFont typeface="Wingdings" pitchFamily="2" charset="2"/>
              <a:buChar char="§"/>
              <a:tabLst/>
            </a:pPr>
            <a:endParaRPr kumimoji="0" lang="it-IT" sz="2000" b="0" i="0" u="none" strike="noStrike" kern="0" cap="none" spc="0" normalizeH="0" baseline="0" noProof="0">
              <a:ln>
                <a:noFill/>
              </a:ln>
              <a:solidFill>
                <a:srgbClr val="1A1A24"/>
              </a:solidFill>
              <a:effectLst/>
              <a:uLnTx/>
              <a:uFillTx/>
            </a:endParaRPr>
          </a:p>
        </p:txBody>
      </p:sp>
      <p:sp>
        <p:nvSpPr>
          <p:cNvPr id="20" name="Rounded Rectangle 42">
            <a:extLst>
              <a:ext uri="{FF2B5EF4-FFF2-40B4-BE49-F238E27FC236}">
                <a16:creationId xmlns:a16="http://schemas.microsoft.com/office/drawing/2014/main" id="{EB7AFA60-B83E-3628-FDD0-AA0C9C1FE946}"/>
              </a:ext>
            </a:extLst>
          </p:cNvPr>
          <p:cNvSpPr/>
          <p:nvPr/>
        </p:nvSpPr>
        <p:spPr>
          <a:xfrm>
            <a:off x="8321675" y="1261097"/>
            <a:ext cx="3498850" cy="4960800"/>
          </a:xfrm>
          <a:prstGeom prst="roundRect">
            <a:avLst>
              <a:gd name="adj" fmla="val 0"/>
            </a:avLst>
          </a:prstGeom>
          <a:noFill/>
          <a:ln w="12700" cap="flat" cmpd="sng" algn="ctr">
            <a:solidFill>
              <a:schemeClr val="bg1">
                <a:lumMod val="10000"/>
                <a:lumOff val="9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t" anchorCtr="0"/>
          <a:lstStyle/>
          <a:p>
            <a:pPr marL="252000" marR="0" indent="-252000" algn="l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  <a:buSzTx/>
              <a:buFont typeface="Wingdings" pitchFamily="2" charset="2"/>
              <a:buChar char="§"/>
              <a:tabLst/>
            </a:pPr>
            <a:endParaRPr kumimoji="0" lang="it-IT" sz="2000" b="0" i="0" u="none" strike="noStrike" kern="0" cap="none" spc="0" normalizeH="0" baseline="0" noProof="0">
              <a:ln>
                <a:noFill/>
              </a:ln>
              <a:solidFill>
                <a:srgbClr val="1A1A24"/>
              </a:solidFill>
              <a:effectLst/>
              <a:uLnTx/>
              <a:uFillTx/>
            </a:endParaRPr>
          </a:p>
        </p:txBody>
      </p: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73AECF96-ADC7-B73E-83AD-8EBEBD6C4C0F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538153251"/>
              </p:ext>
            </p:extLst>
          </p:nvPr>
        </p:nvGraphicFramePr>
        <p:xfrm>
          <a:off x="8370888" y="2892425"/>
          <a:ext cx="3406775" cy="1212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586FB22E-EA99-9DB7-07E9-6E4BE4F1B36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662989" y="4065588"/>
            <a:ext cx="3905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F2D6F2-6EC5-4F7A-8B57-DC4D2E4A1E2E}" type="datetime'''''C''''''r''''''''''i''''t''''''i''c''''o'''''''''''''''">
              <a:rPr lang="en-GB" altLang="en-US" sz="10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ritico</a:t>
            </a:fld>
            <a:endParaRPr lang="en-GB" sz="1000" b="1">
              <a:solidFill>
                <a:srgbClr val="FFFFFF"/>
              </a:solidFill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D7E77989-C8B4-00D9-1ABF-87227E41A0C8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9342438" y="4065588"/>
            <a:ext cx="655638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F14ED9-29B4-4719-A05E-EF118E41280F}" type="datetime'Imp''or''tante'''''' m''a n''o''''''''n ''v''inc''ol''''ante'">
              <a:rPr lang="it-IT" altLang="en-US" sz="10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Importante ma non vincolante</a:t>
            </a:fld>
            <a:endParaRPr lang="en-GB" sz="1000" b="1">
              <a:solidFill>
                <a:srgbClr val="FFFFFF"/>
              </a:solidFill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8965D5B7-8AD3-240E-D1B4-490C638BDAE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0225088" y="4065588"/>
            <a:ext cx="508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61ABB6A-ED9C-4C95-A0A2-3A758CDCE32B}" type="datetime'''''A''''p''''er''''to ''a ''''n''''uov''i'''' p''rov''ide''r'">
              <a:rPr lang="en-GB" altLang="en-US" sz="10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perto a nuovi provider</a:t>
            </a:fld>
            <a:endParaRPr lang="en-GB" sz="1000">
              <a:solidFill>
                <a:srgbClr val="FFFFFF"/>
              </a:solidFill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1E06023C-EA1B-3AEB-0B8F-2710AEAC161B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0977564" y="4065588"/>
            <a:ext cx="6270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EBF0F8-B31E-4ED9-9DCF-DB902DCFB95E}" type="datetime'''''''No''''''''n'' ''''''s''i''c''''''''uro'''''''''''''">
              <a:rPr lang="en-GB" altLang="en-US" sz="10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n sicuro</a:t>
            </a:fld>
            <a:endParaRPr lang="en-GB" sz="1000" b="1">
              <a:solidFill>
                <a:srgbClr val="FFFFFF"/>
              </a:solidFill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A9D2AB18-601E-51F7-0B94-A81CD46FAF5E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8693150" y="2792413"/>
            <a:ext cx="3302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17657F5-2EAE-4A94-BCC4-DA2769237C4B}" type="datetime'''''''''''''''''''''''''4''''''''''''0''''''''%'">
              <a:rPr lang="en-GB" altLang="en-US" sz="1200" b="1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%</a:t>
            </a:fld>
            <a:endParaRPr lang="en-GB" sz="1200" b="1">
              <a:solidFill>
                <a:schemeClr val="tx1"/>
              </a:solidFill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27966FCB-0651-77D7-B97A-22F7895011A4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9504363" y="2767013"/>
            <a:ext cx="3302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10CFDF-B99E-42E0-90A5-04C6A264EBC0}" type="datetime'''''''''''''''''''4''''''''''1''''%'''''''''''''''''">
              <a:rPr lang="en-GB" altLang="en-US" sz="1200" b="1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%</a:t>
            </a:fld>
            <a:endParaRPr lang="en-GB" sz="1200" b="1">
              <a:solidFill>
                <a:schemeClr val="tx1"/>
              </a:solidFill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721EFF10-2A5B-1C6A-B9B3-9716970A316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0361613" y="3635375"/>
            <a:ext cx="2349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DE2C8B-4345-4888-ABA6-7A80FBBFFDE9}" type="datetime'''''''''7''''''''''''''''''''''''''''''%'''">
              <a:rPr lang="en-GB" altLang="en-US" sz="1200" b="1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%</a:t>
            </a:fld>
            <a:endParaRPr lang="en-GB" sz="1200" b="1">
              <a:solidFill>
                <a:schemeClr val="tx1"/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929648D8-3AC6-0FF3-9C88-B0CA961B2F5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1125200" y="3508375"/>
            <a:ext cx="3302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B97B24-B833-4E70-B7F8-5633CEE16E2F}" type="datetime'''''''''''''''1''''''''''2''''''''''''''''''''''''''%'''''">
              <a:rPr lang="en-GB" altLang="en-US" sz="1200" b="1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%</a:t>
            </a:fld>
            <a:endParaRPr lang="en-GB" sz="1200" b="1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E62BC4D-46D1-0DF0-8B9B-AE500E43AF35}"/>
              </a:ext>
            </a:extLst>
          </p:cNvPr>
          <p:cNvSpPr/>
          <p:nvPr/>
        </p:nvSpPr>
        <p:spPr>
          <a:xfrm>
            <a:off x="8440627" y="2562225"/>
            <a:ext cx="1611425" cy="2051050"/>
          </a:xfrm>
          <a:prstGeom prst="rect">
            <a:avLst/>
          </a:prstGeom>
          <a:noFill/>
          <a:ln w="12700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t" anchorCtr="0"/>
          <a:lstStyle/>
          <a:p>
            <a:pPr marL="252000" marR="0" indent="-252000" algn="l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  <a:buSzTx/>
              <a:buFont typeface="Wingdings" pitchFamily="2" charset="2"/>
              <a:buChar char="§"/>
              <a:tabLst/>
            </a:pPr>
            <a:endParaRPr kumimoji="0" lang="en-GB" sz="2000" b="0" i="0" u="none" strike="noStrike" kern="0" cap="none" spc="0" normalizeH="0" baseline="0" noProof="0" err="1">
              <a:ln>
                <a:noFill/>
              </a:ln>
              <a:solidFill>
                <a:srgbClr val="1A1A24"/>
              </a:solidFill>
              <a:effectLst/>
              <a:uLnTx/>
              <a:uFillTx/>
            </a:endParaRPr>
          </a:p>
        </p:txBody>
      </p:sp>
      <p:sp>
        <p:nvSpPr>
          <p:cNvPr id="31" name="Title 5">
            <a:extLst>
              <a:ext uri="{FF2B5EF4-FFF2-40B4-BE49-F238E27FC236}">
                <a16:creationId xmlns:a16="http://schemas.microsoft.com/office/drawing/2014/main" id="{A8ED5391-5083-CD9A-11AC-974FF615EC91}"/>
              </a:ext>
            </a:extLst>
          </p:cNvPr>
          <p:cNvSpPr txBox="1">
            <a:spLocks/>
          </p:cNvSpPr>
          <p:nvPr/>
        </p:nvSpPr>
        <p:spPr>
          <a:xfrm>
            <a:off x="485522" y="369888"/>
            <a:ext cx="11497371" cy="45147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600" b="1" i="0" kern="1200">
                <a:solidFill>
                  <a:schemeClr val="tx2"/>
                </a:solidFill>
                <a:latin typeface="EYInterstate Regular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it-IT" sz="2400">
                <a:solidFill>
                  <a:schemeClr val="tx1"/>
                </a:solidFill>
                <a:latin typeface="+mn-lt"/>
              </a:rPr>
              <a:t>CORPORATE | </a:t>
            </a:r>
            <a:r>
              <a:rPr lang="it-IT" sz="2400">
                <a:latin typeface="+mn-lt"/>
              </a:rPr>
              <a:t>L’87% delle corporate ritiene che le </a:t>
            </a:r>
            <a:r>
              <a:rPr lang="it-IT" sz="2400" err="1">
                <a:latin typeface="+mn-lt"/>
              </a:rPr>
              <a:t>stablecoin</a:t>
            </a:r>
            <a:r>
              <a:rPr lang="it-IT" sz="2400">
                <a:latin typeface="+mn-lt"/>
              </a:rPr>
              <a:t> possano rappresentare un vantaggio competitivo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E6C4155-D7E9-DEC8-CD81-3F0DA5F3326D}"/>
              </a:ext>
            </a:extLst>
          </p:cNvPr>
          <p:cNvSpPr txBox="1"/>
          <p:nvPr/>
        </p:nvSpPr>
        <p:spPr>
          <a:xfrm>
            <a:off x="4442602" y="1384550"/>
            <a:ext cx="3498408" cy="52322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r>
              <a:rPr lang="it-IT" sz="1400">
                <a:solidFill>
                  <a:schemeClr val="tx2"/>
                </a:solidFill>
              </a:rPr>
              <a:t>ASPETTI DI INTERESSE NELL’UTILIZZO DI STABLECOIN </a:t>
            </a:r>
            <a:endParaRPr lang="it-IT" sz="1400" b="1" i="1">
              <a:solidFill>
                <a:schemeClr val="tx2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C1254D7-E6EA-0345-CEBC-D9D2948EF825}"/>
              </a:ext>
            </a:extLst>
          </p:cNvPr>
          <p:cNvSpPr txBox="1"/>
          <p:nvPr/>
        </p:nvSpPr>
        <p:spPr>
          <a:xfrm>
            <a:off x="8364884" y="1327487"/>
            <a:ext cx="3498408" cy="95410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r>
              <a:rPr lang="it-IT" sz="1400">
                <a:solidFill>
                  <a:schemeClr val="tx2"/>
                </a:solidFill>
              </a:rPr>
              <a:t>IMPORTANZA DEL SUPPORTO AI PAGAMENTI IN STABLECOIN DA PARTE DELLA FINANCIAL INSTITUTION ATTUALE</a:t>
            </a:r>
            <a:endParaRPr lang="it-IT" sz="1400" b="1" i="1">
              <a:solidFill>
                <a:schemeClr val="tx2"/>
              </a:solidFill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CF52AEA-055C-C2CE-8988-52316255BD96}"/>
              </a:ext>
            </a:extLst>
          </p:cNvPr>
          <p:cNvGrpSpPr/>
          <p:nvPr/>
        </p:nvGrpSpPr>
        <p:grpSpPr>
          <a:xfrm>
            <a:off x="462401" y="4769240"/>
            <a:ext cx="693209" cy="673429"/>
            <a:chOff x="6671472" y="2380950"/>
            <a:chExt cx="984855" cy="1226347"/>
          </a:xfrm>
        </p:grpSpPr>
        <p:graphicFrame>
          <p:nvGraphicFramePr>
            <p:cNvPr id="35" name="Chart 34">
              <a:extLst>
                <a:ext uri="{FF2B5EF4-FFF2-40B4-BE49-F238E27FC236}">
                  <a16:creationId xmlns:a16="http://schemas.microsoft.com/office/drawing/2014/main" id="{5C92A015-B8CA-992A-A222-F90E22D47EAD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43090545"/>
                </p:ext>
              </p:extLst>
            </p:nvPr>
          </p:nvGraphicFramePr>
          <p:xfrm>
            <a:off x="6671472" y="2380950"/>
            <a:ext cx="984855" cy="122634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3"/>
            </a:graphicData>
          </a:graphic>
        </p:graphicFrame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FAF16EDD-CA31-2387-98F5-5F06B300CC0B}"/>
                </a:ext>
              </a:extLst>
            </p:cNvPr>
            <p:cNvSpPr txBox="1"/>
            <p:nvPr/>
          </p:nvSpPr>
          <p:spPr>
            <a:xfrm>
              <a:off x="6817134" y="2748297"/>
              <a:ext cx="664419" cy="47640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it-IT" sz="1100" b="1">
                  <a:solidFill>
                    <a:schemeClr val="tx2"/>
                  </a:solidFill>
                </a:rPr>
                <a:t>54%</a:t>
              </a:r>
              <a:endParaRPr lang="it-IT" sz="1100"/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97875F56-64CD-A567-DB74-FDF96299CC8B}"/>
              </a:ext>
            </a:extLst>
          </p:cNvPr>
          <p:cNvSpPr txBox="1"/>
          <p:nvPr/>
        </p:nvSpPr>
        <p:spPr>
          <a:xfrm>
            <a:off x="986652" y="4785972"/>
            <a:ext cx="296602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it-IT" sz="1200"/>
              <a:t>Organizzazioni che </a:t>
            </a:r>
            <a:r>
              <a:rPr lang="it-IT" sz="1200" b="1"/>
              <a:t>prevedono di adottare </a:t>
            </a:r>
            <a:r>
              <a:rPr lang="it-IT" sz="1200" b="1" err="1"/>
              <a:t>stablecoin</a:t>
            </a:r>
            <a:r>
              <a:rPr lang="it-IT" sz="1200" b="1"/>
              <a:t> entro i prossimi 12 mesi</a:t>
            </a:r>
            <a:endParaRPr lang="it-IT" sz="1200"/>
          </a:p>
        </p:txBody>
      </p:sp>
      <p:graphicFrame>
        <p:nvGraphicFramePr>
          <p:cNvPr id="38" name="Chart 37">
            <a:extLst>
              <a:ext uri="{FF2B5EF4-FFF2-40B4-BE49-F238E27FC236}">
                <a16:creationId xmlns:a16="http://schemas.microsoft.com/office/drawing/2014/main" id="{6335BF0D-CC4B-5626-59BD-F8E088CF2E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4354152"/>
              </p:ext>
            </p:extLst>
          </p:nvPr>
        </p:nvGraphicFramePr>
        <p:xfrm>
          <a:off x="462401" y="5432303"/>
          <a:ext cx="693209" cy="6734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>
        <p:nvSpPr>
          <p:cNvPr id="39" name="TextBox 38">
            <a:extLst>
              <a:ext uri="{FF2B5EF4-FFF2-40B4-BE49-F238E27FC236}">
                <a16:creationId xmlns:a16="http://schemas.microsoft.com/office/drawing/2014/main" id="{62686DAD-A230-DE09-6973-AED760370F0C}"/>
              </a:ext>
            </a:extLst>
          </p:cNvPr>
          <p:cNvSpPr txBox="1"/>
          <p:nvPr/>
        </p:nvSpPr>
        <p:spPr>
          <a:xfrm>
            <a:off x="575596" y="5634026"/>
            <a:ext cx="46766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100" b="1">
                <a:solidFill>
                  <a:schemeClr val="tx2"/>
                </a:solidFill>
              </a:rPr>
              <a:t>81%</a:t>
            </a:r>
            <a:endParaRPr lang="it-IT" sz="110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CB103B0-A572-76E5-5316-F3B301D3DE4C}"/>
              </a:ext>
            </a:extLst>
          </p:cNvPr>
          <p:cNvSpPr txBox="1"/>
          <p:nvPr/>
        </p:nvSpPr>
        <p:spPr>
          <a:xfrm>
            <a:off x="986652" y="5529015"/>
            <a:ext cx="296602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it-IT" sz="1200" b="1"/>
              <a:t>Organizzazioni</a:t>
            </a:r>
            <a:r>
              <a:rPr lang="it-IT" sz="1200"/>
              <a:t> che stanno valutando il </a:t>
            </a:r>
            <a:r>
              <a:rPr lang="it-IT" sz="1200" b="1"/>
              <a:t>ROI dell’adozione delle </a:t>
            </a:r>
            <a:r>
              <a:rPr lang="it-IT" sz="1200" b="1" err="1"/>
              <a:t>stablecoin</a:t>
            </a:r>
            <a:endParaRPr lang="it-IT" sz="1200"/>
          </a:p>
        </p:txBody>
      </p:sp>
      <p:graphicFrame>
        <p:nvGraphicFramePr>
          <p:cNvPr id="41" name="Chart 40">
            <a:extLst>
              <a:ext uri="{FF2B5EF4-FFF2-40B4-BE49-F238E27FC236}">
                <a16:creationId xmlns:a16="http://schemas.microsoft.com/office/drawing/2014/main" id="{FD78BCE2-B068-50E3-C036-978D9BBA6D65}"/>
              </a:ext>
            </a:extLst>
          </p:cNvPr>
          <p:cNvGraphicFramePr/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044827371"/>
              </p:ext>
            </p:extLst>
          </p:nvPr>
        </p:nvGraphicFramePr>
        <p:xfrm>
          <a:off x="4419600" y="2892425"/>
          <a:ext cx="3476625" cy="1212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9B1EAB2A-E1BE-5AE9-C57A-5420C743682B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545013" y="4065588"/>
            <a:ext cx="5762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54BC302-70F5-4E77-B1CF-3BC814AA6F32}" type="datetime'Ridu''''''''zi''''o''''''n''''''''e c''''o''st''i'''''''''''''">
              <a:rPr lang="en-GB" altLang="en-US" sz="10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iduzione costi</a:t>
            </a:fld>
            <a:endParaRPr lang="en-GB" sz="1000" b="1">
              <a:solidFill>
                <a:srgbClr val="FFFFFF"/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53A22BA2-32D1-785A-DE9C-9C037F3DB459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181600" y="4065588"/>
            <a:ext cx="627063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4A5FAD-EB83-46C9-AC60-A8B477891033}" type="datetime'''''''P''ag''ame''''''nti ''cro''''ss bo''''r''d''''er'''''">
              <a:rPr lang="it-IT" altLang="en-US" sz="10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agamenti cross border</a:t>
            </a:fld>
            <a:endParaRPr lang="en-GB" sz="1000" b="1">
              <a:solidFill>
                <a:srgbClr val="FFFFFF"/>
              </a:solidFill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45635BCF-2428-A924-5903-E5B9C2673F31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821363" y="4065588"/>
            <a:ext cx="66992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F92EE9-53B3-44D0-9958-0E76BFD68CFA}" type="datetime'''''''Se''''tt''''l''''''''''''em''e''''n''''''t 2''4''''/7'''">
              <a:rPr lang="en-GB" altLang="en-US" sz="10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ttlement 24/7</a:t>
            </a:fld>
            <a:endParaRPr lang="en-GB" sz="1000">
              <a:solidFill>
                <a:srgbClr val="FFFFFF"/>
              </a:solidFill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3E3E226C-FCE2-6CA5-B52B-AB5E15F5BBFB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6569075" y="4065588"/>
            <a:ext cx="50323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7136C5-B588-47E6-A289-24A95936EB72}" type="datetime'S''tre''a''''m'' d''''''i r''i''''ca''''''v''''''''''o'''''">
              <a:rPr lang="en-GB" altLang="en-US" sz="10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tream di ricavo</a:t>
            </a:fld>
            <a:endParaRPr lang="en-GB" sz="1000" b="1">
              <a:solidFill>
                <a:srgbClr val="FFFFFF"/>
              </a:solidFill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3F6DA6A4-6E74-C0CB-6876-F3DFAC307802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667250" y="2767013"/>
            <a:ext cx="3302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EB24C6-1B31-4C08-BB4B-831167D5F39A}" type="datetime'''''''''''''''''''''''''5''''''''''''''''''''''''2''''''%'''">
              <a:rPr lang="en-GB" altLang="en-US" sz="1200" b="1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%</a:t>
            </a:fld>
            <a:endParaRPr lang="en-GB" sz="1200" b="1">
              <a:solidFill>
                <a:srgbClr val="FFFFFF"/>
              </a:solidFill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08B69367-78CE-F136-4B15-874652214152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329238" y="2908300"/>
            <a:ext cx="3302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D9B0E9C-2943-43F3-AE98-2D2BF86AC9F5}" type="datetime'''''''4''''''''''''''''''5''''''''''%'''''">
              <a:rPr lang="en-GB" altLang="en-US" sz="1200" b="1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%</a:t>
            </a:fld>
            <a:endParaRPr lang="en-GB" sz="1200" b="1">
              <a:solidFill>
                <a:srgbClr val="FFFFFF"/>
              </a:solidFill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A356E6DE-E31B-E685-BE45-F2CCB986DDE9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5991225" y="3128963"/>
            <a:ext cx="3302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7688DD-68B2-4316-9117-BA27D8F2A2AE}" type="datetime'3''''''4''''''%'''''''''''''''''''''''''''''''">
              <a:rPr lang="en-GB" altLang="en-US" sz="1200" b="1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%</a:t>
            </a:fld>
            <a:endParaRPr lang="en-GB" sz="1200" b="1">
              <a:solidFill>
                <a:srgbClr val="FFFFFF"/>
              </a:solidFill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249E0AB5-28BE-52B4-4B67-68662938E40A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6654800" y="3230563"/>
            <a:ext cx="3302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048C421-2D6E-4127-A83D-EE9B285059AF}" type="datetime'2''''''''''9''''''''''''''''''''%'''''">
              <a:rPr lang="en-GB" altLang="en-US" sz="1200" b="1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%</a:t>
            </a:fld>
            <a:endParaRPr lang="en-GB" sz="1200" b="1">
              <a:solidFill>
                <a:srgbClr val="FFFFFF"/>
              </a:solidFill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86123742-D84B-B0AF-3FDC-2DC9AAAC58FF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107238" y="4065588"/>
            <a:ext cx="7508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4CD0A1-EA26-4E69-B5C1-978EEA270C03}" type="datetime'''''''T''''''''ras''p''''''a''''''''''''''r''''e''''n''za'">
              <a:rPr lang="en-GB" altLang="en-US" sz="10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rasparenza</a:t>
            </a:fld>
            <a:endParaRPr lang="en-GB" sz="1000">
              <a:solidFill>
                <a:srgbClr val="FFFFFF"/>
              </a:solidFill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77EA38A3-B7B1-833E-4523-6E5AFC61B4DE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7316788" y="3230563"/>
            <a:ext cx="3302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A3F476F-BDDF-4EB4-AD97-E166E19E5CD3}" type="datetime'''2''''''''''''''''''''''''''''''''''9''''''''''''''''''%'">
              <a:rPr lang="en-GB" altLang="en-US" sz="1200" b="1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%</a:t>
            </a:fld>
            <a:endParaRPr lang="en-GB" sz="1200" b="1">
              <a:solidFill>
                <a:srgbClr val="FFFFFF"/>
              </a:solidFill>
            </a:endParaRP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6DB8179-5091-C2C9-6418-15BA383EE09C}"/>
              </a:ext>
            </a:extLst>
          </p:cNvPr>
          <p:cNvGrpSpPr/>
          <p:nvPr/>
        </p:nvGrpSpPr>
        <p:grpSpPr>
          <a:xfrm>
            <a:off x="4417801" y="4769240"/>
            <a:ext cx="693209" cy="673429"/>
            <a:chOff x="6671472" y="2380950"/>
            <a:chExt cx="984855" cy="1226347"/>
          </a:xfrm>
        </p:grpSpPr>
        <p:graphicFrame>
          <p:nvGraphicFramePr>
            <p:cNvPr id="53" name="Chart 52">
              <a:extLst>
                <a:ext uri="{FF2B5EF4-FFF2-40B4-BE49-F238E27FC236}">
                  <a16:creationId xmlns:a16="http://schemas.microsoft.com/office/drawing/2014/main" id="{C25B8D3F-834A-8367-444C-4C4E7FCB7B00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953587727"/>
                </p:ext>
              </p:extLst>
            </p:nvPr>
          </p:nvGraphicFramePr>
          <p:xfrm>
            <a:off x="6671472" y="2380950"/>
            <a:ext cx="984855" cy="122634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6"/>
            </a:graphicData>
          </a:graphic>
        </p:graphicFrame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DF311CFA-0ED9-925C-4DA4-247712D9E271}"/>
                </a:ext>
              </a:extLst>
            </p:cNvPr>
            <p:cNvSpPr txBox="1"/>
            <p:nvPr/>
          </p:nvSpPr>
          <p:spPr>
            <a:xfrm>
              <a:off x="6817134" y="2748297"/>
              <a:ext cx="664419" cy="47640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it-IT" sz="1100" b="1">
                  <a:solidFill>
                    <a:schemeClr val="tx2"/>
                  </a:solidFill>
                </a:rPr>
                <a:t>77%</a:t>
              </a:r>
              <a:endParaRPr lang="it-IT" sz="1100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:a16="http://schemas.microsoft.com/office/drawing/2014/main" id="{E64B10BD-A74D-35C3-4687-DFB5015AB5D4}"/>
              </a:ext>
            </a:extLst>
          </p:cNvPr>
          <p:cNvSpPr txBox="1"/>
          <p:nvPr/>
        </p:nvSpPr>
        <p:spPr>
          <a:xfrm>
            <a:off x="4942052" y="4785972"/>
            <a:ext cx="296602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it-IT" sz="1200"/>
              <a:t>Organizzazioni che individua nei pagamenti cross-</a:t>
            </a:r>
            <a:r>
              <a:rPr lang="it-IT" sz="1200" err="1"/>
              <a:t>border</a:t>
            </a:r>
            <a:r>
              <a:rPr lang="it-IT" sz="1200"/>
              <a:t> il principale caso d’uso</a:t>
            </a:r>
          </a:p>
        </p:txBody>
      </p:sp>
      <p:graphicFrame>
        <p:nvGraphicFramePr>
          <p:cNvPr id="56" name="Chart 55">
            <a:extLst>
              <a:ext uri="{FF2B5EF4-FFF2-40B4-BE49-F238E27FC236}">
                <a16:creationId xmlns:a16="http://schemas.microsoft.com/office/drawing/2014/main" id="{2C9C969C-5D85-2C68-EAD4-E3010464F61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93080433"/>
              </p:ext>
            </p:extLst>
          </p:nvPr>
        </p:nvGraphicFramePr>
        <p:xfrm>
          <a:off x="4417801" y="5432303"/>
          <a:ext cx="693209" cy="6734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>
        <p:nvSpPr>
          <p:cNvPr id="57" name="TextBox 56">
            <a:extLst>
              <a:ext uri="{FF2B5EF4-FFF2-40B4-BE49-F238E27FC236}">
                <a16:creationId xmlns:a16="http://schemas.microsoft.com/office/drawing/2014/main" id="{75C10818-7476-EEAC-939E-667F3C3488A7}"/>
              </a:ext>
            </a:extLst>
          </p:cNvPr>
          <p:cNvSpPr txBox="1"/>
          <p:nvPr/>
        </p:nvSpPr>
        <p:spPr>
          <a:xfrm>
            <a:off x="4530996" y="5634026"/>
            <a:ext cx="46766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100" b="1">
                <a:solidFill>
                  <a:schemeClr val="tx2"/>
                </a:solidFill>
              </a:rPr>
              <a:t>49%</a:t>
            </a:r>
            <a:endParaRPr lang="it-IT" sz="1100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B85CCD38-89CD-27CD-5AB8-B801440BBB85}"/>
              </a:ext>
            </a:extLst>
          </p:cNvPr>
          <p:cNvSpPr txBox="1"/>
          <p:nvPr/>
        </p:nvSpPr>
        <p:spPr>
          <a:xfrm>
            <a:off x="4942052" y="5529015"/>
            <a:ext cx="296602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it-IT" sz="1200" b="1"/>
              <a:t>Organizzazioni</a:t>
            </a:r>
            <a:r>
              <a:rPr lang="it-IT" sz="1200"/>
              <a:t> che valuta l’accettazione dei pagamenti business cross </a:t>
            </a:r>
            <a:r>
              <a:rPr lang="it-IT" sz="1200" err="1"/>
              <a:t>border</a:t>
            </a:r>
            <a:endParaRPr lang="it-IT" sz="1200"/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7180B5E9-E40E-CC14-0AB5-50658F438D22}"/>
              </a:ext>
            </a:extLst>
          </p:cNvPr>
          <p:cNvGrpSpPr/>
          <p:nvPr/>
        </p:nvGrpSpPr>
        <p:grpSpPr>
          <a:xfrm>
            <a:off x="8434791" y="4769240"/>
            <a:ext cx="693209" cy="673429"/>
            <a:chOff x="6671472" y="2380950"/>
            <a:chExt cx="984855" cy="1226347"/>
          </a:xfrm>
        </p:grpSpPr>
        <p:graphicFrame>
          <p:nvGraphicFramePr>
            <p:cNvPr id="60" name="Chart 59">
              <a:extLst>
                <a:ext uri="{FF2B5EF4-FFF2-40B4-BE49-F238E27FC236}">
                  <a16:creationId xmlns:a16="http://schemas.microsoft.com/office/drawing/2014/main" id="{FC8D7A06-4145-CA7E-9625-455BACC9F1C5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4207750115"/>
                </p:ext>
              </p:extLst>
            </p:nvPr>
          </p:nvGraphicFramePr>
          <p:xfrm>
            <a:off x="6671472" y="2380950"/>
            <a:ext cx="984855" cy="122634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8"/>
            </a:graphicData>
          </a:graphic>
        </p:graphicFrame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A7FBBABF-763D-0619-670A-9BBD827E3883}"/>
                </a:ext>
              </a:extLst>
            </p:cNvPr>
            <p:cNvSpPr txBox="1"/>
            <p:nvPr/>
          </p:nvSpPr>
          <p:spPr>
            <a:xfrm>
              <a:off x="6817134" y="2748297"/>
              <a:ext cx="664419" cy="47640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it-IT" sz="1100" b="1">
                  <a:solidFill>
                    <a:schemeClr val="tx2"/>
                  </a:solidFill>
                </a:rPr>
                <a:t>63%</a:t>
              </a:r>
              <a:endParaRPr lang="it-IT" sz="1100"/>
            </a:p>
          </p:txBody>
        </p:sp>
      </p:grpSp>
      <p:sp>
        <p:nvSpPr>
          <p:cNvPr id="62" name="TextBox 61">
            <a:extLst>
              <a:ext uri="{FF2B5EF4-FFF2-40B4-BE49-F238E27FC236}">
                <a16:creationId xmlns:a16="http://schemas.microsoft.com/office/drawing/2014/main" id="{A09B2A09-6B45-8FED-20FA-80BED7FA7540}"/>
              </a:ext>
            </a:extLst>
          </p:cNvPr>
          <p:cNvSpPr txBox="1"/>
          <p:nvPr/>
        </p:nvSpPr>
        <p:spPr>
          <a:xfrm>
            <a:off x="8959042" y="4785972"/>
            <a:ext cx="296602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it-IT" sz="1200"/>
              <a:t>Organizzazioni implementerebbero </a:t>
            </a:r>
            <a:r>
              <a:rPr lang="it-IT" sz="1200" err="1"/>
              <a:t>stablecoin</a:t>
            </a:r>
            <a:r>
              <a:rPr lang="it-IT" sz="1200"/>
              <a:t> tramite il proprio istituto bancario</a:t>
            </a:r>
          </a:p>
        </p:txBody>
      </p:sp>
      <p:graphicFrame>
        <p:nvGraphicFramePr>
          <p:cNvPr id="63" name="Chart 62">
            <a:extLst>
              <a:ext uri="{FF2B5EF4-FFF2-40B4-BE49-F238E27FC236}">
                <a16:creationId xmlns:a16="http://schemas.microsoft.com/office/drawing/2014/main" id="{C32BF8D4-7F68-BC4C-60BE-C01C053640B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06749325"/>
              </p:ext>
            </p:extLst>
          </p:nvPr>
        </p:nvGraphicFramePr>
        <p:xfrm>
          <a:off x="8434791" y="5432303"/>
          <a:ext cx="693209" cy="6734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9"/>
          </a:graphicData>
        </a:graphic>
      </p:graphicFrame>
      <p:sp>
        <p:nvSpPr>
          <p:cNvPr id="64" name="TextBox 63">
            <a:extLst>
              <a:ext uri="{FF2B5EF4-FFF2-40B4-BE49-F238E27FC236}">
                <a16:creationId xmlns:a16="http://schemas.microsoft.com/office/drawing/2014/main" id="{3E0A51C2-0735-72FB-C177-6291CA6D21FA}"/>
              </a:ext>
            </a:extLst>
          </p:cNvPr>
          <p:cNvSpPr txBox="1"/>
          <p:nvPr/>
        </p:nvSpPr>
        <p:spPr>
          <a:xfrm>
            <a:off x="8547986" y="5634026"/>
            <a:ext cx="46766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100" b="1">
                <a:solidFill>
                  <a:schemeClr val="tx2"/>
                </a:solidFill>
              </a:rPr>
              <a:t>68%</a:t>
            </a:r>
            <a:endParaRPr lang="it-IT" sz="110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6024B640-0C8F-E8CC-6CC1-06B0AAABDAE1}"/>
              </a:ext>
            </a:extLst>
          </p:cNvPr>
          <p:cNvSpPr txBox="1"/>
          <p:nvPr/>
        </p:nvSpPr>
        <p:spPr>
          <a:xfrm>
            <a:off x="8959042" y="5529015"/>
            <a:ext cx="296602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it-IT" sz="1200"/>
              <a:t>Organizzazioni che utilizzerebbero una </a:t>
            </a:r>
            <a:r>
              <a:rPr lang="it-IT" sz="1200" err="1"/>
              <a:t>stablecoin</a:t>
            </a:r>
            <a:r>
              <a:rPr lang="it-IT" sz="1200"/>
              <a:t> emessa dal proprio istituto bancario</a:t>
            </a:r>
          </a:p>
        </p:txBody>
      </p:sp>
    </p:spTree>
    <p:extLst>
      <p:ext uri="{BB962C8B-B14F-4D97-AF65-F5344CB8AC3E}">
        <p14:creationId xmlns:p14="http://schemas.microsoft.com/office/powerpoint/2010/main" val="40280419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3CB66F-87BE-1B76-F408-E8163818148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it-IT"/>
              <a:t>Le stablecoin e il futuro dei pagamenti digitali | Salone dei pagamenti | 30 ottobre 2025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50CB9B8-AF60-37D2-5EA4-286F92091D2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13</a:t>
            </a:fld>
            <a:endParaRPr lang="en-GB"/>
          </a:p>
        </p:txBody>
      </p:sp>
      <p:sp>
        <p:nvSpPr>
          <p:cNvPr id="7" name="Rounded Rectangle 42">
            <a:extLst>
              <a:ext uri="{FF2B5EF4-FFF2-40B4-BE49-F238E27FC236}">
                <a16:creationId xmlns:a16="http://schemas.microsoft.com/office/drawing/2014/main" id="{B9C861B4-EBA3-8DC0-768F-BCC57994B40A}"/>
              </a:ext>
            </a:extLst>
          </p:cNvPr>
          <p:cNvSpPr/>
          <p:nvPr/>
        </p:nvSpPr>
        <p:spPr>
          <a:xfrm>
            <a:off x="485523" y="1239403"/>
            <a:ext cx="3592306" cy="4962759"/>
          </a:xfrm>
          <a:prstGeom prst="roundRect">
            <a:avLst>
              <a:gd name="adj" fmla="val 0"/>
            </a:avLst>
          </a:prstGeom>
          <a:noFill/>
          <a:ln w="12700" cap="flat" cmpd="sng" algn="ctr">
            <a:solidFill>
              <a:schemeClr val="bg1">
                <a:lumMod val="10000"/>
                <a:lumOff val="9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t" anchorCtr="0"/>
          <a:lstStyle/>
          <a:p>
            <a:pPr marL="252000" marR="0" indent="-252000" algn="l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  <a:buSzTx/>
              <a:buFont typeface="Wingdings" pitchFamily="2" charset="2"/>
              <a:buChar char="§"/>
              <a:tabLst/>
            </a:pPr>
            <a:endParaRPr kumimoji="0" lang="it-IT" sz="2000" b="0" i="0" u="none" strike="noStrike" kern="0" cap="none" spc="0" normalizeH="0" baseline="0" noProof="0">
              <a:ln>
                <a:noFill/>
              </a:ln>
              <a:solidFill>
                <a:srgbClr val="1A1A24"/>
              </a:solidFill>
              <a:effectLst/>
              <a:uLnTx/>
              <a:uFillTx/>
            </a:endParaRPr>
          </a:p>
        </p:txBody>
      </p:sp>
      <p:sp>
        <p:nvSpPr>
          <p:cNvPr id="8" name="Rounded Rectangle 42">
            <a:extLst>
              <a:ext uri="{FF2B5EF4-FFF2-40B4-BE49-F238E27FC236}">
                <a16:creationId xmlns:a16="http://schemas.microsoft.com/office/drawing/2014/main" id="{8D56226B-D2C4-32C0-439C-6E497E29D729}"/>
              </a:ext>
            </a:extLst>
          </p:cNvPr>
          <p:cNvSpPr/>
          <p:nvPr/>
        </p:nvSpPr>
        <p:spPr>
          <a:xfrm>
            <a:off x="4393136" y="1219553"/>
            <a:ext cx="3563766" cy="4982608"/>
          </a:xfrm>
          <a:prstGeom prst="roundRect">
            <a:avLst>
              <a:gd name="adj" fmla="val 0"/>
            </a:avLst>
          </a:prstGeom>
          <a:noFill/>
          <a:ln w="12700" cap="flat" cmpd="sng" algn="ctr">
            <a:solidFill>
              <a:schemeClr val="bg1">
                <a:lumMod val="10000"/>
                <a:lumOff val="9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t" anchorCtr="0"/>
          <a:lstStyle/>
          <a:p>
            <a:pPr marL="252000" marR="0" indent="-252000" algn="l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  <a:buSzTx/>
              <a:buFont typeface="Wingdings" pitchFamily="2" charset="2"/>
              <a:buChar char="§"/>
              <a:tabLst/>
            </a:pPr>
            <a:endParaRPr kumimoji="0" lang="it-IT" sz="2000" b="0" i="0" u="none" strike="noStrike" kern="0" cap="none" spc="0" normalizeH="0" baseline="0" noProof="0">
              <a:ln>
                <a:noFill/>
              </a:ln>
              <a:solidFill>
                <a:srgbClr val="1A1A24"/>
              </a:solidFill>
              <a:effectLst/>
              <a:uLnTx/>
              <a:uFillTx/>
            </a:endParaRPr>
          </a:p>
        </p:txBody>
      </p:sp>
      <p:sp>
        <p:nvSpPr>
          <p:cNvPr id="9" name="Rounded Rectangle 42">
            <a:extLst>
              <a:ext uri="{FF2B5EF4-FFF2-40B4-BE49-F238E27FC236}">
                <a16:creationId xmlns:a16="http://schemas.microsoft.com/office/drawing/2014/main" id="{EF40B56B-41D8-D618-7604-E8F34990B98F}"/>
              </a:ext>
            </a:extLst>
          </p:cNvPr>
          <p:cNvSpPr/>
          <p:nvPr/>
        </p:nvSpPr>
        <p:spPr>
          <a:xfrm>
            <a:off x="8321675" y="1219553"/>
            <a:ext cx="3498850" cy="4983002"/>
          </a:xfrm>
          <a:prstGeom prst="roundRect">
            <a:avLst>
              <a:gd name="adj" fmla="val 0"/>
            </a:avLst>
          </a:prstGeom>
          <a:noFill/>
          <a:ln w="12700" cap="flat" cmpd="sng" algn="ctr">
            <a:solidFill>
              <a:schemeClr val="bg1">
                <a:lumMod val="10000"/>
                <a:lumOff val="9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t" anchorCtr="0"/>
          <a:lstStyle/>
          <a:p>
            <a:pPr marL="252000" marR="0" indent="-252000" algn="l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  <a:buSzTx/>
              <a:buFont typeface="Wingdings" pitchFamily="2" charset="2"/>
              <a:buChar char="§"/>
              <a:tabLst/>
            </a:pPr>
            <a:endParaRPr kumimoji="0" lang="it-IT" sz="2000" b="0" i="0" u="none" strike="noStrike" kern="0" cap="none" spc="0" normalizeH="0" baseline="0" noProof="0">
              <a:ln>
                <a:noFill/>
              </a:ln>
              <a:solidFill>
                <a:srgbClr val="1A1A24"/>
              </a:solidFill>
              <a:effectLst/>
              <a:uLnTx/>
              <a:uFillTx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6079994-4790-E6AA-489D-CE1F4B50C224}"/>
              </a:ext>
            </a:extLst>
          </p:cNvPr>
          <p:cNvSpPr txBox="1"/>
          <p:nvPr/>
        </p:nvSpPr>
        <p:spPr>
          <a:xfrm>
            <a:off x="8321675" y="1239403"/>
            <a:ext cx="349885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>
                <a:solidFill>
                  <a:schemeClr val="tx2"/>
                </a:solidFill>
              </a:rPr>
              <a:t>PERCEZIONE SULLA QUOTA DI PAGAMENTI GLOBALI CHE SARÀ EFFETTUATA TRAMITE STABLECOIN ENTRO IL 2030</a:t>
            </a:r>
            <a:endParaRPr lang="it-IT" sz="1400" i="1">
              <a:solidFill>
                <a:schemeClr val="tx2"/>
              </a:solidFill>
            </a:endParaRP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38210BAA-37CB-AC5B-75AB-52D18BA270B9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9597123"/>
              </p:ext>
            </p:extLst>
          </p:nvPr>
        </p:nvGraphicFramePr>
        <p:xfrm>
          <a:off x="2187575" y="2092325"/>
          <a:ext cx="989013" cy="41132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9"/>
          </a:graphicData>
        </a:graphic>
      </p:graphicFrame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3798EE6-BAC1-23CC-C6C8-8C2FB5FF923F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725488" y="2330450"/>
            <a:ext cx="14430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>
                <a:solidFill>
                  <a:srgbClr val="FFFFFF"/>
                </a:solidFill>
              </a:rPr>
              <a:t>On/off ramp provider</a:t>
            </a:r>
            <a:endParaRPr lang="en-GB" sz="1200" b="1">
              <a:solidFill>
                <a:srgbClr val="FFFFFF"/>
              </a:solidFill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CBCA5C8-5A8B-9FFB-5F0D-2CA94FA23346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58825" y="2824163"/>
            <a:ext cx="14097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D7E2D4A-2A66-4284-888F-C28A92D2A86D}" type="datetime'''W''''''''allet'' ''i''''nf''ra''s''t''r''u''c''''''tu''r''e'">
              <a:rPr lang="it-IT" altLang="en-US" sz="1200" smtClean="0">
                <a:solidFill>
                  <a:srgbClr val="FFFFFF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Wallet infrastructure</a:t>
            </a:fld>
            <a:endParaRPr lang="en-GB" sz="1200" b="1">
              <a:solidFill>
                <a:srgbClr val="FFFFFF"/>
              </a:solidFill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8E75E11-1843-B422-B474-8BC96643FF4B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263650" y="3225800"/>
            <a:ext cx="90487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BA3F64F-F315-45E4-834E-7ABACDA64D2C}" type="datetime'''I''''nves''tem''''ent ''''&#10;''''''''ma''na''''g''eme''''nt'">
              <a:rPr lang="en-GB" altLang="en-US" sz="1200" smtClean="0">
                <a:solidFill>
                  <a:srgbClr val="FFFFFF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Investement 
management</a:t>
            </a:fld>
            <a:endParaRPr lang="en-GB" sz="1200" b="1">
              <a:solidFill>
                <a:srgbClr val="FFFFFF"/>
              </a:solidFill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0A7F12D6-BC32-2B45-6E34-1293FD9DDE7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050925" y="3811588"/>
            <a:ext cx="11176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A2819A5-8768-48A1-9348-0B4D4F3B6D99}" type="datetime'''C''''o''''n''n''et''tiv''''''ità ''A''P''''''''''''''I'''''">
              <a:rPr lang="en-GB" altLang="en-US" sz="1200" smtClean="0">
                <a:solidFill>
                  <a:srgbClr val="FFFFFF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onnettività API</a:t>
            </a:fld>
            <a:endParaRPr lang="en-GB" sz="1200" b="1">
              <a:solidFill>
                <a:srgbClr val="FFFFFF"/>
              </a:solidFill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F05D434-2646-14B3-47C7-BD998B19F48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308100" y="4303713"/>
            <a:ext cx="8604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16CDB7A-5D5A-4251-97E1-A08CCB45FED9}" type="datetime'Pa''''''''''yme''''nt ''''''''''''r''''a''''i''''''''l'''''''">
              <a:rPr lang="en-GB" altLang="en-US" sz="1200" smtClean="0">
                <a:solidFill>
                  <a:srgbClr val="FFFFFF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ayment rail</a:t>
            </a:fld>
            <a:endParaRPr lang="en-GB" sz="1200" b="1">
              <a:solidFill>
                <a:srgbClr val="FFFFFF"/>
              </a:solidFill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D681BD1-9092-F9CD-0153-F1CB8B2BBEE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914400" y="4797425"/>
            <a:ext cx="12541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D8BB6FC-9CFC-4FC2-BFD0-C5889F3D0D98}" type="datetime'''''''Re''se''''rv''''e'''''' c''''u''s''t''o''''''''di''a''n'">
              <a:rPr lang="it-IT" altLang="en-US" sz="1200" smtClean="0">
                <a:solidFill>
                  <a:srgbClr val="FFFFFF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Reserve custodian</a:t>
            </a:fld>
            <a:endParaRPr lang="en-GB" sz="1200" b="1">
              <a:solidFill>
                <a:srgbClr val="FFFFFF"/>
              </a:solidFill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71B90ED-242B-8153-00FD-3A7BC5CD906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960438" y="5291138"/>
            <a:ext cx="12080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804BC5A-C4D6-4A45-AD78-78DF8374BA41}" type="datetime'Liq''''''ui''''''''d''i''ty'''' ''p''ro''v''i''''der'''">
              <a:rPr lang="en-GB" altLang="en-US" sz="1200" smtClean="0">
                <a:solidFill>
                  <a:srgbClr val="FFFFFF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Liquidity provider</a:t>
            </a:fld>
            <a:endParaRPr lang="en-GB" sz="1200" b="1">
              <a:solidFill>
                <a:srgbClr val="FFFFFF"/>
              </a:solidFill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CA655B7F-7CC5-928F-3374-AABB3C035F8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736725" y="5784850"/>
            <a:ext cx="4318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5E59F57-0525-41F1-9E94-E748C9DD7978}" type="datetime'''''''''''''I''''s''''''''''''''''s''u''''e''''''''r'''''''">
              <a:rPr lang="en-GB" altLang="en-US" sz="1200" b="1" smtClean="0">
                <a:solidFill>
                  <a:srgbClr val="FFFFFF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Issuer</a:t>
            </a:fld>
            <a:endParaRPr lang="en-GB" sz="1200" b="1">
              <a:solidFill>
                <a:srgbClr val="FFFFFF"/>
              </a:solidFill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140D3D9E-5414-7184-5D0F-5CF18AAE65D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119438" y="2330450"/>
            <a:ext cx="3302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8984EA9-6EE7-4905-9FB5-60F29A96CB3D}" type="datetime'''56''''''''''''''''''''''''''''''''''%'''''''''''''">
              <a:rPr lang="en-GB" altLang="en-US" sz="1200" b="1" smtClean="0">
                <a:solidFill>
                  <a:schemeClr val="tx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6%</a:t>
            </a:fld>
            <a:endParaRPr lang="en-GB" sz="1200" b="1">
              <a:solidFill>
                <a:schemeClr val="tx1"/>
              </a:solidFill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9E473B0-2207-CFFF-D433-6520D3FAF6B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119438" y="2824163"/>
            <a:ext cx="3302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737E2BD-BC69-42FC-85B4-D14E200A8754}" type="datetime'''''''''''''''''''''''''''''''''''5''''6%'''''''''''''''''">
              <a:rPr lang="en-GB" altLang="en-US" sz="1200" b="1" smtClean="0">
                <a:solidFill>
                  <a:schemeClr val="tx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6%</a:t>
            </a:fld>
            <a:endParaRPr lang="en-GB" sz="1200" b="1">
              <a:solidFill>
                <a:schemeClr val="tx1"/>
              </a:solidFill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D8CCDA7-414C-65E1-477B-D145B6024DCD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016250" y="3317875"/>
            <a:ext cx="3302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0246F41-A260-49D3-9269-3CB954A29A0F}" type="datetime'4''''''''9''''''''''''''''''''''''''''''''%'''">
              <a:rPr lang="en-GB" altLang="en-US" sz="1200" b="1" smtClean="0">
                <a:solidFill>
                  <a:schemeClr val="tx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9%</a:t>
            </a:fld>
            <a:endParaRPr lang="en-GB" sz="1200" b="1">
              <a:solidFill>
                <a:schemeClr val="tx1"/>
              </a:solidFill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1BB5AE0-D3CD-0297-BE14-738E7911B77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016250" y="3811588"/>
            <a:ext cx="3302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CDA063E-5DCE-4E87-812B-E37503577644}" type="datetime'''4''''''''''''''''''''''9''%'''''''''''''''''''''''''''">
              <a:rPr lang="en-GB" altLang="en-US" sz="1200" b="1" smtClean="0">
                <a:solidFill>
                  <a:schemeClr val="tx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9%</a:t>
            </a:fld>
            <a:endParaRPr lang="en-GB" sz="1200" b="1">
              <a:solidFill>
                <a:schemeClr val="tx1"/>
              </a:solidFill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0A651B7-D422-3CF3-265A-573966C6919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736850" y="4303713"/>
            <a:ext cx="3302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9BB280E-D49E-436B-82A8-844E27723157}" type="datetime'''''''''''''''''''''''''''''''''''''''30''''''''%'''">
              <a:rPr lang="en-GB" altLang="en-US" sz="1200" b="1" smtClean="0">
                <a:solidFill>
                  <a:schemeClr val="tx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0%</a:t>
            </a:fld>
            <a:endParaRPr lang="en-GB" sz="1200" b="1">
              <a:solidFill>
                <a:schemeClr val="tx1"/>
              </a:solidFill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FC527BF-7ACB-5D83-CDC0-780B7CDC209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692400" y="4797425"/>
            <a:ext cx="3302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976539E-A78D-4AB4-BA88-8227102B6FAB}" type="datetime'''''''''''''''''''''''''''''27''''''''%'''''''''''''">
              <a:rPr lang="en-GB" altLang="en-US" sz="1200" b="1" smtClean="0">
                <a:solidFill>
                  <a:schemeClr val="tx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7%</a:t>
            </a:fld>
            <a:endParaRPr lang="en-GB" sz="1200" b="1">
              <a:solidFill>
                <a:schemeClr val="tx1"/>
              </a:solidFill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025B06E9-4E13-16C6-7251-CC40AA3504A8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647950" y="5291138"/>
            <a:ext cx="3302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90E1555-9BC6-4E6D-B8CD-0BC1A7C72550}" type="datetime'24''''''''''''''%'''''''''">
              <a:rPr lang="en-GB" altLang="en-US" sz="1200" b="1" smtClean="0">
                <a:solidFill>
                  <a:schemeClr val="tx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4%</a:t>
            </a:fld>
            <a:endParaRPr lang="en-GB" sz="1200" b="1">
              <a:solidFill>
                <a:schemeClr val="tx1"/>
              </a:solidFill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5A54613C-F470-2B02-EADE-947653BE3099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530475" y="5784850"/>
            <a:ext cx="3302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9F0E42F-FFF0-41AD-8322-7AFF7F09AB19}" type="datetime'''''''''''''''16''''''''''''%'''''''">
              <a:rPr lang="en-GB" altLang="en-US" sz="1200" b="1" smtClean="0">
                <a:solidFill>
                  <a:schemeClr val="tx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6%</a:t>
            </a:fld>
            <a:endParaRPr lang="en-GB" sz="1200" b="1">
              <a:solidFill>
                <a:schemeClr val="tx1"/>
              </a:solidFill>
            </a:endParaRPr>
          </a:p>
        </p:txBody>
      </p:sp>
      <p:graphicFrame>
        <p:nvGraphicFramePr>
          <p:cNvPr id="28" name="Chart 27">
            <a:extLst>
              <a:ext uri="{FF2B5EF4-FFF2-40B4-BE49-F238E27FC236}">
                <a16:creationId xmlns:a16="http://schemas.microsoft.com/office/drawing/2014/main" id="{DFC0DEBF-EB17-15CE-53A9-127C9B9DF8EC}"/>
              </a:ext>
            </a:extLst>
          </p:cNvPr>
          <p:cNvGraphicFramePr/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192877695"/>
              </p:ext>
            </p:extLst>
          </p:nvPr>
        </p:nvGraphicFramePr>
        <p:xfrm>
          <a:off x="4478338" y="2641600"/>
          <a:ext cx="3475037" cy="1339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2E95785B-19FF-941A-4213-61F38312A32F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576762" y="3949267"/>
            <a:ext cx="628650" cy="547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969EEB-39CB-406A-998D-06177C363331}" type="datetime'I''br''''''ido ''(''in'''''' ho''u''se'''' e v''e''n''d''or)'">
              <a:rPr lang="it-IT" altLang="en-US" sz="12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Ibrido (in house e vendor)</a:t>
            </a:fld>
            <a:endParaRPr lang="en-GB" sz="1200" b="1">
              <a:solidFill>
                <a:srgbClr val="FFFFFF"/>
              </a:solidFill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2FC447B3-6BA3-CCFF-631C-D987DA2C9B79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337175" y="3949267"/>
            <a:ext cx="43338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A5ED98-7C7E-4135-8B31-0C03E26E78EF}" type="datetime'''Wa''l''''''''''''le''t ''''''''''t''e''''''''''''''''rz''o'">
              <a:rPr lang="it-IT" altLang="en-US" sz="12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allet terzo</a:t>
            </a:fld>
            <a:endParaRPr lang="en-GB" sz="1200" b="1">
              <a:solidFill>
                <a:srgbClr val="FFFFFF"/>
              </a:solidFill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FA097089-15A7-9EDB-AEB1-7B316D30BD14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921375" y="3949267"/>
            <a:ext cx="58737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6639C32-2A87-43B0-BFFE-D9C9412A7F98}" type="datetime'S''a''''a''S ''''''pr''''''ovi''''''''''der'''''''">
              <a:rPr lang="en-GB" altLang="en-US" sz="12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aaS provider</a:t>
            </a:fld>
            <a:endParaRPr lang="en-GB" sz="1200" b="1">
              <a:solidFill>
                <a:srgbClr val="FFFFFF"/>
              </a:solidFill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24F3D7A7-BB68-332D-CA32-3EC7BDF573C0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581775" y="3949267"/>
            <a:ext cx="590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12B706E-13F9-454F-B58F-341D3C501C36}" type="datetime'''''''''''I''''n'''''''''''''''' ho''use'''''''''''">
              <a:rPr lang="en-GB" altLang="en-US" sz="12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In house</a:t>
            </a:fld>
            <a:endParaRPr lang="en-GB" sz="1200" b="1">
              <a:solidFill>
                <a:srgbClr val="FFFFFF"/>
              </a:solidFill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73839F9E-0E31-0EBB-20F3-4E68009B3965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361238" y="3949267"/>
            <a:ext cx="3556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43E7D4-4D5D-463A-AFC9-FE6E0D458E4C}" type="datetime'A''''l''''''''''''t''''''''''''''''r''''''o'''''''''''''''">
              <a:rPr lang="en-GB" altLang="en-US" sz="12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ltro</a:t>
            </a:fld>
            <a:endParaRPr lang="en-GB" sz="1200" b="1">
              <a:solidFill>
                <a:srgbClr val="FFFFFF"/>
              </a:solidFill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4DF6AADA-583C-091B-BC7F-D7A4EBAAFF3C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725988" y="2515754"/>
            <a:ext cx="3302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02C59D5-9044-4338-823B-1E195CE9D772}" type="datetime'''''''''53''''''''''''''''''''''''''''%'''">
              <a:rPr lang="en-GB" altLang="en-US" sz="1200" b="1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3%</a:t>
            </a:fld>
            <a:endParaRPr lang="en-GB" sz="1200" b="1">
              <a:solidFill>
                <a:schemeClr val="tx1"/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B20F7EBE-1389-E610-6F8C-0442912427E0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387975" y="2671329"/>
            <a:ext cx="3302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BF040B-C8FB-477B-A1AF-14C76F435007}" type="datetime'''4''''''6%'''''''''''''''''">
              <a:rPr lang="en-GB" altLang="en-US" sz="1200" b="1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%</a:t>
            </a:fld>
            <a:endParaRPr lang="en-GB" sz="1200" b="1">
              <a:solidFill>
                <a:schemeClr val="tx1"/>
              </a:solidFill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97DA1ACD-9F2E-746F-CE17-E9BE16416461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049963" y="3401579"/>
            <a:ext cx="3302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B72AA77-5687-4DF9-A346-317B931A9BD4}" type="datetime'''''''''''1''3''''''''''''''''''%'''''''''''''''''''''''''''">
              <a:rPr lang="en-GB" altLang="en-US" sz="1200" b="1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%</a:t>
            </a:fld>
            <a:endParaRPr lang="en-GB" sz="1200" b="1">
              <a:solidFill>
                <a:schemeClr val="tx1"/>
              </a:solidFill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8A5A46DF-509A-4716-0A65-711F6F8A025D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6759575" y="3579379"/>
            <a:ext cx="2349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1F0799E-A320-4343-8AEC-1C1193419067}" type="datetime'5''''''''''%'''''''''''''''''''''''''''''''''''''''''''''">
              <a:rPr lang="en-GB" altLang="en-US" sz="1200" b="1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endParaRPr lang="en-GB" sz="1200" b="1">
              <a:solidFill>
                <a:schemeClr val="tx1"/>
              </a:solidFill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679590C2-06E8-335A-B2D6-1822D33F563C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373938" y="3336492"/>
            <a:ext cx="3302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0D9084-2753-429F-9231-4F844E58524F}" type="datetime'''16''''''''''''''''''''%'''''''''''''''''''''''''''''''''">
              <a:rPr lang="en-GB" altLang="en-US" sz="1200" b="1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%</a:t>
            </a:fld>
            <a:endParaRPr lang="en-GB" sz="1200" b="1">
              <a:solidFill>
                <a:schemeClr val="tx1"/>
              </a:solidFill>
            </a:endParaRPr>
          </a:p>
        </p:txBody>
      </p:sp>
      <p:graphicFrame>
        <p:nvGraphicFramePr>
          <p:cNvPr id="39" name="Chart 38">
            <a:extLst>
              <a:ext uri="{FF2B5EF4-FFF2-40B4-BE49-F238E27FC236}">
                <a16:creationId xmlns:a16="http://schemas.microsoft.com/office/drawing/2014/main" id="{3C3B1AA9-E40D-F88B-F8BA-AAFB6A26136D}"/>
              </a:ext>
            </a:extLst>
          </p:cNvPr>
          <p:cNvGraphicFramePr/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489435065"/>
              </p:ext>
            </p:extLst>
          </p:nvPr>
        </p:nvGraphicFramePr>
        <p:xfrm>
          <a:off x="8334375" y="2641600"/>
          <a:ext cx="3394075" cy="1339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178344C-D398-269F-7E0E-996340A4F49B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8651875" y="3949701"/>
            <a:ext cx="338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AF80795-D22B-4C40-AF1A-38E5E514FF0A}" type="datetime'''''''''''''&lt; ''''''''''''''''''''''''5''''''''''''%'''''''">
              <a:rPr lang="it-IT" altLang="en-US" sz="12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&lt; 5%</a:t>
            </a:fld>
            <a:endParaRPr lang="en-GB" sz="1200" b="1">
              <a:solidFill>
                <a:srgbClr val="FFFFFF"/>
              </a:solidFill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0205BDDB-ECDA-F011-84E8-AF7D3D95F519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9318625" y="3949700"/>
            <a:ext cx="617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40AB82-DB5F-4B98-A67E-200BA0ECD20A}" type="datetime'5''''''%'''''''' ''''''''''''- ''10''''''''''''%'''''''''">
              <a:rPr lang="it-IT" altLang="en-US" sz="12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% - 10%</a:t>
            </a:fld>
            <a:endParaRPr lang="en-GB" sz="1200" b="1">
              <a:solidFill>
                <a:srgbClr val="FFFFFF"/>
              </a:solidFill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09B47640-44E8-8B43-D4CC-F45E54D550A5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0079038" y="3949700"/>
            <a:ext cx="7127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DE214C-0C90-441D-99C1-6DB0C00AFC51}" type="datetime'''''''''''1''1''''''''''''%'''''''' -'''''''' ''''''25''''%'''">
              <a:rPr lang="en-GB" altLang="en-US" sz="12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% - 25%</a:t>
            </a:fld>
            <a:endParaRPr lang="en-GB" sz="1200" b="1">
              <a:solidFill>
                <a:srgbClr val="FFFFFF"/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620A1678-1CAF-157D-0110-A377B82E1C1F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0885488" y="3949700"/>
            <a:ext cx="7127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BCD1E93-9CCF-4D88-96E5-761341C00C43}" type="datetime'''2''6% ''''''''''''''''''''''''''- ''5''''''''''''''''0%'">
              <a:rPr lang="en-GB" altLang="en-US" sz="12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% - 50%</a:t>
            </a:fld>
            <a:endParaRPr lang="en-GB" sz="1200" b="1">
              <a:solidFill>
                <a:srgbClr val="FFFFFF"/>
              </a:solidFill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C38E3B16-DA65-4BDE-94CF-E47C82BDBDCF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8702675" y="3502025"/>
            <a:ext cx="2349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C0B92EB-889F-4CA8-BB06-4F4F64EC794B}" type="datetime'''''''''''''''''''9''''''''''''''''''%'''''''''''''''''''''''">
              <a:rPr lang="en-GB" altLang="en-US" sz="1200" b="1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%</a:t>
            </a:fld>
            <a:endParaRPr lang="en-GB" sz="1200" b="1">
              <a:solidFill>
                <a:srgbClr val="FFFFFF"/>
              </a:solidFill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FCA2C618-DB1C-032E-D19C-54F00E823AC2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9461500" y="2516188"/>
            <a:ext cx="3302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6E2C5C4-DBC8-4CD3-998B-8A582A772674}" type="datetime'''''''''''''''''''5''''''''''''''''''''''''''6''%'''''''">
              <a:rPr lang="en-GB" altLang="en-US" sz="1200" b="1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6%</a:t>
            </a:fld>
            <a:endParaRPr lang="en-GB" sz="1200" b="1">
              <a:solidFill>
                <a:srgbClr val="FFFFFF"/>
              </a:solidFill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1C80ABA8-24E7-4D68-1450-9F66316B4E40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10269538" y="2978150"/>
            <a:ext cx="3302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1623517-4836-4539-B882-254BF72270A3}" type="datetime'''3''''''''''''''''''''''4''''''''''''''''''''''''%'">
              <a:rPr lang="en-GB" altLang="en-US" sz="1200" b="1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%</a:t>
            </a:fld>
            <a:endParaRPr lang="en-GB" sz="1200" b="1">
              <a:solidFill>
                <a:srgbClr val="FFFFFF"/>
              </a:solidFill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A891894A-FFBA-D12B-6FD7-A9EFA174820C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11123613" y="3670300"/>
            <a:ext cx="2349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2CD95D-B1B1-44D1-BE26-C4CC830A0128}" type="datetime'''''''''''''1''''%'''''''''">
              <a:rPr lang="en-GB" altLang="en-US" sz="1200" b="1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en-GB" sz="1200" b="1">
              <a:solidFill>
                <a:srgbClr val="FFFFFF"/>
              </a:solidFill>
            </a:endParaRPr>
          </a:p>
        </p:txBody>
      </p:sp>
      <p:sp>
        <p:nvSpPr>
          <p:cNvPr id="48" name="Title 5">
            <a:extLst>
              <a:ext uri="{FF2B5EF4-FFF2-40B4-BE49-F238E27FC236}">
                <a16:creationId xmlns:a16="http://schemas.microsoft.com/office/drawing/2014/main" id="{0672E206-A473-43E3-3E3C-07A4C85D1DA9}"/>
              </a:ext>
            </a:extLst>
          </p:cNvPr>
          <p:cNvSpPr txBox="1">
            <a:spLocks/>
          </p:cNvSpPr>
          <p:nvPr/>
        </p:nvSpPr>
        <p:spPr>
          <a:xfrm>
            <a:off x="485523" y="369888"/>
            <a:ext cx="11426392" cy="45147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600" b="1" i="0" kern="1200">
                <a:solidFill>
                  <a:schemeClr val="tx2"/>
                </a:solidFill>
                <a:latin typeface="EYInterstate Regular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it-IT" sz="2400">
                <a:solidFill>
                  <a:schemeClr val="tx1"/>
                </a:solidFill>
                <a:latin typeface="+mn-lt"/>
              </a:rPr>
              <a:t>FINANCIAL INSTITUTION | </a:t>
            </a:r>
            <a:r>
              <a:rPr lang="it-IT" sz="2400">
                <a:latin typeface="+mn-lt"/>
              </a:rPr>
              <a:t>stanno principalmente valutando lo sviluppo di servizi di on/off-</a:t>
            </a:r>
            <a:r>
              <a:rPr lang="it-IT" sz="2400" err="1">
                <a:latin typeface="+mn-lt"/>
              </a:rPr>
              <a:t>ramp</a:t>
            </a:r>
            <a:r>
              <a:rPr lang="it-IT" sz="2400">
                <a:latin typeface="+mn-lt"/>
              </a:rPr>
              <a:t> e di infrastrutture per </a:t>
            </a:r>
            <a:r>
              <a:rPr lang="it-IT" sz="2400" err="1">
                <a:latin typeface="+mn-lt"/>
              </a:rPr>
              <a:t>wallet</a:t>
            </a:r>
            <a:r>
              <a:rPr lang="it-IT" sz="2400">
                <a:latin typeface="+mn-lt"/>
              </a:rPr>
              <a:t> (56% ognuno)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782F4AE0-6F02-D0B9-EEEA-1854F8CC1B53}"/>
              </a:ext>
            </a:extLst>
          </p:cNvPr>
          <p:cNvSpPr txBox="1"/>
          <p:nvPr/>
        </p:nvSpPr>
        <p:spPr>
          <a:xfrm>
            <a:off x="532472" y="1258591"/>
            <a:ext cx="3498408" cy="73866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r>
              <a:rPr lang="it-IT" sz="1400">
                <a:solidFill>
                  <a:schemeClr val="tx2"/>
                </a:solidFill>
              </a:rPr>
              <a:t>SERVIZI LUNGO LA VALUE CHAIN DELLE STABLECOIN CONSIDERATI PER LO SVILUPPO FUTURO</a:t>
            </a:r>
            <a:endParaRPr lang="it-IT" sz="1400" b="1" i="1">
              <a:solidFill>
                <a:schemeClr val="tx2"/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9A42A676-A48E-79F2-4512-C715FE28C146}"/>
              </a:ext>
            </a:extLst>
          </p:cNvPr>
          <p:cNvSpPr txBox="1"/>
          <p:nvPr/>
        </p:nvSpPr>
        <p:spPr>
          <a:xfrm>
            <a:off x="4441391" y="1192317"/>
            <a:ext cx="3498408" cy="73866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r>
              <a:rPr lang="it-IT" sz="1400">
                <a:solidFill>
                  <a:schemeClr val="tx2"/>
                </a:solidFill>
              </a:rPr>
              <a:t>MODALITÀ DI SVILUPPO DELL’INFRASTRUTTURA PER LE STABLECOIN</a:t>
            </a:r>
            <a:endParaRPr lang="it-IT" sz="1400" b="1" i="1">
              <a:solidFill>
                <a:schemeClr val="tx2"/>
              </a:solidFill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31E6F1C1-3E9C-F11D-E53A-44E9BB690DCF}"/>
              </a:ext>
            </a:extLst>
          </p:cNvPr>
          <p:cNvGrpSpPr/>
          <p:nvPr/>
        </p:nvGrpSpPr>
        <p:grpSpPr>
          <a:xfrm>
            <a:off x="4417801" y="4769240"/>
            <a:ext cx="693209" cy="673429"/>
            <a:chOff x="6671472" y="2380950"/>
            <a:chExt cx="984855" cy="1226347"/>
          </a:xfrm>
        </p:grpSpPr>
        <p:graphicFrame>
          <p:nvGraphicFramePr>
            <p:cNvPr id="52" name="Chart 51">
              <a:extLst>
                <a:ext uri="{FF2B5EF4-FFF2-40B4-BE49-F238E27FC236}">
                  <a16:creationId xmlns:a16="http://schemas.microsoft.com/office/drawing/2014/main" id="{90E3275F-9DB6-6987-D229-AC1785EA8E15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02714283"/>
                </p:ext>
              </p:extLst>
            </p:nvPr>
          </p:nvGraphicFramePr>
          <p:xfrm>
            <a:off x="6671472" y="2380950"/>
            <a:ext cx="984855" cy="122634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2"/>
            </a:graphicData>
          </a:graphic>
        </p:graphicFrame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168E2430-F869-3516-ABDC-13418D1FC4D6}"/>
                </a:ext>
              </a:extLst>
            </p:cNvPr>
            <p:cNvSpPr txBox="1"/>
            <p:nvPr/>
          </p:nvSpPr>
          <p:spPr>
            <a:xfrm>
              <a:off x="6817134" y="2748297"/>
              <a:ext cx="664419" cy="47640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it-IT" sz="1100" b="1">
                  <a:solidFill>
                    <a:schemeClr val="tx2"/>
                  </a:solidFill>
                </a:rPr>
                <a:t>43%</a:t>
              </a:r>
              <a:endParaRPr lang="it-IT" sz="1100"/>
            </a:p>
          </p:txBody>
        </p:sp>
      </p:grpSp>
      <p:sp>
        <p:nvSpPr>
          <p:cNvPr id="54" name="TextBox 53">
            <a:extLst>
              <a:ext uri="{FF2B5EF4-FFF2-40B4-BE49-F238E27FC236}">
                <a16:creationId xmlns:a16="http://schemas.microsoft.com/office/drawing/2014/main" id="{0EA46946-3DF5-2035-64B7-08D8E94C54DE}"/>
              </a:ext>
            </a:extLst>
          </p:cNvPr>
          <p:cNvSpPr txBox="1"/>
          <p:nvPr/>
        </p:nvSpPr>
        <p:spPr>
          <a:xfrm>
            <a:off x="4942052" y="4785972"/>
            <a:ext cx="296602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it-IT" sz="1200" err="1"/>
              <a:t>FIs</a:t>
            </a:r>
            <a:r>
              <a:rPr lang="it-IT" sz="1200"/>
              <a:t> che intende utilizzare una combinazione tra licenze interne e di partner terzi</a:t>
            </a:r>
          </a:p>
        </p:txBody>
      </p:sp>
      <p:graphicFrame>
        <p:nvGraphicFramePr>
          <p:cNvPr id="55" name="Chart 54">
            <a:extLst>
              <a:ext uri="{FF2B5EF4-FFF2-40B4-BE49-F238E27FC236}">
                <a16:creationId xmlns:a16="http://schemas.microsoft.com/office/drawing/2014/main" id="{5A955F3E-6F03-1554-7478-126F2EFCF0F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77215519"/>
              </p:ext>
            </p:extLst>
          </p:nvPr>
        </p:nvGraphicFramePr>
        <p:xfrm>
          <a:off x="4417801" y="5432303"/>
          <a:ext cx="693209" cy="6734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sp>
        <p:nvSpPr>
          <p:cNvPr id="56" name="TextBox 55">
            <a:extLst>
              <a:ext uri="{FF2B5EF4-FFF2-40B4-BE49-F238E27FC236}">
                <a16:creationId xmlns:a16="http://schemas.microsoft.com/office/drawing/2014/main" id="{99AFF8BF-24B6-DCDA-A090-85865A0FC690}"/>
              </a:ext>
            </a:extLst>
          </p:cNvPr>
          <p:cNvSpPr txBox="1"/>
          <p:nvPr/>
        </p:nvSpPr>
        <p:spPr>
          <a:xfrm>
            <a:off x="4530996" y="5634026"/>
            <a:ext cx="46766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100" b="1">
                <a:solidFill>
                  <a:schemeClr val="tx2"/>
                </a:solidFill>
              </a:rPr>
              <a:t>30%</a:t>
            </a:r>
            <a:endParaRPr lang="it-IT" sz="110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CFA21108-F67F-EF05-FA06-5B053F30165D}"/>
              </a:ext>
            </a:extLst>
          </p:cNvPr>
          <p:cNvSpPr txBox="1"/>
          <p:nvPr/>
        </p:nvSpPr>
        <p:spPr>
          <a:xfrm>
            <a:off x="4942052" y="5529015"/>
            <a:ext cx="296602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it-IT" sz="1200" err="1"/>
              <a:t>FIs</a:t>
            </a:r>
            <a:r>
              <a:rPr lang="it-IT" sz="1200"/>
              <a:t> che dichiara di voler utilizzare solo la licenza di un partner terzo</a:t>
            </a: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08BB6129-880B-ED84-01C0-23696319F871}"/>
              </a:ext>
            </a:extLst>
          </p:cNvPr>
          <p:cNvGrpSpPr/>
          <p:nvPr/>
        </p:nvGrpSpPr>
        <p:grpSpPr>
          <a:xfrm>
            <a:off x="8351241" y="4769240"/>
            <a:ext cx="693209" cy="673429"/>
            <a:chOff x="6671472" y="2380950"/>
            <a:chExt cx="984855" cy="1226347"/>
          </a:xfrm>
        </p:grpSpPr>
        <p:graphicFrame>
          <p:nvGraphicFramePr>
            <p:cNvPr id="59" name="Chart 58">
              <a:extLst>
                <a:ext uri="{FF2B5EF4-FFF2-40B4-BE49-F238E27FC236}">
                  <a16:creationId xmlns:a16="http://schemas.microsoft.com/office/drawing/2014/main" id="{DA235193-BD9E-62BF-8B74-4CAAB85DED33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014313719"/>
                </p:ext>
              </p:extLst>
            </p:nvPr>
          </p:nvGraphicFramePr>
          <p:xfrm>
            <a:off x="6671472" y="2380950"/>
            <a:ext cx="984855" cy="122634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4"/>
            </a:graphicData>
          </a:graphic>
        </p:graphicFrame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3473A891-94AF-4EB7-DA95-8B4FEDCCDCD9}"/>
                </a:ext>
              </a:extLst>
            </p:cNvPr>
            <p:cNvSpPr txBox="1"/>
            <p:nvPr/>
          </p:nvSpPr>
          <p:spPr>
            <a:xfrm>
              <a:off x="6817134" y="2748297"/>
              <a:ext cx="664419" cy="47640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it-IT" sz="1100" b="1">
                  <a:solidFill>
                    <a:schemeClr val="tx2"/>
                  </a:solidFill>
                </a:rPr>
                <a:t>10%</a:t>
              </a:r>
              <a:endParaRPr lang="it-IT" sz="1100"/>
            </a:p>
          </p:txBody>
        </p:sp>
      </p:grpSp>
      <p:sp>
        <p:nvSpPr>
          <p:cNvPr id="61" name="TextBox 60">
            <a:extLst>
              <a:ext uri="{FF2B5EF4-FFF2-40B4-BE49-F238E27FC236}">
                <a16:creationId xmlns:a16="http://schemas.microsoft.com/office/drawing/2014/main" id="{8113015D-E324-66E7-F94F-4A0F265E67FE}"/>
              </a:ext>
            </a:extLst>
          </p:cNvPr>
          <p:cNvSpPr txBox="1"/>
          <p:nvPr/>
        </p:nvSpPr>
        <p:spPr>
          <a:xfrm>
            <a:off x="8875492" y="4785972"/>
            <a:ext cx="296602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it-IT" sz="1200"/>
              <a:t>Quota di pagamenti cross </a:t>
            </a:r>
            <a:r>
              <a:rPr lang="it-IT" sz="1200" err="1"/>
              <a:t>border</a:t>
            </a:r>
            <a:r>
              <a:rPr lang="it-IT" sz="1200"/>
              <a:t> che le </a:t>
            </a:r>
            <a:r>
              <a:rPr lang="it-IT" sz="1200" err="1"/>
              <a:t>FIs</a:t>
            </a:r>
            <a:r>
              <a:rPr lang="it-IT" sz="1200"/>
              <a:t> ritiene che gestirà tramite </a:t>
            </a:r>
            <a:r>
              <a:rPr lang="it-IT" sz="1200" err="1"/>
              <a:t>stablecoin</a:t>
            </a:r>
            <a:r>
              <a:rPr lang="it-IT" sz="1200"/>
              <a:t> nel 2030</a:t>
            </a:r>
          </a:p>
        </p:txBody>
      </p:sp>
      <p:graphicFrame>
        <p:nvGraphicFramePr>
          <p:cNvPr id="62" name="Chart 61">
            <a:extLst>
              <a:ext uri="{FF2B5EF4-FFF2-40B4-BE49-F238E27FC236}">
                <a16:creationId xmlns:a16="http://schemas.microsoft.com/office/drawing/2014/main" id="{D04F8706-0D0D-7733-C202-2AF7B5B3319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71969392"/>
              </p:ext>
            </p:extLst>
          </p:nvPr>
        </p:nvGraphicFramePr>
        <p:xfrm>
          <a:off x="8351241" y="5432303"/>
          <a:ext cx="693209" cy="6734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sp>
        <p:nvSpPr>
          <p:cNvPr id="63" name="TextBox 62">
            <a:extLst>
              <a:ext uri="{FF2B5EF4-FFF2-40B4-BE49-F238E27FC236}">
                <a16:creationId xmlns:a16="http://schemas.microsoft.com/office/drawing/2014/main" id="{BF3C55DB-7C9F-14CE-A12F-F1F3D2023B48}"/>
              </a:ext>
            </a:extLst>
          </p:cNvPr>
          <p:cNvSpPr txBox="1"/>
          <p:nvPr/>
        </p:nvSpPr>
        <p:spPr>
          <a:xfrm>
            <a:off x="8464436" y="5634026"/>
            <a:ext cx="46766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100" b="1">
                <a:solidFill>
                  <a:schemeClr val="tx2"/>
                </a:solidFill>
              </a:rPr>
              <a:t>68%</a:t>
            </a:r>
            <a:endParaRPr lang="it-IT" sz="110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CB4388A1-7F1A-600E-8856-E6D7CEB1C5C4}"/>
              </a:ext>
            </a:extLst>
          </p:cNvPr>
          <p:cNvSpPr txBox="1"/>
          <p:nvPr/>
        </p:nvSpPr>
        <p:spPr>
          <a:xfrm>
            <a:off x="8875492" y="5529015"/>
            <a:ext cx="296602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it-IT" sz="1200" err="1"/>
              <a:t>FIs</a:t>
            </a:r>
            <a:r>
              <a:rPr lang="it-IT" sz="1200"/>
              <a:t> che dichiara che il motivo principale di interesse è la rapidità di </a:t>
            </a:r>
            <a:r>
              <a:rPr lang="it-IT" sz="1200" err="1"/>
              <a:t>settlement</a:t>
            </a:r>
            <a:endParaRPr lang="it-IT" sz="1200"/>
          </a:p>
        </p:txBody>
      </p:sp>
    </p:spTree>
    <p:extLst>
      <p:ext uri="{BB962C8B-B14F-4D97-AF65-F5344CB8AC3E}">
        <p14:creationId xmlns:p14="http://schemas.microsoft.com/office/powerpoint/2010/main" val="250922974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14EE4F4-E3EA-0A7B-7E72-F7CA132D19B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it-IT"/>
              <a:t>Le stablecoin e il futuro dei pagamenti digitali | Salone dei pagamenti | 30 ottobre 2025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3D6DC39-9001-B313-27D9-DC3B9AB2D9A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14</a:t>
            </a:fld>
            <a:endParaRPr lang="en-GB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4F80F1D8-CA74-852E-2E24-5BF765E405D9}"/>
              </a:ext>
            </a:extLst>
          </p:cNvPr>
          <p:cNvSpPr/>
          <p:nvPr/>
        </p:nvSpPr>
        <p:spPr>
          <a:xfrm>
            <a:off x="8192802" y="3492932"/>
            <a:ext cx="3712862" cy="2564967"/>
          </a:xfrm>
          <a:prstGeom prst="rect">
            <a:avLst/>
          </a:prstGeom>
          <a:solidFill>
            <a:schemeClr val="tx2">
              <a:alpha val="20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ctr" anchorCtr="0"/>
          <a:lstStyle/>
          <a:p>
            <a:pPr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</a:pPr>
            <a:endParaRPr lang="it-IT" b="1" kern="0"/>
          </a:p>
        </p:txBody>
      </p:sp>
      <p:sp>
        <p:nvSpPr>
          <p:cNvPr id="43" name="Rectangle 209">
            <a:extLst>
              <a:ext uri="{FF2B5EF4-FFF2-40B4-BE49-F238E27FC236}">
                <a16:creationId xmlns:a16="http://schemas.microsoft.com/office/drawing/2014/main" id="{AF10B07C-13A6-3F95-F033-4522048C448B}"/>
              </a:ext>
            </a:extLst>
          </p:cNvPr>
          <p:cNvSpPr/>
          <p:nvPr/>
        </p:nvSpPr>
        <p:spPr>
          <a:xfrm>
            <a:off x="481523" y="1428453"/>
            <a:ext cx="36000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en-GB" sz="1400" b="1" kern="0">
                <a:solidFill>
                  <a:schemeClr val="tx2"/>
                </a:solidFill>
                <a:latin typeface="EYInterstate Light" panose="02000506000000020004" pitchFamily="2" charset="0"/>
              </a:rPr>
              <a:t>SI PREVDE UN CRESCETE UTILIZZO DI STABLECOIN…</a:t>
            </a:r>
          </a:p>
        </p:txBody>
      </p:sp>
      <p:sp>
        <p:nvSpPr>
          <p:cNvPr id="44" name="Rectangle 209">
            <a:extLst>
              <a:ext uri="{FF2B5EF4-FFF2-40B4-BE49-F238E27FC236}">
                <a16:creationId xmlns:a16="http://schemas.microsoft.com/office/drawing/2014/main" id="{21DA168D-E387-FEE6-6001-0A69D3402E82}"/>
              </a:ext>
            </a:extLst>
          </p:cNvPr>
          <p:cNvSpPr/>
          <p:nvPr/>
        </p:nvSpPr>
        <p:spPr>
          <a:xfrm>
            <a:off x="481523" y="2006764"/>
            <a:ext cx="3600000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it-IT" sz="1400" kern="0">
                <a:solidFill>
                  <a:schemeClr val="tx1">
                    <a:lumMod val="75000"/>
                  </a:schemeClr>
                </a:solidFill>
                <a:latin typeface="EYInterstate Light" panose="02000506000000020004" pitchFamily="2" charset="0"/>
              </a:rPr>
              <a:t>Le </a:t>
            </a:r>
            <a:r>
              <a:rPr lang="it-IT" sz="1400" kern="0" err="1">
                <a:solidFill>
                  <a:schemeClr val="tx1">
                    <a:lumMod val="75000"/>
                  </a:schemeClr>
                </a:solidFill>
                <a:latin typeface="EYInterstate Light" panose="02000506000000020004" pitchFamily="2" charset="0"/>
              </a:rPr>
              <a:t>Stablecoin</a:t>
            </a:r>
            <a:r>
              <a:rPr lang="it-IT" sz="1400" kern="0">
                <a:solidFill>
                  <a:schemeClr val="tx1">
                    <a:lumMod val="75000"/>
                  </a:schemeClr>
                </a:solidFill>
                <a:latin typeface="EYInterstate Light" panose="02000506000000020004" pitchFamily="2" charset="0"/>
              </a:rPr>
              <a:t> sono </a:t>
            </a:r>
            <a:r>
              <a:rPr lang="it-IT" sz="1400" kern="0">
                <a:solidFill>
                  <a:schemeClr val="tx2"/>
                </a:solidFill>
                <a:latin typeface="EYInterstate Light" panose="02000506000000020004" pitchFamily="2" charset="0"/>
              </a:rPr>
              <a:t>utilizzate del 13% </a:t>
            </a:r>
            <a:r>
              <a:rPr lang="it-IT" sz="1400" kern="0">
                <a:solidFill>
                  <a:schemeClr val="tx1">
                    <a:lumMod val="75000"/>
                  </a:schemeClr>
                </a:solidFill>
                <a:latin typeface="EYInterstate Light" panose="02000506000000020004" pitchFamily="2" charset="0"/>
              </a:rPr>
              <a:t>tra le Financial Institution e le Corporate a livello globale; mentre il</a:t>
            </a:r>
            <a:r>
              <a:rPr lang="it-IT" sz="1400" kern="0">
                <a:solidFill>
                  <a:srgbClr val="FFFFFF"/>
                </a:solidFill>
                <a:latin typeface="EYInterstate Light" panose="02000506000000020004" pitchFamily="2" charset="0"/>
              </a:rPr>
              <a:t> </a:t>
            </a:r>
            <a:r>
              <a:rPr lang="it-IT" sz="1400" kern="0">
                <a:solidFill>
                  <a:schemeClr val="tx2"/>
                </a:solidFill>
                <a:latin typeface="EYInterstate Light" panose="02000506000000020004" pitchFamily="2" charset="0"/>
              </a:rPr>
              <a:t>54% delle organizzazioni </a:t>
            </a:r>
            <a:r>
              <a:rPr lang="it-IT" sz="1400" kern="0">
                <a:solidFill>
                  <a:schemeClr val="tx1">
                    <a:lumMod val="75000"/>
                  </a:schemeClr>
                </a:solidFill>
                <a:latin typeface="EYInterstate Light" panose="02000506000000020004" pitchFamily="2" charset="0"/>
              </a:rPr>
              <a:t>che oggi non utilizzano </a:t>
            </a:r>
            <a:r>
              <a:rPr lang="it-IT" sz="1400" kern="0" err="1">
                <a:solidFill>
                  <a:schemeClr val="tx1">
                    <a:lumMod val="75000"/>
                  </a:schemeClr>
                </a:solidFill>
                <a:latin typeface="EYInterstate Light" panose="02000506000000020004" pitchFamily="2" charset="0"/>
              </a:rPr>
              <a:t>Stablecoin</a:t>
            </a:r>
            <a:r>
              <a:rPr lang="it-IT" sz="1400" kern="0">
                <a:solidFill>
                  <a:schemeClr val="tx1">
                    <a:lumMod val="75000"/>
                  </a:schemeClr>
                </a:solidFill>
                <a:latin typeface="EYInterstate Light" panose="02000506000000020004" pitchFamily="2" charset="0"/>
              </a:rPr>
              <a:t> </a:t>
            </a:r>
            <a:r>
              <a:rPr lang="it-IT" sz="1400" kern="0">
                <a:solidFill>
                  <a:schemeClr val="tx2"/>
                </a:solidFill>
                <a:latin typeface="EYInterstate Light" panose="02000506000000020004" pitchFamily="2" charset="0"/>
              </a:rPr>
              <a:t>prevede di farlo nei prossimi sei-dodici mesi</a:t>
            </a:r>
            <a:endParaRPr lang="en-GB" sz="1400" kern="0">
              <a:solidFill>
                <a:schemeClr val="tx2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45" name="Rectangle 209">
            <a:extLst>
              <a:ext uri="{FF2B5EF4-FFF2-40B4-BE49-F238E27FC236}">
                <a16:creationId xmlns:a16="http://schemas.microsoft.com/office/drawing/2014/main" id="{13C994C3-8946-7FE6-7A13-AE1DF152EFE5}"/>
              </a:ext>
            </a:extLst>
          </p:cNvPr>
          <p:cNvSpPr/>
          <p:nvPr/>
        </p:nvSpPr>
        <p:spPr>
          <a:xfrm>
            <a:off x="4350942" y="1428453"/>
            <a:ext cx="36000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en-GB" sz="1400" b="1" kern="0">
                <a:solidFill>
                  <a:schemeClr val="tx2"/>
                </a:solidFill>
                <a:latin typeface="EYInterstate Light" panose="02000506000000020004" pitchFamily="2" charset="0"/>
              </a:rPr>
              <a:t>…PRINCIPALMENTE PER TRANSAZIONI CROSS BORDER…</a:t>
            </a:r>
          </a:p>
        </p:txBody>
      </p:sp>
      <p:sp>
        <p:nvSpPr>
          <p:cNvPr id="46" name="Rectangle 209">
            <a:extLst>
              <a:ext uri="{FF2B5EF4-FFF2-40B4-BE49-F238E27FC236}">
                <a16:creationId xmlns:a16="http://schemas.microsoft.com/office/drawing/2014/main" id="{44BEDC9F-0788-BE4B-33FB-4A1B5D57958E}"/>
              </a:ext>
            </a:extLst>
          </p:cNvPr>
          <p:cNvSpPr/>
          <p:nvPr/>
        </p:nvSpPr>
        <p:spPr>
          <a:xfrm>
            <a:off x="4350942" y="2006764"/>
            <a:ext cx="3600000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it-IT" sz="1400" kern="0">
                <a:solidFill>
                  <a:schemeClr val="tx1">
                    <a:lumMod val="75000"/>
                  </a:schemeClr>
                </a:solidFill>
                <a:latin typeface="EYInterstate Light" panose="02000506000000020004" pitchFamily="2" charset="0"/>
              </a:rPr>
              <a:t>Il</a:t>
            </a:r>
            <a:r>
              <a:rPr lang="it-IT" sz="1400" kern="0">
                <a:solidFill>
                  <a:srgbClr val="FFFFFF"/>
                </a:solidFill>
                <a:latin typeface="EYInterstate Light" panose="02000506000000020004" pitchFamily="2" charset="0"/>
              </a:rPr>
              <a:t> </a:t>
            </a:r>
            <a:r>
              <a:rPr lang="it-IT" sz="1400" kern="0">
                <a:solidFill>
                  <a:schemeClr val="tx2"/>
                </a:solidFill>
                <a:latin typeface="EYInterstate Light" panose="02000506000000020004" pitchFamily="2" charset="0"/>
              </a:rPr>
              <a:t>41% delle organizzazioni </a:t>
            </a:r>
            <a:r>
              <a:rPr lang="it-IT" sz="1400" kern="0">
                <a:solidFill>
                  <a:schemeClr val="tx1">
                    <a:lumMod val="75000"/>
                  </a:schemeClr>
                </a:solidFill>
                <a:latin typeface="EYInterstate Light" panose="02000506000000020004" pitchFamily="2" charset="0"/>
              </a:rPr>
              <a:t>che hanno utilizzato </a:t>
            </a:r>
            <a:r>
              <a:rPr lang="it-IT" sz="1400" kern="0" err="1">
                <a:solidFill>
                  <a:schemeClr val="tx1">
                    <a:lumMod val="75000"/>
                  </a:schemeClr>
                </a:solidFill>
                <a:latin typeface="EYInterstate Light" panose="02000506000000020004" pitchFamily="2" charset="0"/>
              </a:rPr>
              <a:t>Stablecoin</a:t>
            </a:r>
            <a:r>
              <a:rPr lang="it-IT" sz="1400" kern="0">
                <a:solidFill>
                  <a:schemeClr val="tx1">
                    <a:lumMod val="75000"/>
                  </a:schemeClr>
                </a:solidFill>
                <a:latin typeface="EYInterstate Light" panose="02000506000000020004" pitchFamily="2" charset="0"/>
              </a:rPr>
              <a:t> ha riportato un </a:t>
            </a:r>
            <a:r>
              <a:rPr lang="it-IT" sz="1400" kern="0">
                <a:solidFill>
                  <a:schemeClr val="tx2"/>
                </a:solidFill>
                <a:latin typeface="EYInterstate Light" panose="02000506000000020004" pitchFamily="2" charset="0"/>
              </a:rPr>
              <a:t>risparmio sui costi superiore al 10%, </a:t>
            </a:r>
            <a:r>
              <a:rPr lang="it-IT" sz="1400" kern="0">
                <a:solidFill>
                  <a:schemeClr val="tx1">
                    <a:lumMod val="75000"/>
                  </a:schemeClr>
                </a:solidFill>
                <a:latin typeface="EYInterstate Light" panose="02000506000000020004" pitchFamily="2" charset="0"/>
              </a:rPr>
              <a:t>dovuto principalmente all'</a:t>
            </a:r>
            <a:r>
              <a:rPr lang="it-IT" sz="1400" kern="0">
                <a:solidFill>
                  <a:schemeClr val="tx2"/>
                </a:solidFill>
                <a:latin typeface="EYInterstate Light" panose="02000506000000020004" pitchFamily="2" charset="0"/>
              </a:rPr>
              <a:t>efficienza dei pagamenti cross </a:t>
            </a:r>
            <a:r>
              <a:rPr lang="it-IT" sz="1400" kern="0" err="1">
                <a:solidFill>
                  <a:schemeClr val="tx2"/>
                </a:solidFill>
                <a:latin typeface="EYInterstate Light" panose="02000506000000020004" pitchFamily="2" charset="0"/>
              </a:rPr>
              <a:t>border</a:t>
            </a:r>
            <a:endParaRPr lang="it-IT" sz="1400" kern="0">
              <a:solidFill>
                <a:schemeClr val="tx2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47" name="Rectangle 209">
            <a:extLst>
              <a:ext uri="{FF2B5EF4-FFF2-40B4-BE49-F238E27FC236}">
                <a16:creationId xmlns:a16="http://schemas.microsoft.com/office/drawing/2014/main" id="{17A04D4D-755E-5274-A012-819AC204D5E1}"/>
              </a:ext>
            </a:extLst>
          </p:cNvPr>
          <p:cNvSpPr/>
          <p:nvPr/>
        </p:nvSpPr>
        <p:spPr>
          <a:xfrm>
            <a:off x="4299877" y="1613653"/>
            <a:ext cx="1719942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endParaRPr lang="en-GB" sz="1400" b="1" kern="0">
              <a:solidFill>
                <a:schemeClr val="tx2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48" name="Rectangle 209">
            <a:extLst>
              <a:ext uri="{FF2B5EF4-FFF2-40B4-BE49-F238E27FC236}">
                <a16:creationId xmlns:a16="http://schemas.microsoft.com/office/drawing/2014/main" id="{0A029F7A-0B20-2BB1-2C97-0E766EB83808}"/>
              </a:ext>
            </a:extLst>
          </p:cNvPr>
          <p:cNvSpPr/>
          <p:nvPr/>
        </p:nvSpPr>
        <p:spPr>
          <a:xfrm>
            <a:off x="8334309" y="1428453"/>
            <a:ext cx="36000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en-GB" sz="1400" b="1" kern="0">
                <a:solidFill>
                  <a:schemeClr val="tx2"/>
                </a:solidFill>
                <a:latin typeface="EYInterstate Light" panose="02000506000000020004" pitchFamily="2" charset="0"/>
              </a:rPr>
              <a:t>…CON L’OBIETTIVO DI RIDURRE TEMPI E COSTI</a:t>
            </a:r>
          </a:p>
        </p:txBody>
      </p:sp>
      <p:sp>
        <p:nvSpPr>
          <p:cNvPr id="49" name="Rectangle 209">
            <a:extLst>
              <a:ext uri="{FF2B5EF4-FFF2-40B4-BE49-F238E27FC236}">
                <a16:creationId xmlns:a16="http://schemas.microsoft.com/office/drawing/2014/main" id="{8547F155-8E68-B491-2865-A39DD2C8DBFD}"/>
              </a:ext>
            </a:extLst>
          </p:cNvPr>
          <p:cNvSpPr/>
          <p:nvPr/>
        </p:nvSpPr>
        <p:spPr>
          <a:xfrm>
            <a:off x="8334309" y="2006764"/>
            <a:ext cx="3600000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it-IT" sz="1400" kern="0">
                <a:solidFill>
                  <a:schemeClr val="tx1">
                    <a:lumMod val="75000"/>
                  </a:schemeClr>
                </a:solidFill>
                <a:latin typeface="EYInterstate Light" panose="02000506000000020004" pitchFamily="2" charset="0"/>
              </a:rPr>
              <a:t>La </a:t>
            </a:r>
            <a:r>
              <a:rPr lang="it-IT" sz="1400" kern="0">
                <a:solidFill>
                  <a:schemeClr val="tx2"/>
                </a:solidFill>
                <a:latin typeface="EYInterstate Light" panose="02000506000000020004" pitchFamily="2" charset="0"/>
              </a:rPr>
              <a:t>riduzione dei costi di </a:t>
            </a:r>
            <a:r>
              <a:rPr lang="it-IT" sz="1400" kern="0">
                <a:solidFill>
                  <a:schemeClr val="tx1">
                    <a:lumMod val="75000"/>
                  </a:schemeClr>
                </a:solidFill>
                <a:latin typeface="EYInterstate Light" panose="02000506000000020004" pitchFamily="2" charset="0"/>
              </a:rPr>
              <a:t>transazione (52%) e la maggiore</a:t>
            </a:r>
            <a:r>
              <a:rPr lang="it-IT" sz="1400" kern="0">
                <a:solidFill>
                  <a:srgbClr val="FFFFFF"/>
                </a:solidFill>
                <a:latin typeface="EYInterstate Light" panose="02000506000000020004" pitchFamily="2" charset="0"/>
              </a:rPr>
              <a:t> </a:t>
            </a:r>
            <a:r>
              <a:rPr lang="it-IT" sz="1400" kern="0">
                <a:solidFill>
                  <a:schemeClr val="tx2"/>
                </a:solidFill>
                <a:latin typeface="EYInterstate Light" panose="02000506000000020004" pitchFamily="2" charset="0"/>
              </a:rPr>
              <a:t>rapidità dei pagamenti cross </a:t>
            </a:r>
            <a:r>
              <a:rPr lang="it-IT" sz="1400" kern="0" err="1">
                <a:solidFill>
                  <a:schemeClr val="tx2"/>
                </a:solidFill>
                <a:latin typeface="EYInterstate Light" panose="02000506000000020004" pitchFamily="2" charset="0"/>
              </a:rPr>
              <a:t>border</a:t>
            </a:r>
            <a:r>
              <a:rPr lang="it-IT" sz="1400" kern="0">
                <a:solidFill>
                  <a:schemeClr val="tx2"/>
                </a:solidFill>
                <a:latin typeface="EYInterstate Light" panose="02000506000000020004" pitchFamily="2" charset="0"/>
              </a:rPr>
              <a:t> </a:t>
            </a:r>
            <a:r>
              <a:rPr lang="it-IT" sz="1400" kern="0">
                <a:solidFill>
                  <a:schemeClr val="tx1">
                    <a:lumMod val="75000"/>
                  </a:schemeClr>
                </a:solidFill>
                <a:latin typeface="EYInterstate Light" panose="02000506000000020004" pitchFamily="2" charset="0"/>
              </a:rPr>
              <a:t>(45%) sono i principali fattori che determinano l'interesse delle organizzazioni</a:t>
            </a:r>
          </a:p>
        </p:txBody>
      </p:sp>
      <p:sp>
        <p:nvSpPr>
          <p:cNvPr id="50" name="Rectangle 209">
            <a:extLst>
              <a:ext uri="{FF2B5EF4-FFF2-40B4-BE49-F238E27FC236}">
                <a16:creationId xmlns:a16="http://schemas.microsoft.com/office/drawing/2014/main" id="{AE7347F7-DCAB-55AB-0D48-67ACC3B8B3A8}"/>
              </a:ext>
            </a:extLst>
          </p:cNvPr>
          <p:cNvSpPr/>
          <p:nvPr/>
        </p:nvSpPr>
        <p:spPr>
          <a:xfrm>
            <a:off x="473660" y="4157595"/>
            <a:ext cx="36000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en-GB" sz="1400" b="1" kern="0">
                <a:solidFill>
                  <a:schemeClr val="tx2"/>
                </a:solidFill>
                <a:latin typeface="EYInterstate Light" panose="02000506000000020004" pitchFamily="2" charset="0"/>
              </a:rPr>
              <a:t>LE FI SONO IL PARTNER ELETTIVO PER QUESTE APPLICAZIONI…</a:t>
            </a:r>
          </a:p>
        </p:txBody>
      </p:sp>
      <p:sp>
        <p:nvSpPr>
          <p:cNvPr id="51" name="Rectangle 209">
            <a:extLst>
              <a:ext uri="{FF2B5EF4-FFF2-40B4-BE49-F238E27FC236}">
                <a16:creationId xmlns:a16="http://schemas.microsoft.com/office/drawing/2014/main" id="{96908DFC-A344-5E62-C0D3-B04BF6D89911}"/>
              </a:ext>
            </a:extLst>
          </p:cNvPr>
          <p:cNvSpPr/>
          <p:nvPr/>
        </p:nvSpPr>
        <p:spPr>
          <a:xfrm>
            <a:off x="491914" y="4710553"/>
            <a:ext cx="3600000" cy="1226595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defRPr/>
            </a:pPr>
            <a:r>
              <a:rPr lang="it-IT" sz="1400" kern="0">
                <a:solidFill>
                  <a:schemeClr val="tx1">
                    <a:lumMod val="75000"/>
                  </a:schemeClr>
                </a:solidFill>
                <a:latin typeface="EYInterstate Light" panose="02000506000000020004" pitchFamily="2" charset="0"/>
              </a:rPr>
              <a:t>Le</a:t>
            </a:r>
            <a:r>
              <a:rPr lang="it-IT" sz="1400" kern="0">
                <a:solidFill>
                  <a:srgbClr val="FFFFFF"/>
                </a:solidFill>
                <a:latin typeface="EYInterstate Light" panose="02000506000000020004" pitchFamily="2" charset="0"/>
              </a:rPr>
              <a:t> </a:t>
            </a:r>
            <a:r>
              <a:rPr lang="it-IT" sz="1400" kern="0">
                <a:solidFill>
                  <a:schemeClr val="tx2"/>
                </a:solidFill>
                <a:latin typeface="EYInterstate Light" panose="02000506000000020004" pitchFamily="2" charset="0"/>
              </a:rPr>
              <a:t>Corporate si rivolgono ai loro partner bancari</a:t>
            </a:r>
            <a:r>
              <a:rPr lang="it-IT" sz="1400" kern="0">
                <a:solidFill>
                  <a:schemeClr val="tx1">
                    <a:lumMod val="75000"/>
                  </a:schemeClr>
                </a:solidFill>
                <a:latin typeface="EYInterstate Light" panose="02000506000000020004" pitchFamily="2" charset="0"/>
              </a:rPr>
              <a:t> tradizionali per accedere a nuovi metodi </a:t>
            </a:r>
            <a:r>
              <a:rPr lang="it-IT" sz="1400" kern="0" err="1">
                <a:solidFill>
                  <a:schemeClr val="tx1">
                    <a:lumMod val="75000"/>
                  </a:schemeClr>
                </a:solidFill>
                <a:latin typeface="EYInterstate Light" panose="02000506000000020004" pitchFamily="2" charset="0"/>
              </a:rPr>
              <a:t>Stablecoin</a:t>
            </a:r>
            <a:r>
              <a:rPr lang="it-IT" sz="1400" kern="0">
                <a:solidFill>
                  <a:schemeClr val="tx1">
                    <a:lumMod val="75000"/>
                  </a:schemeClr>
                </a:solidFill>
                <a:latin typeface="EYInterstate Light" panose="02000506000000020004" pitchFamily="2" charset="0"/>
              </a:rPr>
              <a:t>. Per soddisfare questa esigenza</a:t>
            </a:r>
            <a:r>
              <a:rPr lang="it-IT" sz="1400" kern="0">
                <a:solidFill>
                  <a:srgbClr val="FFFFFF"/>
                </a:solidFill>
                <a:latin typeface="EYInterstate Light" panose="02000506000000020004" pitchFamily="2" charset="0"/>
              </a:rPr>
              <a:t>, </a:t>
            </a:r>
            <a:r>
              <a:rPr lang="it-IT" sz="1400" kern="0">
                <a:solidFill>
                  <a:schemeClr val="tx2"/>
                </a:solidFill>
                <a:latin typeface="EYInterstate Light" panose="02000506000000020004" pitchFamily="2" charset="0"/>
              </a:rPr>
              <a:t>il 79% degli istituti finanziari prevede di avvalersi di terzi per la creazione dell'infrastruttura</a:t>
            </a:r>
          </a:p>
        </p:txBody>
      </p:sp>
      <p:sp>
        <p:nvSpPr>
          <p:cNvPr id="52" name="Rectangle 209">
            <a:extLst>
              <a:ext uri="{FF2B5EF4-FFF2-40B4-BE49-F238E27FC236}">
                <a16:creationId xmlns:a16="http://schemas.microsoft.com/office/drawing/2014/main" id="{DDC6BBF2-86C6-A47C-6891-65F41AF40636}"/>
              </a:ext>
            </a:extLst>
          </p:cNvPr>
          <p:cNvSpPr/>
          <p:nvPr/>
        </p:nvSpPr>
        <p:spPr>
          <a:xfrm>
            <a:off x="4343079" y="4157595"/>
            <a:ext cx="36000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en-GB" sz="1400" b="1" kern="0">
                <a:solidFill>
                  <a:schemeClr val="tx2"/>
                </a:solidFill>
                <a:latin typeface="EYInterstate Light" panose="02000506000000020004" pitchFamily="2" charset="0"/>
              </a:rPr>
              <a:t>…CON UN NUMERO CRESCENTE DI FI CHE OFFRE QUESTA TIPOLOGIA DI SERVIZI…</a:t>
            </a:r>
          </a:p>
        </p:txBody>
      </p:sp>
      <p:sp>
        <p:nvSpPr>
          <p:cNvPr id="53" name="Rectangle 209">
            <a:extLst>
              <a:ext uri="{FF2B5EF4-FFF2-40B4-BE49-F238E27FC236}">
                <a16:creationId xmlns:a16="http://schemas.microsoft.com/office/drawing/2014/main" id="{2A969B6B-6778-12CE-2F69-ECB71C0C5A27}"/>
              </a:ext>
            </a:extLst>
          </p:cNvPr>
          <p:cNvSpPr/>
          <p:nvPr/>
        </p:nvSpPr>
        <p:spPr>
          <a:xfrm>
            <a:off x="4361333" y="4710553"/>
            <a:ext cx="3600000" cy="1226595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defRPr/>
            </a:pPr>
            <a:r>
              <a:rPr lang="it-IT" sz="1400" kern="0">
                <a:solidFill>
                  <a:schemeClr val="tx1">
                    <a:lumMod val="75000"/>
                  </a:schemeClr>
                </a:solidFill>
                <a:latin typeface="EYInterstate Light" panose="02000506000000020004" pitchFamily="2" charset="0"/>
              </a:rPr>
              <a:t>Le Financial Institution prevedono che </a:t>
            </a:r>
            <a:r>
              <a:rPr lang="it-IT" sz="1400" kern="0">
                <a:solidFill>
                  <a:schemeClr val="tx2"/>
                </a:solidFill>
                <a:latin typeface="EYInterstate Light" panose="02000506000000020004" pitchFamily="2" charset="0"/>
              </a:rPr>
              <a:t>dal 5% al 10% dei pagamenti globali utilizzerà </a:t>
            </a:r>
            <a:r>
              <a:rPr lang="it-IT" sz="1400" kern="0" err="1">
                <a:solidFill>
                  <a:schemeClr val="tx2"/>
                </a:solidFill>
                <a:latin typeface="EYInterstate Light" panose="02000506000000020004" pitchFamily="2" charset="0"/>
              </a:rPr>
              <a:t>Stablecoin</a:t>
            </a:r>
            <a:r>
              <a:rPr lang="it-IT" sz="1400" kern="0">
                <a:solidFill>
                  <a:schemeClr val="tx2"/>
                </a:solidFill>
                <a:latin typeface="EYInterstate Light" panose="02000506000000020004" pitchFamily="2" charset="0"/>
              </a:rPr>
              <a:t> entro il 2030</a:t>
            </a:r>
            <a:r>
              <a:rPr lang="it-IT" sz="1400" kern="0">
                <a:solidFill>
                  <a:schemeClr val="tx1">
                    <a:lumMod val="75000"/>
                  </a:schemeClr>
                </a:solidFill>
                <a:latin typeface="EYInterstate Light" panose="02000506000000020004" pitchFamily="2" charset="0"/>
              </a:rPr>
              <a:t>. Inoltre il </a:t>
            </a:r>
            <a:r>
              <a:rPr lang="it-IT" sz="1400" kern="0">
                <a:solidFill>
                  <a:schemeClr val="tx2"/>
                </a:solidFill>
                <a:latin typeface="EYInterstate Light" panose="02000506000000020004" pitchFamily="2" charset="0"/>
              </a:rPr>
              <a:t>15% offre già servizi di </a:t>
            </a:r>
            <a:r>
              <a:rPr lang="it-IT" sz="1400" kern="0" err="1">
                <a:solidFill>
                  <a:schemeClr val="tx2"/>
                </a:solidFill>
                <a:latin typeface="EYInterstate Light" panose="02000506000000020004" pitchFamily="2" charset="0"/>
              </a:rPr>
              <a:t>Stablecoin</a:t>
            </a:r>
            <a:r>
              <a:rPr lang="it-IT" sz="1400" kern="0">
                <a:solidFill>
                  <a:srgbClr val="FFFFFF"/>
                </a:solidFill>
                <a:latin typeface="EYInterstate Light" panose="02000506000000020004" pitchFamily="2" charset="0"/>
              </a:rPr>
              <a:t> </a:t>
            </a:r>
            <a:r>
              <a:rPr lang="it-IT" sz="1400" kern="0">
                <a:solidFill>
                  <a:schemeClr val="tx1">
                    <a:lumMod val="75000"/>
                  </a:schemeClr>
                </a:solidFill>
                <a:latin typeface="EYInterstate Light" panose="02000506000000020004" pitchFamily="2" charset="0"/>
              </a:rPr>
              <a:t>ed il </a:t>
            </a:r>
            <a:r>
              <a:rPr lang="it-IT" sz="1400" kern="0">
                <a:solidFill>
                  <a:schemeClr val="tx2"/>
                </a:solidFill>
                <a:latin typeface="EYInterstate Light" panose="02000506000000020004" pitchFamily="2" charset="0"/>
              </a:rPr>
              <a:t>57% intende esplorare </a:t>
            </a:r>
            <a:r>
              <a:rPr lang="it-IT" sz="1400" kern="0">
                <a:solidFill>
                  <a:schemeClr val="tx1">
                    <a:lumMod val="75000"/>
                  </a:schemeClr>
                </a:solidFill>
                <a:latin typeface="EYInterstate Light" panose="02000506000000020004" pitchFamily="2" charset="0"/>
              </a:rPr>
              <a:t>attivamente le opportunità</a:t>
            </a:r>
          </a:p>
        </p:txBody>
      </p:sp>
      <p:sp>
        <p:nvSpPr>
          <p:cNvPr id="54" name="Rectangle 209">
            <a:extLst>
              <a:ext uri="{FF2B5EF4-FFF2-40B4-BE49-F238E27FC236}">
                <a16:creationId xmlns:a16="http://schemas.microsoft.com/office/drawing/2014/main" id="{9EE328D1-8369-FE5D-57D6-0AF3C5F77D73}"/>
              </a:ext>
            </a:extLst>
          </p:cNvPr>
          <p:cNvSpPr/>
          <p:nvPr/>
        </p:nvSpPr>
        <p:spPr>
          <a:xfrm>
            <a:off x="8326446" y="4157595"/>
            <a:ext cx="36000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en-GB" sz="1400" b="1" kern="0">
                <a:solidFill>
                  <a:schemeClr val="tx2"/>
                </a:solidFill>
                <a:latin typeface="EYInterstate Light" panose="02000506000000020004" pitchFamily="2" charset="0"/>
              </a:rPr>
              <a:t>…SEBBENE PERMANGA INCERTEZZA SUL SULLA NORMATIVA</a:t>
            </a:r>
          </a:p>
        </p:txBody>
      </p:sp>
      <p:sp>
        <p:nvSpPr>
          <p:cNvPr id="55" name="Title 5">
            <a:extLst>
              <a:ext uri="{FF2B5EF4-FFF2-40B4-BE49-F238E27FC236}">
                <a16:creationId xmlns:a16="http://schemas.microsoft.com/office/drawing/2014/main" id="{EA9413C3-8056-D024-1227-0888048DBB26}"/>
              </a:ext>
            </a:extLst>
          </p:cNvPr>
          <p:cNvSpPr txBox="1">
            <a:spLocks/>
          </p:cNvSpPr>
          <p:nvPr/>
        </p:nvSpPr>
        <p:spPr>
          <a:xfrm>
            <a:off x="485522" y="369888"/>
            <a:ext cx="11413253" cy="45147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600" b="1" i="0" kern="1200">
                <a:solidFill>
                  <a:schemeClr val="tx2"/>
                </a:solidFill>
                <a:latin typeface="EYInterstate Regular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it-IT" sz="2400">
                <a:latin typeface="+mn-lt"/>
              </a:rPr>
              <a:t>I key take </a:t>
            </a:r>
            <a:r>
              <a:rPr lang="it-IT" sz="2400" err="1">
                <a:latin typeface="+mn-lt"/>
              </a:rPr>
              <a:t>away</a:t>
            </a:r>
            <a:r>
              <a:rPr lang="it-IT" sz="2400">
                <a:latin typeface="+mn-lt"/>
              </a:rPr>
              <a:t> della ricerca condotta da EY sulle </a:t>
            </a:r>
            <a:r>
              <a:rPr lang="it-IT" sz="2400" err="1">
                <a:latin typeface="+mn-lt"/>
              </a:rPr>
              <a:t>Stablecoin</a:t>
            </a:r>
            <a:endParaRPr lang="it-IT" sz="2400">
              <a:latin typeface="+mn-lt"/>
            </a:endParaRPr>
          </a:p>
        </p:txBody>
      </p:sp>
      <p:sp>
        <p:nvSpPr>
          <p:cNvPr id="56" name="Rectangle 209">
            <a:extLst>
              <a:ext uri="{FF2B5EF4-FFF2-40B4-BE49-F238E27FC236}">
                <a16:creationId xmlns:a16="http://schemas.microsoft.com/office/drawing/2014/main" id="{5FF19092-6F0E-50BE-65F1-710E3D74B098}"/>
              </a:ext>
            </a:extLst>
          </p:cNvPr>
          <p:cNvSpPr/>
          <p:nvPr/>
        </p:nvSpPr>
        <p:spPr>
          <a:xfrm>
            <a:off x="8652037" y="5634103"/>
            <a:ext cx="1630949" cy="338554"/>
          </a:xfrm>
          <a:prstGeom prst="rect">
            <a:avLst/>
          </a:prstGeom>
          <a:noFill/>
        </p:spPr>
        <p:txBody>
          <a:bodyPr wrap="square" lIns="72000" tIns="0" rIns="0" bIns="0">
            <a:noAutofit/>
          </a:bodyPr>
          <a:lstStyle/>
          <a:p>
            <a:pPr>
              <a:defRPr/>
            </a:pPr>
            <a:r>
              <a:rPr lang="en-GB" sz="1050" b="1" i="1" kern="0">
                <a:solidFill>
                  <a:schemeClr val="tx2"/>
                </a:solidFill>
                <a:latin typeface="EYInterstate Light" panose="02000506000000020004" pitchFamily="2" charset="0"/>
              </a:rPr>
              <a:t>FOCUS PROSSIMA SEZIONE</a:t>
            </a:r>
          </a:p>
        </p:txBody>
      </p:sp>
      <p:sp>
        <p:nvSpPr>
          <p:cNvPr id="60" name="Freeform 136">
            <a:extLst>
              <a:ext uri="{FF2B5EF4-FFF2-40B4-BE49-F238E27FC236}">
                <a16:creationId xmlns:a16="http://schemas.microsoft.com/office/drawing/2014/main" id="{62F4D295-D952-4457-E578-B8F8695260F5}"/>
              </a:ext>
            </a:extLst>
          </p:cNvPr>
          <p:cNvSpPr>
            <a:spLocks noChangeAspect="1"/>
          </p:cNvSpPr>
          <p:nvPr/>
        </p:nvSpPr>
        <p:spPr>
          <a:xfrm>
            <a:off x="4360297" y="3596996"/>
            <a:ext cx="468000" cy="468000"/>
          </a:xfrm>
          <a:custGeom>
            <a:avLst/>
            <a:gdLst/>
            <a:ahLst/>
            <a:cxnLst/>
            <a:rect l="0" t="0" r="0" b="0"/>
            <a:pathLst>
              <a:path w="815594" h="815594">
                <a:moveTo>
                  <a:pt x="0" y="407798"/>
                </a:moveTo>
                <a:cubicBezTo>
                  <a:pt x="0" y="182626"/>
                  <a:pt x="182626" y="0"/>
                  <a:pt x="407798" y="0"/>
                </a:cubicBezTo>
                <a:cubicBezTo>
                  <a:pt x="633096" y="0"/>
                  <a:pt x="815594" y="182626"/>
                  <a:pt x="815594" y="407798"/>
                </a:cubicBezTo>
                <a:cubicBezTo>
                  <a:pt x="815594" y="632969"/>
                  <a:pt x="633096" y="815594"/>
                  <a:pt x="407798" y="815594"/>
                </a:cubicBezTo>
                <a:cubicBezTo>
                  <a:pt x="182626" y="815594"/>
                  <a:pt x="0" y="632969"/>
                  <a:pt x="0" y="407798"/>
                </a:cubicBezTo>
                <a:close/>
                <a:moveTo>
                  <a:pt x="-1769618" y="4120134"/>
                </a:moveTo>
              </a:path>
            </a:pathLst>
          </a:custGeom>
          <a:solidFill>
            <a:schemeClr val="bg1">
              <a:lumMod val="75000"/>
              <a:lumOff val="2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 sz="2400" kern="0">
              <a:solidFill>
                <a:schemeClr val="tx1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F9079455-CDF1-B74F-D8EE-20D9F9DCC969}"/>
              </a:ext>
            </a:extLst>
          </p:cNvPr>
          <p:cNvSpPr txBox="1"/>
          <p:nvPr/>
        </p:nvSpPr>
        <p:spPr>
          <a:xfrm>
            <a:off x="4501501" y="3646330"/>
            <a:ext cx="190758" cy="369332"/>
          </a:xfrm>
          <a:prstGeom prst="rect">
            <a:avLst/>
          </a:prstGeom>
          <a:noFill/>
        </p:spPr>
        <p:txBody>
          <a:bodyPr wrap="none" lIns="0" tIns="36576" rIns="0" bIns="0" rtlCol="0" anchor="t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it-IT" sz="2400" b="1"/>
              <a:t>5</a:t>
            </a:r>
          </a:p>
        </p:txBody>
      </p:sp>
      <p:sp>
        <p:nvSpPr>
          <p:cNvPr id="65" name="Freeform 136">
            <a:extLst>
              <a:ext uri="{FF2B5EF4-FFF2-40B4-BE49-F238E27FC236}">
                <a16:creationId xmlns:a16="http://schemas.microsoft.com/office/drawing/2014/main" id="{B07B657B-CC86-3BB9-81DD-146184E178D9}"/>
              </a:ext>
            </a:extLst>
          </p:cNvPr>
          <p:cNvSpPr>
            <a:spLocks noChangeAspect="1"/>
          </p:cNvSpPr>
          <p:nvPr/>
        </p:nvSpPr>
        <p:spPr>
          <a:xfrm>
            <a:off x="490878" y="3596996"/>
            <a:ext cx="468000" cy="468000"/>
          </a:xfrm>
          <a:custGeom>
            <a:avLst/>
            <a:gdLst/>
            <a:ahLst/>
            <a:cxnLst/>
            <a:rect l="0" t="0" r="0" b="0"/>
            <a:pathLst>
              <a:path w="815594" h="815594">
                <a:moveTo>
                  <a:pt x="0" y="407798"/>
                </a:moveTo>
                <a:cubicBezTo>
                  <a:pt x="0" y="182626"/>
                  <a:pt x="182626" y="0"/>
                  <a:pt x="407798" y="0"/>
                </a:cubicBezTo>
                <a:cubicBezTo>
                  <a:pt x="633096" y="0"/>
                  <a:pt x="815594" y="182626"/>
                  <a:pt x="815594" y="407798"/>
                </a:cubicBezTo>
                <a:cubicBezTo>
                  <a:pt x="815594" y="632969"/>
                  <a:pt x="633096" y="815594"/>
                  <a:pt x="407798" y="815594"/>
                </a:cubicBezTo>
                <a:cubicBezTo>
                  <a:pt x="182626" y="815594"/>
                  <a:pt x="0" y="632969"/>
                  <a:pt x="0" y="407798"/>
                </a:cubicBezTo>
                <a:close/>
                <a:moveTo>
                  <a:pt x="-1769618" y="4120134"/>
                </a:moveTo>
              </a:path>
            </a:pathLst>
          </a:custGeom>
          <a:solidFill>
            <a:schemeClr val="bg1">
              <a:lumMod val="75000"/>
              <a:lumOff val="2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 sz="2400" kern="0">
              <a:solidFill>
                <a:schemeClr val="tx1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7E10567B-84CA-2C6D-CD28-C9BCEA0D778D}"/>
              </a:ext>
            </a:extLst>
          </p:cNvPr>
          <p:cNvSpPr txBox="1"/>
          <p:nvPr/>
        </p:nvSpPr>
        <p:spPr>
          <a:xfrm>
            <a:off x="630119" y="3646330"/>
            <a:ext cx="190758" cy="369332"/>
          </a:xfrm>
          <a:prstGeom prst="rect">
            <a:avLst/>
          </a:prstGeom>
          <a:noFill/>
        </p:spPr>
        <p:txBody>
          <a:bodyPr wrap="none" lIns="0" tIns="36576" rIns="0" bIns="0" rtlCol="0" anchor="t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en-US" sz="2400" b="1"/>
              <a:t>4</a:t>
            </a:r>
            <a:endParaRPr lang="it-IT" sz="2400" b="1"/>
          </a:p>
        </p:txBody>
      </p:sp>
      <p:sp>
        <p:nvSpPr>
          <p:cNvPr id="67" name="Freeform 136">
            <a:extLst>
              <a:ext uri="{FF2B5EF4-FFF2-40B4-BE49-F238E27FC236}">
                <a16:creationId xmlns:a16="http://schemas.microsoft.com/office/drawing/2014/main" id="{8CB2DD3A-46CD-4DCD-1D74-613368783D0F}"/>
              </a:ext>
            </a:extLst>
          </p:cNvPr>
          <p:cNvSpPr>
            <a:spLocks noChangeAspect="1"/>
          </p:cNvSpPr>
          <p:nvPr/>
        </p:nvSpPr>
        <p:spPr>
          <a:xfrm>
            <a:off x="8344324" y="3596996"/>
            <a:ext cx="468000" cy="468000"/>
          </a:xfrm>
          <a:custGeom>
            <a:avLst/>
            <a:gdLst/>
            <a:ahLst/>
            <a:cxnLst/>
            <a:rect l="0" t="0" r="0" b="0"/>
            <a:pathLst>
              <a:path w="815594" h="815594">
                <a:moveTo>
                  <a:pt x="0" y="407798"/>
                </a:moveTo>
                <a:cubicBezTo>
                  <a:pt x="0" y="182626"/>
                  <a:pt x="182626" y="0"/>
                  <a:pt x="407798" y="0"/>
                </a:cubicBezTo>
                <a:cubicBezTo>
                  <a:pt x="633096" y="0"/>
                  <a:pt x="815594" y="182626"/>
                  <a:pt x="815594" y="407798"/>
                </a:cubicBezTo>
                <a:cubicBezTo>
                  <a:pt x="815594" y="632969"/>
                  <a:pt x="633096" y="815594"/>
                  <a:pt x="407798" y="815594"/>
                </a:cubicBezTo>
                <a:cubicBezTo>
                  <a:pt x="182626" y="815594"/>
                  <a:pt x="0" y="632969"/>
                  <a:pt x="0" y="407798"/>
                </a:cubicBezTo>
                <a:close/>
                <a:moveTo>
                  <a:pt x="-1769618" y="4120134"/>
                </a:moveTo>
              </a:path>
            </a:pathLst>
          </a:custGeom>
          <a:solidFill>
            <a:schemeClr val="bg2">
              <a:lumMod val="7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 sz="2400" kern="0">
              <a:solidFill>
                <a:schemeClr val="tx1">
                  <a:lumMod val="50000"/>
                </a:schemeClr>
              </a:solidFill>
              <a:latin typeface="EYInterstate Light" panose="02000506000000020004" pitchFamily="2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E36B00A-D949-DEDA-8749-E936EFBB3307}"/>
              </a:ext>
            </a:extLst>
          </p:cNvPr>
          <p:cNvSpPr txBox="1"/>
          <p:nvPr/>
        </p:nvSpPr>
        <p:spPr>
          <a:xfrm>
            <a:off x="8482381" y="3646330"/>
            <a:ext cx="190758" cy="369332"/>
          </a:xfrm>
          <a:prstGeom prst="rect">
            <a:avLst/>
          </a:prstGeom>
          <a:noFill/>
        </p:spPr>
        <p:txBody>
          <a:bodyPr wrap="none" lIns="0" tIns="36576" rIns="0" bIns="0" rtlCol="0" anchor="t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en-US" sz="2400" b="1">
                <a:solidFill>
                  <a:schemeClr val="tx2"/>
                </a:solidFill>
              </a:rPr>
              <a:t>6</a:t>
            </a:r>
            <a:endParaRPr lang="it-IT" sz="2400" b="1">
              <a:solidFill>
                <a:schemeClr val="tx2"/>
              </a:solidFill>
            </a:endParaRPr>
          </a:p>
        </p:txBody>
      </p:sp>
      <p:sp>
        <p:nvSpPr>
          <p:cNvPr id="69" name="Freeform 136">
            <a:extLst>
              <a:ext uri="{FF2B5EF4-FFF2-40B4-BE49-F238E27FC236}">
                <a16:creationId xmlns:a16="http://schemas.microsoft.com/office/drawing/2014/main" id="{7EBEBA72-0560-744C-83D8-9BBA6168B768}"/>
              </a:ext>
            </a:extLst>
          </p:cNvPr>
          <p:cNvSpPr>
            <a:spLocks noChangeAspect="1"/>
          </p:cNvSpPr>
          <p:nvPr/>
        </p:nvSpPr>
        <p:spPr>
          <a:xfrm>
            <a:off x="4360297" y="866232"/>
            <a:ext cx="468000" cy="468000"/>
          </a:xfrm>
          <a:custGeom>
            <a:avLst/>
            <a:gdLst/>
            <a:ahLst/>
            <a:cxnLst/>
            <a:rect l="0" t="0" r="0" b="0"/>
            <a:pathLst>
              <a:path w="815594" h="815594">
                <a:moveTo>
                  <a:pt x="0" y="407798"/>
                </a:moveTo>
                <a:cubicBezTo>
                  <a:pt x="0" y="182626"/>
                  <a:pt x="182626" y="0"/>
                  <a:pt x="407798" y="0"/>
                </a:cubicBezTo>
                <a:cubicBezTo>
                  <a:pt x="633096" y="0"/>
                  <a:pt x="815594" y="182626"/>
                  <a:pt x="815594" y="407798"/>
                </a:cubicBezTo>
                <a:cubicBezTo>
                  <a:pt x="815594" y="632969"/>
                  <a:pt x="633096" y="815594"/>
                  <a:pt x="407798" y="815594"/>
                </a:cubicBezTo>
                <a:cubicBezTo>
                  <a:pt x="182626" y="815594"/>
                  <a:pt x="0" y="632969"/>
                  <a:pt x="0" y="407798"/>
                </a:cubicBezTo>
                <a:close/>
                <a:moveTo>
                  <a:pt x="-1769618" y="4120134"/>
                </a:moveTo>
              </a:path>
            </a:pathLst>
          </a:custGeom>
          <a:solidFill>
            <a:schemeClr val="bg1">
              <a:lumMod val="75000"/>
              <a:lumOff val="2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 sz="2400" kern="0">
              <a:solidFill>
                <a:schemeClr val="tx1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C0489B87-C4F7-0D8D-1FA9-BA7B358F622D}"/>
              </a:ext>
            </a:extLst>
          </p:cNvPr>
          <p:cNvSpPr txBox="1"/>
          <p:nvPr/>
        </p:nvSpPr>
        <p:spPr>
          <a:xfrm>
            <a:off x="4501501" y="915566"/>
            <a:ext cx="190758" cy="369332"/>
          </a:xfrm>
          <a:prstGeom prst="rect">
            <a:avLst/>
          </a:prstGeom>
          <a:noFill/>
        </p:spPr>
        <p:txBody>
          <a:bodyPr wrap="none" lIns="0" tIns="36576" rIns="0" bIns="0" rtlCol="0" anchor="t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en-US" sz="2400" b="1"/>
              <a:t>2</a:t>
            </a:r>
            <a:endParaRPr lang="it-IT" sz="2400" b="1"/>
          </a:p>
        </p:txBody>
      </p:sp>
      <p:sp>
        <p:nvSpPr>
          <p:cNvPr id="71" name="Freeform 136">
            <a:extLst>
              <a:ext uri="{FF2B5EF4-FFF2-40B4-BE49-F238E27FC236}">
                <a16:creationId xmlns:a16="http://schemas.microsoft.com/office/drawing/2014/main" id="{AF6AEA67-84B0-C83E-B60C-68B68C28DED3}"/>
              </a:ext>
            </a:extLst>
          </p:cNvPr>
          <p:cNvSpPr>
            <a:spLocks noChangeAspect="1"/>
          </p:cNvSpPr>
          <p:nvPr/>
        </p:nvSpPr>
        <p:spPr>
          <a:xfrm>
            <a:off x="490878" y="866232"/>
            <a:ext cx="468000" cy="468000"/>
          </a:xfrm>
          <a:custGeom>
            <a:avLst/>
            <a:gdLst/>
            <a:ahLst/>
            <a:cxnLst/>
            <a:rect l="0" t="0" r="0" b="0"/>
            <a:pathLst>
              <a:path w="815594" h="815594">
                <a:moveTo>
                  <a:pt x="0" y="407798"/>
                </a:moveTo>
                <a:cubicBezTo>
                  <a:pt x="0" y="182626"/>
                  <a:pt x="182626" y="0"/>
                  <a:pt x="407798" y="0"/>
                </a:cubicBezTo>
                <a:cubicBezTo>
                  <a:pt x="633096" y="0"/>
                  <a:pt x="815594" y="182626"/>
                  <a:pt x="815594" y="407798"/>
                </a:cubicBezTo>
                <a:cubicBezTo>
                  <a:pt x="815594" y="632969"/>
                  <a:pt x="633096" y="815594"/>
                  <a:pt x="407798" y="815594"/>
                </a:cubicBezTo>
                <a:cubicBezTo>
                  <a:pt x="182626" y="815594"/>
                  <a:pt x="0" y="632969"/>
                  <a:pt x="0" y="407798"/>
                </a:cubicBezTo>
                <a:close/>
                <a:moveTo>
                  <a:pt x="-1769618" y="4120134"/>
                </a:moveTo>
              </a:path>
            </a:pathLst>
          </a:custGeom>
          <a:solidFill>
            <a:schemeClr val="bg1">
              <a:lumMod val="75000"/>
              <a:lumOff val="2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 sz="2400" kern="0">
              <a:solidFill>
                <a:schemeClr val="tx1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9EDF27CB-A804-91C4-FE7F-5A99D71D2245}"/>
              </a:ext>
            </a:extLst>
          </p:cNvPr>
          <p:cNvSpPr txBox="1"/>
          <p:nvPr/>
        </p:nvSpPr>
        <p:spPr>
          <a:xfrm>
            <a:off x="630119" y="915566"/>
            <a:ext cx="190758" cy="369332"/>
          </a:xfrm>
          <a:prstGeom prst="rect">
            <a:avLst/>
          </a:prstGeom>
          <a:noFill/>
        </p:spPr>
        <p:txBody>
          <a:bodyPr wrap="none" lIns="0" tIns="36576" rIns="0" bIns="0" rtlCol="0" anchor="t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en-US" sz="2400" b="1"/>
              <a:t>1</a:t>
            </a:r>
            <a:endParaRPr lang="it-IT" sz="2400" b="1"/>
          </a:p>
        </p:txBody>
      </p:sp>
      <p:sp>
        <p:nvSpPr>
          <p:cNvPr id="73" name="Freeform 136">
            <a:extLst>
              <a:ext uri="{FF2B5EF4-FFF2-40B4-BE49-F238E27FC236}">
                <a16:creationId xmlns:a16="http://schemas.microsoft.com/office/drawing/2014/main" id="{9470BF57-9178-7368-FC65-5570C5ABD68C}"/>
              </a:ext>
            </a:extLst>
          </p:cNvPr>
          <p:cNvSpPr>
            <a:spLocks noChangeAspect="1"/>
          </p:cNvSpPr>
          <p:nvPr/>
        </p:nvSpPr>
        <p:spPr>
          <a:xfrm>
            <a:off x="8344324" y="866232"/>
            <a:ext cx="468000" cy="468000"/>
          </a:xfrm>
          <a:custGeom>
            <a:avLst/>
            <a:gdLst/>
            <a:ahLst/>
            <a:cxnLst/>
            <a:rect l="0" t="0" r="0" b="0"/>
            <a:pathLst>
              <a:path w="815594" h="815594">
                <a:moveTo>
                  <a:pt x="0" y="407798"/>
                </a:moveTo>
                <a:cubicBezTo>
                  <a:pt x="0" y="182626"/>
                  <a:pt x="182626" y="0"/>
                  <a:pt x="407798" y="0"/>
                </a:cubicBezTo>
                <a:cubicBezTo>
                  <a:pt x="633096" y="0"/>
                  <a:pt x="815594" y="182626"/>
                  <a:pt x="815594" y="407798"/>
                </a:cubicBezTo>
                <a:cubicBezTo>
                  <a:pt x="815594" y="632969"/>
                  <a:pt x="633096" y="815594"/>
                  <a:pt x="407798" y="815594"/>
                </a:cubicBezTo>
                <a:cubicBezTo>
                  <a:pt x="182626" y="815594"/>
                  <a:pt x="0" y="632969"/>
                  <a:pt x="0" y="407798"/>
                </a:cubicBezTo>
                <a:close/>
                <a:moveTo>
                  <a:pt x="-1769618" y="4120134"/>
                </a:moveTo>
              </a:path>
            </a:pathLst>
          </a:custGeom>
          <a:solidFill>
            <a:schemeClr val="bg1">
              <a:lumMod val="75000"/>
              <a:lumOff val="2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 sz="2400" kern="0">
              <a:solidFill>
                <a:schemeClr val="tx1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DF451433-C0D9-801D-831A-CC110AABF031}"/>
              </a:ext>
            </a:extLst>
          </p:cNvPr>
          <p:cNvSpPr txBox="1"/>
          <p:nvPr/>
        </p:nvSpPr>
        <p:spPr>
          <a:xfrm>
            <a:off x="8483565" y="915566"/>
            <a:ext cx="190758" cy="369332"/>
          </a:xfrm>
          <a:prstGeom prst="rect">
            <a:avLst/>
          </a:prstGeom>
          <a:noFill/>
        </p:spPr>
        <p:txBody>
          <a:bodyPr wrap="none" lIns="0" tIns="36576" rIns="0" bIns="0" rtlCol="0" anchor="t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en-US" sz="2400" b="1"/>
              <a:t>3</a:t>
            </a:r>
            <a:endParaRPr lang="it-IT" sz="2400" b="1"/>
          </a:p>
        </p:txBody>
      </p:sp>
      <p:sp>
        <p:nvSpPr>
          <p:cNvPr id="2" name="Rectangle 209">
            <a:extLst>
              <a:ext uri="{FF2B5EF4-FFF2-40B4-BE49-F238E27FC236}">
                <a16:creationId xmlns:a16="http://schemas.microsoft.com/office/drawing/2014/main" id="{26464E46-CA30-9306-F40C-7F3AE9ED839A}"/>
              </a:ext>
            </a:extLst>
          </p:cNvPr>
          <p:cNvSpPr/>
          <p:nvPr/>
        </p:nvSpPr>
        <p:spPr>
          <a:xfrm>
            <a:off x="8344700" y="4710553"/>
            <a:ext cx="3600000" cy="17235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it-IT" sz="1400" kern="0">
                <a:solidFill>
                  <a:srgbClr val="FFFFFF"/>
                </a:solidFill>
                <a:latin typeface="EYInterstate Light" panose="02000506000000020004" pitchFamily="2" charset="0"/>
              </a:rPr>
              <a:t>Il </a:t>
            </a:r>
            <a:r>
              <a:rPr lang="it-IT" sz="1400" kern="0">
                <a:solidFill>
                  <a:schemeClr val="tx2"/>
                </a:solidFill>
                <a:latin typeface="EYInterstate Light" panose="02000506000000020004" pitchFamily="2" charset="0"/>
              </a:rPr>
              <a:t>73% delle organizzazioni </a:t>
            </a:r>
            <a:r>
              <a:rPr lang="it-IT" sz="1400" kern="0">
                <a:solidFill>
                  <a:srgbClr val="FFFFFF"/>
                </a:solidFill>
                <a:latin typeface="EYInterstate Light" panose="02000506000000020004" pitchFamily="2" charset="0"/>
              </a:rPr>
              <a:t>ha indicato la </a:t>
            </a:r>
            <a:r>
              <a:rPr lang="it-IT" sz="1400" kern="0">
                <a:solidFill>
                  <a:schemeClr val="tx2"/>
                </a:solidFill>
                <a:latin typeface="EYInterstate Light" panose="02000506000000020004" pitchFamily="2" charset="0"/>
              </a:rPr>
              <a:t>mancanza di chiarezza normativa </a:t>
            </a:r>
            <a:r>
              <a:rPr lang="it-IT" sz="1400" kern="0">
                <a:solidFill>
                  <a:srgbClr val="FFFFFF"/>
                </a:solidFill>
                <a:latin typeface="EYInterstate Light" panose="02000506000000020004" pitchFamily="2" charset="0"/>
              </a:rPr>
              <a:t>come uno dei principali </a:t>
            </a:r>
            <a:r>
              <a:rPr lang="it-IT" sz="1400" kern="0">
                <a:solidFill>
                  <a:schemeClr val="tx2"/>
                </a:solidFill>
                <a:latin typeface="EYInterstate Light" panose="02000506000000020004" pitchFamily="2" charset="0"/>
              </a:rPr>
              <a:t>ostacoli all'adozion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DE048E17-5DD9-4ADD-10B1-569B6B9C6ED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b="13905"/>
          <a:stretch>
            <a:fillRect/>
          </a:stretch>
        </p:blipFill>
        <p:spPr>
          <a:xfrm flipH="1">
            <a:off x="8344323" y="5618080"/>
            <a:ext cx="300883" cy="319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1347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85B512-68F1-1672-4A53-3C4CC85457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55B7C53-C67F-A075-6DD7-FB98884408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8102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5B7C53-C67F-A075-6DD7-FB9888440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701BAA1-4FE6-6E42-8123-7E1C493834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3053616"/>
            <a:ext cx="8458200" cy="2869882"/>
          </a:xfrm>
        </p:spPr>
        <p:txBody>
          <a:bodyPr vert="horz"/>
          <a:lstStyle/>
          <a:p>
            <a:r>
              <a:rPr lang="it-IT">
                <a:solidFill>
                  <a:schemeClr val="tx2"/>
                </a:solidFill>
              </a:rPr>
              <a:t>IL NUOVO CONTESTO EUROPEO TRA MICAR ED EURO DIGITALE</a:t>
            </a:r>
            <a:endParaRPr lang="it-I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56731F-7473-A113-FD61-437E3149EC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it-IT">
                <a:solidFill>
                  <a:schemeClr val="tx1">
                    <a:alpha val="50000"/>
                  </a:schemeClr>
                </a:solidFill>
              </a:rPr>
              <a:t>03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016F383-2F78-4341-BAFC-0C5F50A7F51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485747" y="6520888"/>
            <a:ext cx="509098" cy="123111"/>
          </a:xfrm>
        </p:spPr>
        <p:txBody>
          <a:bodyPr/>
          <a:lstStyle/>
          <a:p>
            <a:fld id="{F1BC30E3-FFE5-4B91-AA19-87A149EBB9EE}" type="slidenum">
              <a:rPr lang="en-GB" smtClean="0"/>
              <a:pPr/>
              <a:t>15</a:t>
            </a:fld>
            <a:endParaRPr lang="en-GB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47A38E6C-BD72-08DD-3C42-8AE4853FC9F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051325" y="6520888"/>
            <a:ext cx="4222633" cy="123111"/>
          </a:xfrm>
        </p:spPr>
        <p:txBody>
          <a:bodyPr/>
          <a:lstStyle/>
          <a:p>
            <a:r>
              <a:rPr lang="it-IT"/>
              <a:t>Le </a:t>
            </a:r>
            <a:r>
              <a:rPr lang="it-IT" err="1"/>
              <a:t>stablecoin</a:t>
            </a:r>
            <a:r>
              <a:rPr lang="it-IT"/>
              <a:t> e il futuro dei pagamenti digitali | Salone dei pagamenti | 30 ottobre 2025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574510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A8F7F05-A2DF-006F-976E-92154A5EC8B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it-IT"/>
              <a:t>Le stablecoin e il futuro dei pagamenti digitali | Salone dei pagamenti | 30 ottobre 2025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DDCC4C-6A94-6D5D-8F83-1400BF13AA1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16</a:t>
            </a:fld>
            <a:endParaRPr lang="en-GB"/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492540FA-D92B-E8B9-10E9-C531FFB47828}"/>
              </a:ext>
            </a:extLst>
          </p:cNvPr>
          <p:cNvSpPr>
            <a:spLocks/>
          </p:cNvSpPr>
          <p:nvPr/>
        </p:nvSpPr>
        <p:spPr bwMode="auto">
          <a:xfrm>
            <a:off x="6773238" y="4182909"/>
            <a:ext cx="482600" cy="554038"/>
          </a:xfrm>
          <a:custGeom>
            <a:avLst/>
            <a:gdLst>
              <a:gd name="T0" fmla="*/ 17 w 239"/>
              <a:gd name="T1" fmla="*/ 185 h 297"/>
              <a:gd name="T2" fmla="*/ 23 w 239"/>
              <a:gd name="T3" fmla="*/ 201 h 297"/>
              <a:gd name="T4" fmla="*/ 25 w 239"/>
              <a:gd name="T5" fmla="*/ 212 h 297"/>
              <a:gd name="T6" fmla="*/ 35 w 239"/>
              <a:gd name="T7" fmla="*/ 220 h 297"/>
              <a:gd name="T8" fmla="*/ 39 w 239"/>
              <a:gd name="T9" fmla="*/ 224 h 297"/>
              <a:gd name="T10" fmla="*/ 46 w 239"/>
              <a:gd name="T11" fmla="*/ 229 h 297"/>
              <a:gd name="T12" fmla="*/ 48 w 239"/>
              <a:gd name="T13" fmla="*/ 234 h 297"/>
              <a:gd name="T14" fmla="*/ 55 w 239"/>
              <a:gd name="T15" fmla="*/ 243 h 297"/>
              <a:gd name="T16" fmla="*/ 68 w 239"/>
              <a:gd name="T17" fmla="*/ 253 h 297"/>
              <a:gd name="T18" fmla="*/ 77 w 239"/>
              <a:gd name="T19" fmla="*/ 262 h 297"/>
              <a:gd name="T20" fmla="*/ 78 w 239"/>
              <a:gd name="T21" fmla="*/ 269 h 297"/>
              <a:gd name="T22" fmla="*/ 80 w 239"/>
              <a:gd name="T23" fmla="*/ 274 h 297"/>
              <a:gd name="T24" fmla="*/ 100 w 239"/>
              <a:gd name="T25" fmla="*/ 284 h 297"/>
              <a:gd name="T26" fmla="*/ 106 w 239"/>
              <a:gd name="T27" fmla="*/ 284 h 297"/>
              <a:gd name="T28" fmla="*/ 119 w 239"/>
              <a:gd name="T29" fmla="*/ 281 h 297"/>
              <a:gd name="T30" fmla="*/ 121 w 239"/>
              <a:gd name="T31" fmla="*/ 287 h 297"/>
              <a:gd name="T32" fmla="*/ 129 w 239"/>
              <a:gd name="T33" fmla="*/ 296 h 297"/>
              <a:gd name="T34" fmla="*/ 136 w 239"/>
              <a:gd name="T35" fmla="*/ 292 h 297"/>
              <a:gd name="T36" fmla="*/ 163 w 239"/>
              <a:gd name="T37" fmla="*/ 292 h 297"/>
              <a:gd name="T38" fmla="*/ 172 w 239"/>
              <a:gd name="T39" fmla="*/ 290 h 297"/>
              <a:gd name="T40" fmla="*/ 179 w 239"/>
              <a:gd name="T41" fmla="*/ 284 h 297"/>
              <a:gd name="T42" fmla="*/ 202 w 239"/>
              <a:gd name="T43" fmla="*/ 278 h 297"/>
              <a:gd name="T44" fmla="*/ 194 w 239"/>
              <a:gd name="T45" fmla="*/ 266 h 297"/>
              <a:gd name="T46" fmla="*/ 189 w 239"/>
              <a:gd name="T47" fmla="*/ 256 h 297"/>
              <a:gd name="T48" fmla="*/ 186 w 239"/>
              <a:gd name="T49" fmla="*/ 247 h 297"/>
              <a:gd name="T50" fmla="*/ 171 w 239"/>
              <a:gd name="T51" fmla="*/ 237 h 297"/>
              <a:gd name="T52" fmla="*/ 163 w 239"/>
              <a:gd name="T53" fmla="*/ 230 h 297"/>
              <a:gd name="T54" fmla="*/ 163 w 239"/>
              <a:gd name="T55" fmla="*/ 225 h 297"/>
              <a:gd name="T56" fmla="*/ 172 w 239"/>
              <a:gd name="T57" fmla="*/ 223 h 297"/>
              <a:gd name="T58" fmla="*/ 176 w 239"/>
              <a:gd name="T59" fmla="*/ 215 h 297"/>
              <a:gd name="T60" fmla="*/ 176 w 239"/>
              <a:gd name="T61" fmla="*/ 196 h 297"/>
              <a:gd name="T62" fmla="*/ 180 w 239"/>
              <a:gd name="T63" fmla="*/ 187 h 297"/>
              <a:gd name="T64" fmla="*/ 190 w 239"/>
              <a:gd name="T65" fmla="*/ 181 h 297"/>
              <a:gd name="T66" fmla="*/ 193 w 239"/>
              <a:gd name="T67" fmla="*/ 171 h 297"/>
              <a:gd name="T68" fmla="*/ 203 w 239"/>
              <a:gd name="T69" fmla="*/ 154 h 297"/>
              <a:gd name="T70" fmla="*/ 210 w 239"/>
              <a:gd name="T71" fmla="*/ 139 h 297"/>
              <a:gd name="T72" fmla="*/ 210 w 239"/>
              <a:gd name="T73" fmla="*/ 116 h 297"/>
              <a:gd name="T74" fmla="*/ 215 w 239"/>
              <a:gd name="T75" fmla="*/ 99 h 297"/>
              <a:gd name="T76" fmla="*/ 218 w 239"/>
              <a:gd name="T77" fmla="*/ 90 h 297"/>
              <a:gd name="T78" fmla="*/ 227 w 239"/>
              <a:gd name="T79" fmla="*/ 85 h 297"/>
              <a:gd name="T80" fmla="*/ 238 w 239"/>
              <a:gd name="T81" fmla="*/ 76 h 297"/>
              <a:gd name="T82" fmla="*/ 227 w 239"/>
              <a:gd name="T83" fmla="*/ 68 h 297"/>
              <a:gd name="T84" fmla="*/ 221 w 239"/>
              <a:gd name="T85" fmla="*/ 57 h 297"/>
              <a:gd name="T86" fmla="*/ 215 w 239"/>
              <a:gd name="T87" fmla="*/ 32 h 297"/>
              <a:gd name="T88" fmla="*/ 208 w 239"/>
              <a:gd name="T89" fmla="*/ 13 h 297"/>
              <a:gd name="T90" fmla="*/ 199 w 239"/>
              <a:gd name="T91" fmla="*/ 6 h 297"/>
              <a:gd name="T92" fmla="*/ 192 w 239"/>
              <a:gd name="T93" fmla="*/ 1 h 297"/>
              <a:gd name="T94" fmla="*/ 181 w 239"/>
              <a:gd name="T95" fmla="*/ 3 h 297"/>
              <a:gd name="T96" fmla="*/ 172 w 239"/>
              <a:gd name="T97" fmla="*/ 11 h 297"/>
              <a:gd name="T98" fmla="*/ 161 w 239"/>
              <a:gd name="T99" fmla="*/ 19 h 297"/>
              <a:gd name="T100" fmla="*/ 39 w 239"/>
              <a:gd name="T101" fmla="*/ 14 h 297"/>
              <a:gd name="T102" fmla="*/ 28 w 239"/>
              <a:gd name="T103" fmla="*/ 46 h 297"/>
              <a:gd name="T104" fmla="*/ 26 w 239"/>
              <a:gd name="T105" fmla="*/ 111 h 297"/>
              <a:gd name="T106" fmla="*/ 16 w 239"/>
              <a:gd name="T107" fmla="*/ 114 h 297"/>
              <a:gd name="T108" fmla="*/ 9 w 239"/>
              <a:gd name="T109" fmla="*/ 124 h 297"/>
              <a:gd name="T110" fmla="*/ 4 w 239"/>
              <a:gd name="T111" fmla="*/ 145 h 297"/>
              <a:gd name="T112" fmla="*/ 3 w 239"/>
              <a:gd name="T113" fmla="*/ 157 h 297"/>
              <a:gd name="T114" fmla="*/ 0 w 239"/>
              <a:gd name="T115" fmla="*/ 161 h 297"/>
              <a:gd name="T116" fmla="*/ 3 w 239"/>
              <a:gd name="T117" fmla="*/ 164 h 297"/>
              <a:gd name="T118" fmla="*/ 9 w 239"/>
              <a:gd name="T119" fmla="*/ 171 h 297"/>
              <a:gd name="T120" fmla="*/ 15 w 239"/>
              <a:gd name="T121" fmla="*/ 178 h 297"/>
              <a:gd name="T122" fmla="*/ 16 w 239"/>
              <a:gd name="T123" fmla="*/ 181 h 2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39" h="297">
                <a:moveTo>
                  <a:pt x="16" y="181"/>
                </a:moveTo>
                <a:lnTo>
                  <a:pt x="17" y="181"/>
                </a:lnTo>
                <a:lnTo>
                  <a:pt x="17" y="185"/>
                </a:lnTo>
                <a:lnTo>
                  <a:pt x="19" y="189"/>
                </a:lnTo>
                <a:lnTo>
                  <a:pt x="21" y="194"/>
                </a:lnTo>
                <a:lnTo>
                  <a:pt x="23" y="201"/>
                </a:lnTo>
                <a:lnTo>
                  <a:pt x="24" y="203"/>
                </a:lnTo>
                <a:lnTo>
                  <a:pt x="25" y="207"/>
                </a:lnTo>
                <a:lnTo>
                  <a:pt x="25" y="212"/>
                </a:lnTo>
                <a:lnTo>
                  <a:pt x="25" y="219"/>
                </a:lnTo>
                <a:lnTo>
                  <a:pt x="34" y="219"/>
                </a:lnTo>
                <a:lnTo>
                  <a:pt x="35" y="220"/>
                </a:lnTo>
                <a:lnTo>
                  <a:pt x="35" y="221"/>
                </a:lnTo>
                <a:lnTo>
                  <a:pt x="37" y="223"/>
                </a:lnTo>
                <a:lnTo>
                  <a:pt x="39" y="224"/>
                </a:lnTo>
                <a:lnTo>
                  <a:pt x="42" y="226"/>
                </a:lnTo>
                <a:lnTo>
                  <a:pt x="44" y="227"/>
                </a:lnTo>
                <a:lnTo>
                  <a:pt x="46" y="229"/>
                </a:lnTo>
                <a:lnTo>
                  <a:pt x="47" y="230"/>
                </a:lnTo>
                <a:lnTo>
                  <a:pt x="48" y="230"/>
                </a:lnTo>
                <a:lnTo>
                  <a:pt x="48" y="234"/>
                </a:lnTo>
                <a:lnTo>
                  <a:pt x="50" y="237"/>
                </a:lnTo>
                <a:lnTo>
                  <a:pt x="51" y="239"/>
                </a:lnTo>
                <a:lnTo>
                  <a:pt x="55" y="243"/>
                </a:lnTo>
                <a:lnTo>
                  <a:pt x="58" y="246"/>
                </a:lnTo>
                <a:lnTo>
                  <a:pt x="62" y="250"/>
                </a:lnTo>
                <a:lnTo>
                  <a:pt x="68" y="253"/>
                </a:lnTo>
                <a:lnTo>
                  <a:pt x="72" y="256"/>
                </a:lnTo>
                <a:lnTo>
                  <a:pt x="75" y="260"/>
                </a:lnTo>
                <a:lnTo>
                  <a:pt x="77" y="262"/>
                </a:lnTo>
                <a:lnTo>
                  <a:pt x="78" y="265"/>
                </a:lnTo>
                <a:lnTo>
                  <a:pt x="78" y="268"/>
                </a:lnTo>
                <a:lnTo>
                  <a:pt x="78" y="269"/>
                </a:lnTo>
                <a:lnTo>
                  <a:pt x="79" y="272"/>
                </a:lnTo>
                <a:lnTo>
                  <a:pt x="79" y="273"/>
                </a:lnTo>
                <a:lnTo>
                  <a:pt x="80" y="274"/>
                </a:lnTo>
                <a:lnTo>
                  <a:pt x="90" y="279"/>
                </a:lnTo>
                <a:lnTo>
                  <a:pt x="94" y="282"/>
                </a:lnTo>
                <a:lnTo>
                  <a:pt x="100" y="284"/>
                </a:lnTo>
                <a:lnTo>
                  <a:pt x="101" y="282"/>
                </a:lnTo>
                <a:lnTo>
                  <a:pt x="104" y="281"/>
                </a:lnTo>
                <a:lnTo>
                  <a:pt x="106" y="284"/>
                </a:lnTo>
                <a:lnTo>
                  <a:pt x="109" y="283"/>
                </a:lnTo>
                <a:lnTo>
                  <a:pt x="112" y="282"/>
                </a:lnTo>
                <a:lnTo>
                  <a:pt x="119" y="281"/>
                </a:lnTo>
                <a:lnTo>
                  <a:pt x="119" y="283"/>
                </a:lnTo>
                <a:lnTo>
                  <a:pt x="120" y="286"/>
                </a:lnTo>
                <a:lnTo>
                  <a:pt x="121" y="287"/>
                </a:lnTo>
                <a:lnTo>
                  <a:pt x="123" y="289"/>
                </a:lnTo>
                <a:lnTo>
                  <a:pt x="126" y="292"/>
                </a:lnTo>
                <a:lnTo>
                  <a:pt x="129" y="296"/>
                </a:lnTo>
                <a:lnTo>
                  <a:pt x="131" y="295"/>
                </a:lnTo>
                <a:lnTo>
                  <a:pt x="134" y="293"/>
                </a:lnTo>
                <a:lnTo>
                  <a:pt x="136" y="292"/>
                </a:lnTo>
                <a:lnTo>
                  <a:pt x="140" y="292"/>
                </a:lnTo>
                <a:lnTo>
                  <a:pt x="159" y="292"/>
                </a:lnTo>
                <a:lnTo>
                  <a:pt x="163" y="292"/>
                </a:lnTo>
                <a:lnTo>
                  <a:pt x="166" y="292"/>
                </a:lnTo>
                <a:lnTo>
                  <a:pt x="170" y="291"/>
                </a:lnTo>
                <a:lnTo>
                  <a:pt x="172" y="290"/>
                </a:lnTo>
                <a:lnTo>
                  <a:pt x="175" y="288"/>
                </a:lnTo>
                <a:lnTo>
                  <a:pt x="177" y="286"/>
                </a:lnTo>
                <a:lnTo>
                  <a:pt x="179" y="284"/>
                </a:lnTo>
                <a:lnTo>
                  <a:pt x="181" y="282"/>
                </a:lnTo>
                <a:lnTo>
                  <a:pt x="203" y="282"/>
                </a:lnTo>
                <a:lnTo>
                  <a:pt x="202" y="278"/>
                </a:lnTo>
                <a:lnTo>
                  <a:pt x="202" y="275"/>
                </a:lnTo>
                <a:lnTo>
                  <a:pt x="198" y="270"/>
                </a:lnTo>
                <a:lnTo>
                  <a:pt x="194" y="266"/>
                </a:lnTo>
                <a:lnTo>
                  <a:pt x="192" y="263"/>
                </a:lnTo>
                <a:lnTo>
                  <a:pt x="191" y="261"/>
                </a:lnTo>
                <a:lnTo>
                  <a:pt x="189" y="256"/>
                </a:lnTo>
                <a:lnTo>
                  <a:pt x="189" y="251"/>
                </a:lnTo>
                <a:lnTo>
                  <a:pt x="188" y="249"/>
                </a:lnTo>
                <a:lnTo>
                  <a:pt x="186" y="247"/>
                </a:lnTo>
                <a:lnTo>
                  <a:pt x="185" y="246"/>
                </a:lnTo>
                <a:lnTo>
                  <a:pt x="182" y="243"/>
                </a:lnTo>
                <a:lnTo>
                  <a:pt x="171" y="237"/>
                </a:lnTo>
                <a:lnTo>
                  <a:pt x="168" y="234"/>
                </a:lnTo>
                <a:lnTo>
                  <a:pt x="166" y="233"/>
                </a:lnTo>
                <a:lnTo>
                  <a:pt x="163" y="230"/>
                </a:lnTo>
                <a:lnTo>
                  <a:pt x="163" y="229"/>
                </a:lnTo>
                <a:lnTo>
                  <a:pt x="163" y="227"/>
                </a:lnTo>
                <a:lnTo>
                  <a:pt x="163" y="225"/>
                </a:lnTo>
                <a:lnTo>
                  <a:pt x="166" y="224"/>
                </a:lnTo>
                <a:lnTo>
                  <a:pt x="168" y="224"/>
                </a:lnTo>
                <a:lnTo>
                  <a:pt x="172" y="223"/>
                </a:lnTo>
                <a:lnTo>
                  <a:pt x="173" y="220"/>
                </a:lnTo>
                <a:lnTo>
                  <a:pt x="175" y="220"/>
                </a:lnTo>
                <a:lnTo>
                  <a:pt x="176" y="215"/>
                </a:lnTo>
                <a:lnTo>
                  <a:pt x="176" y="211"/>
                </a:lnTo>
                <a:lnTo>
                  <a:pt x="176" y="203"/>
                </a:lnTo>
                <a:lnTo>
                  <a:pt x="176" y="196"/>
                </a:lnTo>
                <a:lnTo>
                  <a:pt x="177" y="192"/>
                </a:lnTo>
                <a:lnTo>
                  <a:pt x="178" y="188"/>
                </a:lnTo>
                <a:lnTo>
                  <a:pt x="180" y="187"/>
                </a:lnTo>
                <a:lnTo>
                  <a:pt x="183" y="186"/>
                </a:lnTo>
                <a:lnTo>
                  <a:pt x="189" y="185"/>
                </a:lnTo>
                <a:lnTo>
                  <a:pt x="190" y="181"/>
                </a:lnTo>
                <a:lnTo>
                  <a:pt x="190" y="177"/>
                </a:lnTo>
                <a:lnTo>
                  <a:pt x="191" y="174"/>
                </a:lnTo>
                <a:lnTo>
                  <a:pt x="193" y="171"/>
                </a:lnTo>
                <a:lnTo>
                  <a:pt x="195" y="164"/>
                </a:lnTo>
                <a:lnTo>
                  <a:pt x="199" y="158"/>
                </a:lnTo>
                <a:lnTo>
                  <a:pt x="203" y="154"/>
                </a:lnTo>
                <a:lnTo>
                  <a:pt x="207" y="148"/>
                </a:lnTo>
                <a:lnTo>
                  <a:pt x="208" y="142"/>
                </a:lnTo>
                <a:lnTo>
                  <a:pt x="210" y="139"/>
                </a:lnTo>
                <a:lnTo>
                  <a:pt x="210" y="135"/>
                </a:lnTo>
                <a:lnTo>
                  <a:pt x="210" y="120"/>
                </a:lnTo>
                <a:lnTo>
                  <a:pt x="210" y="116"/>
                </a:lnTo>
                <a:lnTo>
                  <a:pt x="211" y="112"/>
                </a:lnTo>
                <a:lnTo>
                  <a:pt x="212" y="106"/>
                </a:lnTo>
                <a:lnTo>
                  <a:pt x="215" y="99"/>
                </a:lnTo>
                <a:lnTo>
                  <a:pt x="215" y="95"/>
                </a:lnTo>
                <a:lnTo>
                  <a:pt x="215" y="90"/>
                </a:lnTo>
                <a:lnTo>
                  <a:pt x="218" y="90"/>
                </a:lnTo>
                <a:lnTo>
                  <a:pt x="221" y="89"/>
                </a:lnTo>
                <a:lnTo>
                  <a:pt x="224" y="87"/>
                </a:lnTo>
                <a:lnTo>
                  <a:pt x="227" y="85"/>
                </a:lnTo>
                <a:lnTo>
                  <a:pt x="234" y="81"/>
                </a:lnTo>
                <a:lnTo>
                  <a:pt x="235" y="79"/>
                </a:lnTo>
                <a:lnTo>
                  <a:pt x="238" y="76"/>
                </a:lnTo>
                <a:lnTo>
                  <a:pt x="234" y="73"/>
                </a:lnTo>
                <a:lnTo>
                  <a:pt x="230" y="71"/>
                </a:lnTo>
                <a:lnTo>
                  <a:pt x="227" y="68"/>
                </a:lnTo>
                <a:lnTo>
                  <a:pt x="224" y="63"/>
                </a:lnTo>
                <a:lnTo>
                  <a:pt x="221" y="60"/>
                </a:lnTo>
                <a:lnTo>
                  <a:pt x="221" y="57"/>
                </a:lnTo>
                <a:lnTo>
                  <a:pt x="218" y="49"/>
                </a:lnTo>
                <a:lnTo>
                  <a:pt x="216" y="41"/>
                </a:lnTo>
                <a:lnTo>
                  <a:pt x="215" y="32"/>
                </a:lnTo>
                <a:lnTo>
                  <a:pt x="212" y="23"/>
                </a:lnTo>
                <a:lnTo>
                  <a:pt x="210" y="16"/>
                </a:lnTo>
                <a:lnTo>
                  <a:pt x="208" y="13"/>
                </a:lnTo>
                <a:lnTo>
                  <a:pt x="205" y="10"/>
                </a:lnTo>
                <a:lnTo>
                  <a:pt x="203" y="9"/>
                </a:lnTo>
                <a:lnTo>
                  <a:pt x="199" y="6"/>
                </a:lnTo>
                <a:lnTo>
                  <a:pt x="197" y="5"/>
                </a:lnTo>
                <a:lnTo>
                  <a:pt x="195" y="4"/>
                </a:lnTo>
                <a:lnTo>
                  <a:pt x="192" y="1"/>
                </a:lnTo>
                <a:lnTo>
                  <a:pt x="191" y="0"/>
                </a:lnTo>
                <a:lnTo>
                  <a:pt x="185" y="1"/>
                </a:lnTo>
                <a:lnTo>
                  <a:pt x="181" y="3"/>
                </a:lnTo>
                <a:lnTo>
                  <a:pt x="178" y="5"/>
                </a:lnTo>
                <a:lnTo>
                  <a:pt x="175" y="8"/>
                </a:lnTo>
                <a:lnTo>
                  <a:pt x="172" y="11"/>
                </a:lnTo>
                <a:lnTo>
                  <a:pt x="168" y="14"/>
                </a:lnTo>
                <a:lnTo>
                  <a:pt x="166" y="17"/>
                </a:lnTo>
                <a:lnTo>
                  <a:pt x="161" y="19"/>
                </a:lnTo>
                <a:lnTo>
                  <a:pt x="159" y="17"/>
                </a:lnTo>
                <a:lnTo>
                  <a:pt x="156" y="14"/>
                </a:lnTo>
                <a:lnTo>
                  <a:pt x="39" y="14"/>
                </a:lnTo>
                <a:lnTo>
                  <a:pt x="39" y="13"/>
                </a:lnTo>
                <a:lnTo>
                  <a:pt x="39" y="46"/>
                </a:lnTo>
                <a:lnTo>
                  <a:pt x="28" y="46"/>
                </a:lnTo>
                <a:lnTo>
                  <a:pt x="25" y="52"/>
                </a:lnTo>
                <a:lnTo>
                  <a:pt x="29" y="109"/>
                </a:lnTo>
                <a:lnTo>
                  <a:pt x="26" y="111"/>
                </a:lnTo>
                <a:lnTo>
                  <a:pt x="22" y="111"/>
                </a:lnTo>
                <a:lnTo>
                  <a:pt x="19" y="113"/>
                </a:lnTo>
                <a:lnTo>
                  <a:pt x="16" y="114"/>
                </a:lnTo>
                <a:lnTo>
                  <a:pt x="15" y="117"/>
                </a:lnTo>
                <a:lnTo>
                  <a:pt x="12" y="118"/>
                </a:lnTo>
                <a:lnTo>
                  <a:pt x="9" y="124"/>
                </a:lnTo>
                <a:lnTo>
                  <a:pt x="7" y="131"/>
                </a:lnTo>
                <a:lnTo>
                  <a:pt x="6" y="138"/>
                </a:lnTo>
                <a:lnTo>
                  <a:pt x="4" y="145"/>
                </a:lnTo>
                <a:lnTo>
                  <a:pt x="4" y="153"/>
                </a:lnTo>
                <a:lnTo>
                  <a:pt x="3" y="154"/>
                </a:lnTo>
                <a:lnTo>
                  <a:pt x="3" y="157"/>
                </a:lnTo>
                <a:lnTo>
                  <a:pt x="2" y="158"/>
                </a:lnTo>
                <a:lnTo>
                  <a:pt x="0" y="160"/>
                </a:lnTo>
                <a:lnTo>
                  <a:pt x="0" y="161"/>
                </a:lnTo>
                <a:lnTo>
                  <a:pt x="0" y="162"/>
                </a:lnTo>
                <a:lnTo>
                  <a:pt x="1" y="163"/>
                </a:lnTo>
                <a:lnTo>
                  <a:pt x="3" y="164"/>
                </a:lnTo>
                <a:lnTo>
                  <a:pt x="8" y="165"/>
                </a:lnTo>
                <a:lnTo>
                  <a:pt x="8" y="167"/>
                </a:lnTo>
                <a:lnTo>
                  <a:pt x="9" y="171"/>
                </a:lnTo>
                <a:lnTo>
                  <a:pt x="10" y="172"/>
                </a:lnTo>
                <a:lnTo>
                  <a:pt x="12" y="174"/>
                </a:lnTo>
                <a:lnTo>
                  <a:pt x="15" y="178"/>
                </a:lnTo>
                <a:lnTo>
                  <a:pt x="16" y="180"/>
                </a:lnTo>
                <a:lnTo>
                  <a:pt x="17" y="184"/>
                </a:lnTo>
                <a:lnTo>
                  <a:pt x="16" y="181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E2FCB839-7613-EFDB-2CE0-12A84573F893}"/>
              </a:ext>
            </a:extLst>
          </p:cNvPr>
          <p:cNvSpPr>
            <a:spLocks/>
          </p:cNvSpPr>
          <p:nvPr/>
        </p:nvSpPr>
        <p:spPr bwMode="auto">
          <a:xfrm>
            <a:off x="7352675" y="4468659"/>
            <a:ext cx="57150" cy="63500"/>
          </a:xfrm>
          <a:custGeom>
            <a:avLst/>
            <a:gdLst>
              <a:gd name="T0" fmla="*/ 13 w 28"/>
              <a:gd name="T1" fmla="*/ 0 h 34"/>
              <a:gd name="T2" fmla="*/ 16 w 28"/>
              <a:gd name="T3" fmla="*/ 2 h 34"/>
              <a:gd name="T4" fmla="*/ 19 w 28"/>
              <a:gd name="T5" fmla="*/ 5 h 34"/>
              <a:gd name="T6" fmla="*/ 22 w 28"/>
              <a:gd name="T7" fmla="*/ 7 h 34"/>
              <a:gd name="T8" fmla="*/ 25 w 28"/>
              <a:gd name="T9" fmla="*/ 10 h 34"/>
              <a:gd name="T10" fmla="*/ 27 w 28"/>
              <a:gd name="T11" fmla="*/ 13 h 34"/>
              <a:gd name="T12" fmla="*/ 27 w 28"/>
              <a:gd name="T13" fmla="*/ 14 h 34"/>
              <a:gd name="T14" fmla="*/ 27 w 28"/>
              <a:gd name="T15" fmla="*/ 17 h 34"/>
              <a:gd name="T16" fmla="*/ 26 w 28"/>
              <a:gd name="T17" fmla="*/ 18 h 34"/>
              <a:gd name="T18" fmla="*/ 23 w 28"/>
              <a:gd name="T19" fmla="*/ 20 h 34"/>
              <a:gd name="T20" fmla="*/ 21 w 28"/>
              <a:gd name="T21" fmla="*/ 23 h 34"/>
              <a:gd name="T22" fmla="*/ 17 w 28"/>
              <a:gd name="T23" fmla="*/ 27 h 34"/>
              <a:gd name="T24" fmla="*/ 15 w 28"/>
              <a:gd name="T25" fmla="*/ 29 h 34"/>
              <a:gd name="T26" fmla="*/ 11 w 28"/>
              <a:gd name="T27" fmla="*/ 31 h 34"/>
              <a:gd name="T28" fmla="*/ 8 w 28"/>
              <a:gd name="T29" fmla="*/ 32 h 34"/>
              <a:gd name="T30" fmla="*/ 3 w 28"/>
              <a:gd name="T31" fmla="*/ 33 h 34"/>
              <a:gd name="T32" fmla="*/ 2 w 28"/>
              <a:gd name="T33" fmla="*/ 32 h 34"/>
              <a:gd name="T34" fmla="*/ 0 w 28"/>
              <a:gd name="T35" fmla="*/ 31 h 34"/>
              <a:gd name="T36" fmla="*/ 0 w 28"/>
              <a:gd name="T37" fmla="*/ 28 h 34"/>
              <a:gd name="T38" fmla="*/ 0 w 28"/>
              <a:gd name="T39" fmla="*/ 25 h 34"/>
              <a:gd name="T40" fmla="*/ 0 w 28"/>
              <a:gd name="T41" fmla="*/ 22 h 34"/>
              <a:gd name="T42" fmla="*/ 1 w 28"/>
              <a:gd name="T43" fmla="*/ 18 h 34"/>
              <a:gd name="T44" fmla="*/ 3 w 28"/>
              <a:gd name="T45" fmla="*/ 14 h 34"/>
              <a:gd name="T46" fmla="*/ 6 w 28"/>
              <a:gd name="T47" fmla="*/ 12 h 34"/>
              <a:gd name="T48" fmla="*/ 8 w 28"/>
              <a:gd name="T49" fmla="*/ 10 h 34"/>
              <a:gd name="T50" fmla="*/ 11 w 28"/>
              <a:gd name="T51" fmla="*/ 7 h 34"/>
              <a:gd name="T52" fmla="*/ 17 w 28"/>
              <a:gd name="T53" fmla="*/ 3 h 34"/>
              <a:gd name="T54" fmla="*/ 13 w 28"/>
              <a:gd name="T55" fmla="*/ 0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28" h="34">
                <a:moveTo>
                  <a:pt x="13" y="0"/>
                </a:moveTo>
                <a:lnTo>
                  <a:pt x="16" y="2"/>
                </a:lnTo>
                <a:lnTo>
                  <a:pt x="19" y="5"/>
                </a:lnTo>
                <a:lnTo>
                  <a:pt x="22" y="7"/>
                </a:lnTo>
                <a:lnTo>
                  <a:pt x="25" y="10"/>
                </a:lnTo>
                <a:lnTo>
                  <a:pt x="27" y="13"/>
                </a:lnTo>
                <a:lnTo>
                  <a:pt x="27" y="14"/>
                </a:lnTo>
                <a:lnTo>
                  <a:pt x="27" y="17"/>
                </a:lnTo>
                <a:lnTo>
                  <a:pt x="26" y="18"/>
                </a:lnTo>
                <a:lnTo>
                  <a:pt x="23" y="20"/>
                </a:lnTo>
                <a:lnTo>
                  <a:pt x="21" y="23"/>
                </a:lnTo>
                <a:lnTo>
                  <a:pt x="17" y="27"/>
                </a:lnTo>
                <a:lnTo>
                  <a:pt x="15" y="29"/>
                </a:lnTo>
                <a:lnTo>
                  <a:pt x="11" y="31"/>
                </a:lnTo>
                <a:lnTo>
                  <a:pt x="8" y="32"/>
                </a:lnTo>
                <a:lnTo>
                  <a:pt x="3" y="33"/>
                </a:lnTo>
                <a:lnTo>
                  <a:pt x="2" y="32"/>
                </a:lnTo>
                <a:lnTo>
                  <a:pt x="0" y="31"/>
                </a:lnTo>
                <a:lnTo>
                  <a:pt x="0" y="28"/>
                </a:lnTo>
                <a:lnTo>
                  <a:pt x="0" y="25"/>
                </a:lnTo>
                <a:lnTo>
                  <a:pt x="0" y="22"/>
                </a:lnTo>
                <a:lnTo>
                  <a:pt x="1" y="18"/>
                </a:lnTo>
                <a:lnTo>
                  <a:pt x="3" y="14"/>
                </a:lnTo>
                <a:lnTo>
                  <a:pt x="6" y="12"/>
                </a:lnTo>
                <a:lnTo>
                  <a:pt x="8" y="10"/>
                </a:lnTo>
                <a:lnTo>
                  <a:pt x="11" y="7"/>
                </a:lnTo>
                <a:lnTo>
                  <a:pt x="17" y="3"/>
                </a:lnTo>
                <a:lnTo>
                  <a:pt x="13" y="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B90518D9-6B5E-B018-EBBA-0429EC1C9F7A}"/>
              </a:ext>
            </a:extLst>
          </p:cNvPr>
          <p:cNvSpPr>
            <a:spLocks/>
          </p:cNvSpPr>
          <p:nvPr/>
        </p:nvSpPr>
        <p:spPr bwMode="auto">
          <a:xfrm>
            <a:off x="7130425" y="4711546"/>
            <a:ext cx="233363" cy="261938"/>
          </a:xfrm>
          <a:custGeom>
            <a:avLst/>
            <a:gdLst>
              <a:gd name="T0" fmla="*/ 109 w 115"/>
              <a:gd name="T1" fmla="*/ 9 h 141"/>
              <a:gd name="T2" fmla="*/ 106 w 115"/>
              <a:gd name="T3" fmla="*/ 9 h 141"/>
              <a:gd name="T4" fmla="*/ 104 w 115"/>
              <a:gd name="T5" fmla="*/ 8 h 141"/>
              <a:gd name="T6" fmla="*/ 100 w 115"/>
              <a:gd name="T7" fmla="*/ 6 h 141"/>
              <a:gd name="T8" fmla="*/ 99 w 115"/>
              <a:gd name="T9" fmla="*/ 4 h 141"/>
              <a:gd name="T10" fmla="*/ 97 w 115"/>
              <a:gd name="T11" fmla="*/ 4 h 141"/>
              <a:gd name="T12" fmla="*/ 95 w 115"/>
              <a:gd name="T13" fmla="*/ 3 h 141"/>
              <a:gd name="T14" fmla="*/ 92 w 115"/>
              <a:gd name="T15" fmla="*/ 4 h 141"/>
              <a:gd name="T16" fmla="*/ 91 w 115"/>
              <a:gd name="T17" fmla="*/ 5 h 141"/>
              <a:gd name="T18" fmla="*/ 89 w 115"/>
              <a:gd name="T19" fmla="*/ 5 h 141"/>
              <a:gd name="T20" fmla="*/ 86 w 115"/>
              <a:gd name="T21" fmla="*/ 9 h 141"/>
              <a:gd name="T22" fmla="*/ 84 w 115"/>
              <a:gd name="T23" fmla="*/ 11 h 141"/>
              <a:gd name="T24" fmla="*/ 82 w 115"/>
              <a:gd name="T25" fmla="*/ 13 h 141"/>
              <a:gd name="T26" fmla="*/ 80 w 115"/>
              <a:gd name="T27" fmla="*/ 14 h 141"/>
              <a:gd name="T28" fmla="*/ 78 w 115"/>
              <a:gd name="T29" fmla="*/ 15 h 141"/>
              <a:gd name="T30" fmla="*/ 73 w 115"/>
              <a:gd name="T31" fmla="*/ 15 h 141"/>
              <a:gd name="T32" fmla="*/ 69 w 115"/>
              <a:gd name="T33" fmla="*/ 14 h 141"/>
              <a:gd name="T34" fmla="*/ 66 w 115"/>
              <a:gd name="T35" fmla="*/ 13 h 141"/>
              <a:gd name="T36" fmla="*/ 62 w 115"/>
              <a:gd name="T37" fmla="*/ 12 h 141"/>
              <a:gd name="T38" fmla="*/ 57 w 115"/>
              <a:gd name="T39" fmla="*/ 10 h 141"/>
              <a:gd name="T40" fmla="*/ 52 w 115"/>
              <a:gd name="T41" fmla="*/ 8 h 141"/>
              <a:gd name="T42" fmla="*/ 47 w 115"/>
              <a:gd name="T43" fmla="*/ 5 h 141"/>
              <a:gd name="T44" fmla="*/ 42 w 115"/>
              <a:gd name="T45" fmla="*/ 2 h 141"/>
              <a:gd name="T46" fmla="*/ 34 w 115"/>
              <a:gd name="T47" fmla="*/ 0 h 141"/>
              <a:gd name="T48" fmla="*/ 30 w 115"/>
              <a:gd name="T49" fmla="*/ 0 h 141"/>
              <a:gd name="T50" fmla="*/ 26 w 115"/>
              <a:gd name="T51" fmla="*/ 0 h 141"/>
              <a:gd name="T52" fmla="*/ 3 w 115"/>
              <a:gd name="T53" fmla="*/ 0 h 141"/>
              <a:gd name="T54" fmla="*/ 2 w 115"/>
              <a:gd name="T55" fmla="*/ 2 h 141"/>
              <a:gd name="T56" fmla="*/ 0 w 115"/>
              <a:gd name="T57" fmla="*/ 4 h 141"/>
              <a:gd name="T58" fmla="*/ 0 w 115"/>
              <a:gd name="T59" fmla="*/ 8 h 141"/>
              <a:gd name="T60" fmla="*/ 3 w 115"/>
              <a:gd name="T61" fmla="*/ 11 h 141"/>
              <a:gd name="T62" fmla="*/ 6 w 115"/>
              <a:gd name="T63" fmla="*/ 17 h 141"/>
              <a:gd name="T64" fmla="*/ 10 w 115"/>
              <a:gd name="T65" fmla="*/ 22 h 141"/>
              <a:gd name="T66" fmla="*/ 13 w 115"/>
              <a:gd name="T67" fmla="*/ 27 h 141"/>
              <a:gd name="T68" fmla="*/ 15 w 115"/>
              <a:gd name="T69" fmla="*/ 31 h 141"/>
              <a:gd name="T70" fmla="*/ 15 w 115"/>
              <a:gd name="T71" fmla="*/ 35 h 141"/>
              <a:gd name="T72" fmla="*/ 15 w 115"/>
              <a:gd name="T73" fmla="*/ 39 h 141"/>
              <a:gd name="T74" fmla="*/ 16 w 115"/>
              <a:gd name="T75" fmla="*/ 44 h 141"/>
              <a:gd name="T76" fmla="*/ 0 w 115"/>
              <a:gd name="T77" fmla="*/ 63 h 141"/>
              <a:gd name="T78" fmla="*/ 0 w 115"/>
              <a:gd name="T79" fmla="*/ 82 h 141"/>
              <a:gd name="T80" fmla="*/ 55 w 115"/>
              <a:gd name="T81" fmla="*/ 114 h 141"/>
              <a:gd name="T82" fmla="*/ 55 w 115"/>
              <a:gd name="T83" fmla="*/ 122 h 141"/>
              <a:gd name="T84" fmla="*/ 78 w 115"/>
              <a:gd name="T85" fmla="*/ 140 h 141"/>
              <a:gd name="T86" fmla="*/ 82 w 115"/>
              <a:gd name="T87" fmla="*/ 136 h 141"/>
              <a:gd name="T88" fmla="*/ 84 w 115"/>
              <a:gd name="T89" fmla="*/ 132 h 141"/>
              <a:gd name="T90" fmla="*/ 87 w 115"/>
              <a:gd name="T91" fmla="*/ 125 h 141"/>
              <a:gd name="T92" fmla="*/ 91 w 115"/>
              <a:gd name="T93" fmla="*/ 120 h 141"/>
              <a:gd name="T94" fmla="*/ 93 w 115"/>
              <a:gd name="T95" fmla="*/ 113 h 141"/>
              <a:gd name="T96" fmla="*/ 97 w 115"/>
              <a:gd name="T97" fmla="*/ 108 h 141"/>
              <a:gd name="T98" fmla="*/ 104 w 115"/>
              <a:gd name="T99" fmla="*/ 97 h 141"/>
              <a:gd name="T100" fmla="*/ 110 w 115"/>
              <a:gd name="T101" fmla="*/ 86 h 141"/>
              <a:gd name="T102" fmla="*/ 104 w 115"/>
              <a:gd name="T103" fmla="*/ 84 h 141"/>
              <a:gd name="T104" fmla="*/ 102 w 115"/>
              <a:gd name="T105" fmla="*/ 82 h 141"/>
              <a:gd name="T106" fmla="*/ 100 w 115"/>
              <a:gd name="T107" fmla="*/ 80 h 141"/>
              <a:gd name="T108" fmla="*/ 100 w 115"/>
              <a:gd name="T109" fmla="*/ 25 h 141"/>
              <a:gd name="T110" fmla="*/ 110 w 115"/>
              <a:gd name="T111" fmla="*/ 12 h 141"/>
              <a:gd name="T112" fmla="*/ 114 w 115"/>
              <a:gd name="T113" fmla="*/ 9 h 141"/>
              <a:gd name="T114" fmla="*/ 109 w 115"/>
              <a:gd name="T115" fmla="*/ 9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15" h="141">
                <a:moveTo>
                  <a:pt x="109" y="9"/>
                </a:moveTo>
                <a:lnTo>
                  <a:pt x="106" y="9"/>
                </a:lnTo>
                <a:lnTo>
                  <a:pt x="104" y="8"/>
                </a:lnTo>
                <a:lnTo>
                  <a:pt x="100" y="6"/>
                </a:lnTo>
                <a:lnTo>
                  <a:pt x="99" y="4"/>
                </a:lnTo>
                <a:lnTo>
                  <a:pt x="97" y="4"/>
                </a:lnTo>
                <a:lnTo>
                  <a:pt x="95" y="3"/>
                </a:lnTo>
                <a:lnTo>
                  <a:pt x="92" y="4"/>
                </a:lnTo>
                <a:lnTo>
                  <a:pt x="91" y="5"/>
                </a:lnTo>
                <a:lnTo>
                  <a:pt x="89" y="5"/>
                </a:lnTo>
                <a:lnTo>
                  <a:pt x="86" y="9"/>
                </a:lnTo>
                <a:lnTo>
                  <a:pt x="84" y="11"/>
                </a:lnTo>
                <a:lnTo>
                  <a:pt x="82" y="13"/>
                </a:lnTo>
                <a:lnTo>
                  <a:pt x="80" y="14"/>
                </a:lnTo>
                <a:lnTo>
                  <a:pt x="78" y="15"/>
                </a:lnTo>
                <a:lnTo>
                  <a:pt x="73" y="15"/>
                </a:lnTo>
                <a:lnTo>
                  <a:pt x="69" y="14"/>
                </a:lnTo>
                <a:lnTo>
                  <a:pt x="66" y="13"/>
                </a:lnTo>
                <a:lnTo>
                  <a:pt x="62" y="12"/>
                </a:lnTo>
                <a:lnTo>
                  <a:pt x="57" y="10"/>
                </a:lnTo>
                <a:lnTo>
                  <a:pt x="52" y="8"/>
                </a:lnTo>
                <a:lnTo>
                  <a:pt x="47" y="5"/>
                </a:lnTo>
                <a:lnTo>
                  <a:pt x="42" y="2"/>
                </a:lnTo>
                <a:lnTo>
                  <a:pt x="34" y="0"/>
                </a:lnTo>
                <a:lnTo>
                  <a:pt x="30" y="0"/>
                </a:lnTo>
                <a:lnTo>
                  <a:pt x="26" y="0"/>
                </a:lnTo>
                <a:lnTo>
                  <a:pt x="3" y="0"/>
                </a:lnTo>
                <a:lnTo>
                  <a:pt x="2" y="2"/>
                </a:lnTo>
                <a:lnTo>
                  <a:pt x="0" y="4"/>
                </a:lnTo>
                <a:lnTo>
                  <a:pt x="0" y="8"/>
                </a:lnTo>
                <a:lnTo>
                  <a:pt x="3" y="11"/>
                </a:lnTo>
                <a:lnTo>
                  <a:pt x="6" y="17"/>
                </a:lnTo>
                <a:lnTo>
                  <a:pt x="10" y="22"/>
                </a:lnTo>
                <a:lnTo>
                  <a:pt x="13" y="27"/>
                </a:lnTo>
                <a:lnTo>
                  <a:pt x="15" y="31"/>
                </a:lnTo>
                <a:lnTo>
                  <a:pt x="15" y="35"/>
                </a:lnTo>
                <a:lnTo>
                  <a:pt x="15" y="39"/>
                </a:lnTo>
                <a:lnTo>
                  <a:pt x="16" y="44"/>
                </a:lnTo>
                <a:lnTo>
                  <a:pt x="0" y="63"/>
                </a:lnTo>
                <a:lnTo>
                  <a:pt x="0" y="82"/>
                </a:lnTo>
                <a:lnTo>
                  <a:pt x="55" y="114"/>
                </a:lnTo>
                <a:lnTo>
                  <a:pt x="55" y="122"/>
                </a:lnTo>
                <a:lnTo>
                  <a:pt x="78" y="140"/>
                </a:lnTo>
                <a:lnTo>
                  <a:pt x="82" y="136"/>
                </a:lnTo>
                <a:lnTo>
                  <a:pt x="84" y="132"/>
                </a:lnTo>
                <a:lnTo>
                  <a:pt x="87" y="125"/>
                </a:lnTo>
                <a:lnTo>
                  <a:pt x="91" y="120"/>
                </a:lnTo>
                <a:lnTo>
                  <a:pt x="93" y="113"/>
                </a:lnTo>
                <a:lnTo>
                  <a:pt x="97" y="108"/>
                </a:lnTo>
                <a:lnTo>
                  <a:pt x="104" y="97"/>
                </a:lnTo>
                <a:lnTo>
                  <a:pt x="110" y="86"/>
                </a:lnTo>
                <a:lnTo>
                  <a:pt x="104" y="84"/>
                </a:lnTo>
                <a:lnTo>
                  <a:pt x="102" y="82"/>
                </a:lnTo>
                <a:lnTo>
                  <a:pt x="100" y="80"/>
                </a:lnTo>
                <a:lnTo>
                  <a:pt x="100" y="25"/>
                </a:lnTo>
                <a:lnTo>
                  <a:pt x="110" y="12"/>
                </a:lnTo>
                <a:lnTo>
                  <a:pt x="114" y="9"/>
                </a:lnTo>
                <a:lnTo>
                  <a:pt x="109" y="9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9795166F-3C6F-236D-03CB-6550973C07D6}"/>
              </a:ext>
            </a:extLst>
          </p:cNvPr>
          <p:cNvSpPr>
            <a:spLocks/>
          </p:cNvSpPr>
          <p:nvPr/>
        </p:nvSpPr>
        <p:spPr bwMode="auto">
          <a:xfrm>
            <a:off x="7092325" y="5114771"/>
            <a:ext cx="87313" cy="215900"/>
          </a:xfrm>
          <a:custGeom>
            <a:avLst/>
            <a:gdLst>
              <a:gd name="T0" fmla="*/ 6 w 44"/>
              <a:gd name="T1" fmla="*/ 67 h 115"/>
              <a:gd name="T2" fmla="*/ 8 w 44"/>
              <a:gd name="T3" fmla="*/ 71 h 115"/>
              <a:gd name="T4" fmla="*/ 13 w 44"/>
              <a:gd name="T5" fmla="*/ 74 h 115"/>
              <a:gd name="T6" fmla="*/ 23 w 44"/>
              <a:gd name="T7" fmla="*/ 74 h 115"/>
              <a:gd name="T8" fmla="*/ 23 w 44"/>
              <a:gd name="T9" fmla="*/ 85 h 115"/>
              <a:gd name="T10" fmla="*/ 20 w 44"/>
              <a:gd name="T11" fmla="*/ 94 h 115"/>
              <a:gd name="T12" fmla="*/ 19 w 44"/>
              <a:gd name="T13" fmla="*/ 100 h 115"/>
              <a:gd name="T14" fmla="*/ 23 w 44"/>
              <a:gd name="T15" fmla="*/ 105 h 115"/>
              <a:gd name="T16" fmla="*/ 29 w 44"/>
              <a:gd name="T17" fmla="*/ 110 h 115"/>
              <a:gd name="T18" fmla="*/ 32 w 44"/>
              <a:gd name="T19" fmla="*/ 114 h 115"/>
              <a:gd name="T20" fmla="*/ 32 w 44"/>
              <a:gd name="T21" fmla="*/ 106 h 115"/>
              <a:gd name="T22" fmla="*/ 33 w 44"/>
              <a:gd name="T23" fmla="*/ 102 h 115"/>
              <a:gd name="T24" fmla="*/ 38 w 44"/>
              <a:gd name="T25" fmla="*/ 98 h 115"/>
              <a:gd name="T26" fmla="*/ 42 w 44"/>
              <a:gd name="T27" fmla="*/ 93 h 115"/>
              <a:gd name="T28" fmla="*/ 43 w 44"/>
              <a:gd name="T29" fmla="*/ 80 h 115"/>
              <a:gd name="T30" fmla="*/ 42 w 44"/>
              <a:gd name="T31" fmla="*/ 74 h 115"/>
              <a:gd name="T32" fmla="*/ 40 w 44"/>
              <a:gd name="T33" fmla="*/ 70 h 115"/>
              <a:gd name="T34" fmla="*/ 33 w 44"/>
              <a:gd name="T35" fmla="*/ 61 h 115"/>
              <a:gd name="T36" fmla="*/ 26 w 44"/>
              <a:gd name="T37" fmla="*/ 54 h 115"/>
              <a:gd name="T38" fmla="*/ 23 w 44"/>
              <a:gd name="T39" fmla="*/ 47 h 115"/>
              <a:gd name="T40" fmla="*/ 23 w 44"/>
              <a:gd name="T41" fmla="*/ 39 h 115"/>
              <a:gd name="T42" fmla="*/ 27 w 44"/>
              <a:gd name="T43" fmla="*/ 30 h 115"/>
              <a:gd name="T44" fmla="*/ 26 w 44"/>
              <a:gd name="T45" fmla="*/ 8 h 115"/>
              <a:gd name="T46" fmla="*/ 23 w 44"/>
              <a:gd name="T47" fmla="*/ 4 h 115"/>
              <a:gd name="T48" fmla="*/ 20 w 44"/>
              <a:gd name="T49" fmla="*/ 0 h 115"/>
              <a:gd name="T50" fmla="*/ 9 w 44"/>
              <a:gd name="T51" fmla="*/ 2 h 115"/>
              <a:gd name="T52" fmla="*/ 11 w 44"/>
              <a:gd name="T53" fmla="*/ 9 h 115"/>
              <a:gd name="T54" fmla="*/ 13 w 44"/>
              <a:gd name="T55" fmla="*/ 13 h 115"/>
              <a:gd name="T56" fmla="*/ 11 w 44"/>
              <a:gd name="T57" fmla="*/ 16 h 115"/>
              <a:gd name="T58" fmla="*/ 6 w 44"/>
              <a:gd name="T59" fmla="*/ 22 h 115"/>
              <a:gd name="T60" fmla="*/ 6 w 44"/>
              <a:gd name="T61" fmla="*/ 26 h 115"/>
              <a:gd name="T62" fmla="*/ 8 w 44"/>
              <a:gd name="T63" fmla="*/ 39 h 115"/>
              <a:gd name="T64" fmla="*/ 6 w 44"/>
              <a:gd name="T65" fmla="*/ 43 h 115"/>
              <a:gd name="T66" fmla="*/ 3 w 44"/>
              <a:gd name="T67" fmla="*/ 48 h 115"/>
              <a:gd name="T68" fmla="*/ 0 w 44"/>
              <a:gd name="T69" fmla="*/ 55 h 115"/>
              <a:gd name="T70" fmla="*/ 0 w 44"/>
              <a:gd name="T71" fmla="*/ 62 h 115"/>
              <a:gd name="T72" fmla="*/ 0 w 44"/>
              <a:gd name="T73" fmla="*/ 65 h 115"/>
              <a:gd name="T74" fmla="*/ 3 w 44"/>
              <a:gd name="T75" fmla="*/ 66 h 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4" h="115">
                <a:moveTo>
                  <a:pt x="0" y="67"/>
                </a:moveTo>
                <a:lnTo>
                  <a:pt x="6" y="67"/>
                </a:lnTo>
                <a:lnTo>
                  <a:pt x="6" y="70"/>
                </a:lnTo>
                <a:lnTo>
                  <a:pt x="8" y="71"/>
                </a:lnTo>
                <a:lnTo>
                  <a:pt x="9" y="74"/>
                </a:lnTo>
                <a:lnTo>
                  <a:pt x="13" y="74"/>
                </a:lnTo>
                <a:lnTo>
                  <a:pt x="17" y="74"/>
                </a:lnTo>
                <a:lnTo>
                  <a:pt x="23" y="74"/>
                </a:lnTo>
                <a:lnTo>
                  <a:pt x="23" y="82"/>
                </a:lnTo>
                <a:lnTo>
                  <a:pt x="23" y="85"/>
                </a:lnTo>
                <a:lnTo>
                  <a:pt x="22" y="89"/>
                </a:lnTo>
                <a:lnTo>
                  <a:pt x="20" y="94"/>
                </a:lnTo>
                <a:lnTo>
                  <a:pt x="19" y="97"/>
                </a:lnTo>
                <a:lnTo>
                  <a:pt x="19" y="100"/>
                </a:lnTo>
                <a:lnTo>
                  <a:pt x="22" y="103"/>
                </a:lnTo>
                <a:lnTo>
                  <a:pt x="23" y="105"/>
                </a:lnTo>
                <a:lnTo>
                  <a:pt x="26" y="107"/>
                </a:lnTo>
                <a:lnTo>
                  <a:pt x="29" y="110"/>
                </a:lnTo>
                <a:lnTo>
                  <a:pt x="31" y="111"/>
                </a:lnTo>
                <a:lnTo>
                  <a:pt x="32" y="114"/>
                </a:lnTo>
                <a:lnTo>
                  <a:pt x="32" y="107"/>
                </a:lnTo>
                <a:lnTo>
                  <a:pt x="32" y="106"/>
                </a:lnTo>
                <a:lnTo>
                  <a:pt x="33" y="103"/>
                </a:lnTo>
                <a:lnTo>
                  <a:pt x="33" y="102"/>
                </a:lnTo>
                <a:lnTo>
                  <a:pt x="33" y="101"/>
                </a:lnTo>
                <a:lnTo>
                  <a:pt x="38" y="98"/>
                </a:lnTo>
                <a:lnTo>
                  <a:pt x="40" y="97"/>
                </a:lnTo>
                <a:lnTo>
                  <a:pt x="42" y="93"/>
                </a:lnTo>
                <a:lnTo>
                  <a:pt x="43" y="87"/>
                </a:lnTo>
                <a:lnTo>
                  <a:pt x="43" y="80"/>
                </a:lnTo>
                <a:lnTo>
                  <a:pt x="43" y="77"/>
                </a:lnTo>
                <a:lnTo>
                  <a:pt x="42" y="74"/>
                </a:lnTo>
                <a:lnTo>
                  <a:pt x="41" y="72"/>
                </a:lnTo>
                <a:lnTo>
                  <a:pt x="40" y="70"/>
                </a:lnTo>
                <a:lnTo>
                  <a:pt x="36" y="66"/>
                </a:lnTo>
                <a:lnTo>
                  <a:pt x="33" y="61"/>
                </a:lnTo>
                <a:lnTo>
                  <a:pt x="30" y="58"/>
                </a:lnTo>
                <a:lnTo>
                  <a:pt x="26" y="54"/>
                </a:lnTo>
                <a:lnTo>
                  <a:pt x="24" y="49"/>
                </a:lnTo>
                <a:lnTo>
                  <a:pt x="23" y="47"/>
                </a:lnTo>
                <a:lnTo>
                  <a:pt x="23" y="44"/>
                </a:lnTo>
                <a:lnTo>
                  <a:pt x="23" y="39"/>
                </a:lnTo>
                <a:lnTo>
                  <a:pt x="24" y="36"/>
                </a:lnTo>
                <a:lnTo>
                  <a:pt x="27" y="30"/>
                </a:lnTo>
                <a:lnTo>
                  <a:pt x="27" y="9"/>
                </a:lnTo>
                <a:lnTo>
                  <a:pt x="26" y="8"/>
                </a:lnTo>
                <a:lnTo>
                  <a:pt x="24" y="7"/>
                </a:lnTo>
                <a:lnTo>
                  <a:pt x="23" y="4"/>
                </a:lnTo>
                <a:lnTo>
                  <a:pt x="23" y="2"/>
                </a:lnTo>
                <a:lnTo>
                  <a:pt x="20" y="0"/>
                </a:lnTo>
                <a:lnTo>
                  <a:pt x="6" y="0"/>
                </a:lnTo>
                <a:lnTo>
                  <a:pt x="9" y="2"/>
                </a:lnTo>
                <a:lnTo>
                  <a:pt x="10" y="5"/>
                </a:lnTo>
                <a:lnTo>
                  <a:pt x="11" y="9"/>
                </a:lnTo>
                <a:lnTo>
                  <a:pt x="13" y="11"/>
                </a:lnTo>
                <a:lnTo>
                  <a:pt x="13" y="13"/>
                </a:lnTo>
                <a:lnTo>
                  <a:pt x="13" y="14"/>
                </a:lnTo>
                <a:lnTo>
                  <a:pt x="11" y="16"/>
                </a:lnTo>
                <a:lnTo>
                  <a:pt x="9" y="20"/>
                </a:lnTo>
                <a:lnTo>
                  <a:pt x="6" y="22"/>
                </a:lnTo>
                <a:lnTo>
                  <a:pt x="6" y="25"/>
                </a:lnTo>
                <a:lnTo>
                  <a:pt x="6" y="26"/>
                </a:lnTo>
                <a:lnTo>
                  <a:pt x="6" y="35"/>
                </a:lnTo>
                <a:lnTo>
                  <a:pt x="8" y="39"/>
                </a:lnTo>
                <a:lnTo>
                  <a:pt x="9" y="42"/>
                </a:lnTo>
                <a:lnTo>
                  <a:pt x="6" y="43"/>
                </a:lnTo>
                <a:lnTo>
                  <a:pt x="5" y="45"/>
                </a:lnTo>
                <a:lnTo>
                  <a:pt x="3" y="48"/>
                </a:lnTo>
                <a:lnTo>
                  <a:pt x="1" y="49"/>
                </a:lnTo>
                <a:lnTo>
                  <a:pt x="0" y="55"/>
                </a:lnTo>
                <a:lnTo>
                  <a:pt x="0" y="60"/>
                </a:lnTo>
                <a:lnTo>
                  <a:pt x="0" y="62"/>
                </a:lnTo>
                <a:lnTo>
                  <a:pt x="0" y="63"/>
                </a:lnTo>
                <a:lnTo>
                  <a:pt x="0" y="65"/>
                </a:lnTo>
                <a:lnTo>
                  <a:pt x="0" y="66"/>
                </a:lnTo>
                <a:lnTo>
                  <a:pt x="3" y="66"/>
                </a:lnTo>
                <a:lnTo>
                  <a:pt x="0" y="67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483696D7-EACB-4A73-307B-6266A2023706}"/>
              </a:ext>
            </a:extLst>
          </p:cNvPr>
          <p:cNvSpPr>
            <a:spLocks/>
          </p:cNvSpPr>
          <p:nvPr/>
        </p:nvSpPr>
        <p:spPr bwMode="auto">
          <a:xfrm>
            <a:off x="6828800" y="3935259"/>
            <a:ext cx="334963" cy="284163"/>
          </a:xfrm>
          <a:custGeom>
            <a:avLst/>
            <a:gdLst>
              <a:gd name="T0" fmla="*/ 157 w 165"/>
              <a:gd name="T1" fmla="*/ 134 h 153"/>
              <a:gd name="T2" fmla="*/ 149 w 165"/>
              <a:gd name="T3" fmla="*/ 138 h 153"/>
              <a:gd name="T4" fmla="*/ 143 w 165"/>
              <a:gd name="T5" fmla="*/ 144 h 153"/>
              <a:gd name="T6" fmla="*/ 137 w 165"/>
              <a:gd name="T7" fmla="*/ 150 h 153"/>
              <a:gd name="T8" fmla="*/ 130 w 165"/>
              <a:gd name="T9" fmla="*/ 150 h 153"/>
              <a:gd name="T10" fmla="*/ 11 w 165"/>
              <a:gd name="T11" fmla="*/ 147 h 153"/>
              <a:gd name="T12" fmla="*/ 6 w 165"/>
              <a:gd name="T13" fmla="*/ 39 h 153"/>
              <a:gd name="T14" fmla="*/ 5 w 165"/>
              <a:gd name="T15" fmla="*/ 35 h 153"/>
              <a:gd name="T16" fmla="*/ 1 w 165"/>
              <a:gd name="T17" fmla="*/ 30 h 153"/>
              <a:gd name="T18" fmla="*/ 0 w 165"/>
              <a:gd name="T19" fmla="*/ 25 h 153"/>
              <a:gd name="T20" fmla="*/ 2 w 165"/>
              <a:gd name="T21" fmla="*/ 19 h 153"/>
              <a:gd name="T22" fmla="*/ 5 w 165"/>
              <a:gd name="T23" fmla="*/ 12 h 153"/>
              <a:gd name="T24" fmla="*/ 1 w 165"/>
              <a:gd name="T25" fmla="*/ 10 h 153"/>
              <a:gd name="T26" fmla="*/ 0 w 165"/>
              <a:gd name="T27" fmla="*/ 8 h 153"/>
              <a:gd name="T28" fmla="*/ 2 w 165"/>
              <a:gd name="T29" fmla="*/ 4 h 153"/>
              <a:gd name="T30" fmla="*/ 5 w 165"/>
              <a:gd name="T31" fmla="*/ 0 h 153"/>
              <a:gd name="T32" fmla="*/ 33 w 165"/>
              <a:gd name="T33" fmla="*/ 9 h 153"/>
              <a:gd name="T34" fmla="*/ 54 w 165"/>
              <a:gd name="T35" fmla="*/ 12 h 153"/>
              <a:gd name="T36" fmla="*/ 64 w 165"/>
              <a:gd name="T37" fmla="*/ 12 h 153"/>
              <a:gd name="T38" fmla="*/ 72 w 165"/>
              <a:gd name="T39" fmla="*/ 9 h 153"/>
              <a:gd name="T40" fmla="*/ 78 w 165"/>
              <a:gd name="T41" fmla="*/ 5 h 153"/>
              <a:gd name="T42" fmla="*/ 86 w 165"/>
              <a:gd name="T43" fmla="*/ 3 h 153"/>
              <a:gd name="T44" fmla="*/ 91 w 165"/>
              <a:gd name="T45" fmla="*/ 1 h 153"/>
              <a:gd name="T46" fmla="*/ 97 w 165"/>
              <a:gd name="T47" fmla="*/ 4 h 153"/>
              <a:gd name="T48" fmla="*/ 102 w 165"/>
              <a:gd name="T49" fmla="*/ 8 h 153"/>
              <a:gd name="T50" fmla="*/ 109 w 165"/>
              <a:gd name="T51" fmla="*/ 9 h 153"/>
              <a:gd name="T52" fmla="*/ 119 w 165"/>
              <a:gd name="T53" fmla="*/ 7 h 153"/>
              <a:gd name="T54" fmla="*/ 124 w 165"/>
              <a:gd name="T55" fmla="*/ 6 h 153"/>
              <a:gd name="T56" fmla="*/ 127 w 165"/>
              <a:gd name="T57" fmla="*/ 7 h 153"/>
              <a:gd name="T58" fmla="*/ 134 w 165"/>
              <a:gd name="T59" fmla="*/ 16 h 153"/>
              <a:gd name="T60" fmla="*/ 138 w 165"/>
              <a:gd name="T61" fmla="*/ 22 h 153"/>
              <a:gd name="T62" fmla="*/ 140 w 165"/>
              <a:gd name="T63" fmla="*/ 32 h 153"/>
              <a:gd name="T64" fmla="*/ 140 w 165"/>
              <a:gd name="T65" fmla="*/ 42 h 153"/>
              <a:gd name="T66" fmla="*/ 138 w 165"/>
              <a:gd name="T67" fmla="*/ 49 h 153"/>
              <a:gd name="T68" fmla="*/ 139 w 165"/>
              <a:gd name="T69" fmla="*/ 54 h 153"/>
              <a:gd name="T70" fmla="*/ 138 w 165"/>
              <a:gd name="T71" fmla="*/ 57 h 153"/>
              <a:gd name="T72" fmla="*/ 135 w 165"/>
              <a:gd name="T73" fmla="*/ 56 h 153"/>
              <a:gd name="T74" fmla="*/ 131 w 165"/>
              <a:gd name="T75" fmla="*/ 54 h 153"/>
              <a:gd name="T76" fmla="*/ 124 w 165"/>
              <a:gd name="T77" fmla="*/ 48 h 153"/>
              <a:gd name="T78" fmla="*/ 115 w 165"/>
              <a:gd name="T79" fmla="*/ 34 h 153"/>
              <a:gd name="T80" fmla="*/ 109 w 165"/>
              <a:gd name="T81" fmla="*/ 26 h 153"/>
              <a:gd name="T82" fmla="*/ 110 w 165"/>
              <a:gd name="T83" fmla="*/ 32 h 153"/>
              <a:gd name="T84" fmla="*/ 112 w 165"/>
              <a:gd name="T85" fmla="*/ 39 h 153"/>
              <a:gd name="T86" fmla="*/ 122 w 165"/>
              <a:gd name="T87" fmla="*/ 57 h 153"/>
              <a:gd name="T88" fmla="*/ 139 w 165"/>
              <a:gd name="T89" fmla="*/ 85 h 153"/>
              <a:gd name="T90" fmla="*/ 144 w 165"/>
              <a:gd name="T91" fmla="*/ 93 h 153"/>
              <a:gd name="T92" fmla="*/ 152 w 165"/>
              <a:gd name="T93" fmla="*/ 103 h 153"/>
              <a:gd name="T94" fmla="*/ 157 w 165"/>
              <a:gd name="T95" fmla="*/ 110 h 153"/>
              <a:gd name="T96" fmla="*/ 160 w 165"/>
              <a:gd name="T97" fmla="*/ 119 h 153"/>
              <a:gd name="T98" fmla="*/ 162 w 165"/>
              <a:gd name="T99" fmla="*/ 129 h 153"/>
              <a:gd name="T100" fmla="*/ 162 w 165"/>
              <a:gd name="T101" fmla="*/ 132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65" h="153">
                <a:moveTo>
                  <a:pt x="162" y="132"/>
                </a:moveTo>
                <a:lnTo>
                  <a:pt x="157" y="134"/>
                </a:lnTo>
                <a:lnTo>
                  <a:pt x="152" y="136"/>
                </a:lnTo>
                <a:lnTo>
                  <a:pt x="149" y="138"/>
                </a:lnTo>
                <a:lnTo>
                  <a:pt x="146" y="141"/>
                </a:lnTo>
                <a:lnTo>
                  <a:pt x="143" y="144"/>
                </a:lnTo>
                <a:lnTo>
                  <a:pt x="139" y="147"/>
                </a:lnTo>
                <a:lnTo>
                  <a:pt x="137" y="150"/>
                </a:lnTo>
                <a:lnTo>
                  <a:pt x="132" y="152"/>
                </a:lnTo>
                <a:lnTo>
                  <a:pt x="130" y="150"/>
                </a:lnTo>
                <a:lnTo>
                  <a:pt x="127" y="147"/>
                </a:lnTo>
                <a:lnTo>
                  <a:pt x="11" y="147"/>
                </a:lnTo>
                <a:lnTo>
                  <a:pt x="6" y="42"/>
                </a:lnTo>
                <a:lnTo>
                  <a:pt x="6" y="39"/>
                </a:lnTo>
                <a:lnTo>
                  <a:pt x="6" y="37"/>
                </a:lnTo>
                <a:lnTo>
                  <a:pt x="5" y="35"/>
                </a:lnTo>
                <a:lnTo>
                  <a:pt x="4" y="34"/>
                </a:lnTo>
                <a:lnTo>
                  <a:pt x="1" y="30"/>
                </a:lnTo>
                <a:lnTo>
                  <a:pt x="0" y="28"/>
                </a:lnTo>
                <a:lnTo>
                  <a:pt x="0" y="25"/>
                </a:lnTo>
                <a:lnTo>
                  <a:pt x="0" y="22"/>
                </a:lnTo>
                <a:lnTo>
                  <a:pt x="2" y="19"/>
                </a:lnTo>
                <a:lnTo>
                  <a:pt x="4" y="16"/>
                </a:lnTo>
                <a:lnTo>
                  <a:pt x="5" y="12"/>
                </a:lnTo>
                <a:lnTo>
                  <a:pt x="3" y="12"/>
                </a:lnTo>
                <a:lnTo>
                  <a:pt x="1" y="10"/>
                </a:lnTo>
                <a:lnTo>
                  <a:pt x="0" y="9"/>
                </a:lnTo>
                <a:lnTo>
                  <a:pt x="0" y="8"/>
                </a:lnTo>
                <a:lnTo>
                  <a:pt x="0" y="6"/>
                </a:lnTo>
                <a:lnTo>
                  <a:pt x="2" y="4"/>
                </a:lnTo>
                <a:lnTo>
                  <a:pt x="3" y="3"/>
                </a:lnTo>
                <a:lnTo>
                  <a:pt x="5" y="0"/>
                </a:lnTo>
                <a:lnTo>
                  <a:pt x="19" y="4"/>
                </a:lnTo>
                <a:lnTo>
                  <a:pt x="33" y="9"/>
                </a:lnTo>
                <a:lnTo>
                  <a:pt x="48" y="12"/>
                </a:lnTo>
                <a:lnTo>
                  <a:pt x="54" y="12"/>
                </a:lnTo>
                <a:lnTo>
                  <a:pt x="61" y="12"/>
                </a:lnTo>
                <a:lnTo>
                  <a:pt x="64" y="12"/>
                </a:lnTo>
                <a:lnTo>
                  <a:pt x="68" y="10"/>
                </a:lnTo>
                <a:lnTo>
                  <a:pt x="72" y="9"/>
                </a:lnTo>
                <a:lnTo>
                  <a:pt x="76" y="7"/>
                </a:lnTo>
                <a:lnTo>
                  <a:pt x="78" y="5"/>
                </a:lnTo>
                <a:lnTo>
                  <a:pt x="82" y="3"/>
                </a:lnTo>
                <a:lnTo>
                  <a:pt x="86" y="3"/>
                </a:lnTo>
                <a:lnTo>
                  <a:pt x="90" y="1"/>
                </a:lnTo>
                <a:lnTo>
                  <a:pt x="91" y="1"/>
                </a:lnTo>
                <a:lnTo>
                  <a:pt x="93" y="3"/>
                </a:lnTo>
                <a:lnTo>
                  <a:pt x="97" y="4"/>
                </a:lnTo>
                <a:lnTo>
                  <a:pt x="100" y="7"/>
                </a:lnTo>
                <a:lnTo>
                  <a:pt x="102" y="8"/>
                </a:lnTo>
                <a:lnTo>
                  <a:pt x="104" y="9"/>
                </a:lnTo>
                <a:lnTo>
                  <a:pt x="109" y="9"/>
                </a:lnTo>
                <a:lnTo>
                  <a:pt x="112" y="9"/>
                </a:lnTo>
                <a:lnTo>
                  <a:pt x="119" y="7"/>
                </a:lnTo>
                <a:lnTo>
                  <a:pt x="121" y="6"/>
                </a:lnTo>
                <a:lnTo>
                  <a:pt x="124" y="6"/>
                </a:lnTo>
                <a:lnTo>
                  <a:pt x="125" y="6"/>
                </a:lnTo>
                <a:lnTo>
                  <a:pt x="127" y="7"/>
                </a:lnTo>
                <a:lnTo>
                  <a:pt x="132" y="12"/>
                </a:lnTo>
                <a:lnTo>
                  <a:pt x="134" y="16"/>
                </a:lnTo>
                <a:lnTo>
                  <a:pt x="135" y="19"/>
                </a:lnTo>
                <a:lnTo>
                  <a:pt x="138" y="22"/>
                </a:lnTo>
                <a:lnTo>
                  <a:pt x="139" y="27"/>
                </a:lnTo>
                <a:lnTo>
                  <a:pt x="140" y="32"/>
                </a:lnTo>
                <a:lnTo>
                  <a:pt x="141" y="36"/>
                </a:lnTo>
                <a:lnTo>
                  <a:pt x="140" y="42"/>
                </a:lnTo>
                <a:lnTo>
                  <a:pt x="139" y="48"/>
                </a:lnTo>
                <a:lnTo>
                  <a:pt x="138" y="49"/>
                </a:lnTo>
                <a:lnTo>
                  <a:pt x="139" y="52"/>
                </a:lnTo>
                <a:lnTo>
                  <a:pt x="139" y="54"/>
                </a:lnTo>
                <a:lnTo>
                  <a:pt x="141" y="56"/>
                </a:lnTo>
                <a:lnTo>
                  <a:pt x="138" y="57"/>
                </a:lnTo>
                <a:lnTo>
                  <a:pt x="137" y="57"/>
                </a:lnTo>
                <a:lnTo>
                  <a:pt x="135" y="56"/>
                </a:lnTo>
                <a:lnTo>
                  <a:pt x="133" y="56"/>
                </a:lnTo>
                <a:lnTo>
                  <a:pt x="131" y="54"/>
                </a:lnTo>
                <a:lnTo>
                  <a:pt x="127" y="52"/>
                </a:lnTo>
                <a:lnTo>
                  <a:pt x="124" y="48"/>
                </a:lnTo>
                <a:lnTo>
                  <a:pt x="121" y="44"/>
                </a:lnTo>
                <a:lnTo>
                  <a:pt x="115" y="34"/>
                </a:lnTo>
                <a:lnTo>
                  <a:pt x="112" y="29"/>
                </a:lnTo>
                <a:lnTo>
                  <a:pt x="109" y="26"/>
                </a:lnTo>
                <a:lnTo>
                  <a:pt x="109" y="29"/>
                </a:lnTo>
                <a:lnTo>
                  <a:pt x="110" y="32"/>
                </a:lnTo>
                <a:lnTo>
                  <a:pt x="111" y="35"/>
                </a:lnTo>
                <a:lnTo>
                  <a:pt x="112" y="39"/>
                </a:lnTo>
                <a:lnTo>
                  <a:pt x="116" y="48"/>
                </a:lnTo>
                <a:lnTo>
                  <a:pt x="122" y="57"/>
                </a:lnTo>
                <a:lnTo>
                  <a:pt x="132" y="72"/>
                </a:lnTo>
                <a:lnTo>
                  <a:pt x="139" y="85"/>
                </a:lnTo>
                <a:lnTo>
                  <a:pt x="142" y="89"/>
                </a:lnTo>
                <a:lnTo>
                  <a:pt x="144" y="93"/>
                </a:lnTo>
                <a:lnTo>
                  <a:pt x="151" y="100"/>
                </a:lnTo>
                <a:lnTo>
                  <a:pt x="152" y="103"/>
                </a:lnTo>
                <a:lnTo>
                  <a:pt x="155" y="106"/>
                </a:lnTo>
                <a:lnTo>
                  <a:pt x="157" y="110"/>
                </a:lnTo>
                <a:lnTo>
                  <a:pt x="159" y="114"/>
                </a:lnTo>
                <a:lnTo>
                  <a:pt x="160" y="119"/>
                </a:lnTo>
                <a:lnTo>
                  <a:pt x="160" y="125"/>
                </a:lnTo>
                <a:lnTo>
                  <a:pt x="162" y="129"/>
                </a:lnTo>
                <a:lnTo>
                  <a:pt x="164" y="133"/>
                </a:lnTo>
                <a:lnTo>
                  <a:pt x="162" y="132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B774F0B8-0A5F-E51E-DE59-200A524779D5}"/>
              </a:ext>
            </a:extLst>
          </p:cNvPr>
          <p:cNvSpPr>
            <a:spLocks/>
          </p:cNvSpPr>
          <p:nvPr/>
        </p:nvSpPr>
        <p:spPr bwMode="auto">
          <a:xfrm>
            <a:off x="6406525" y="3886046"/>
            <a:ext cx="447675" cy="396875"/>
          </a:xfrm>
          <a:custGeom>
            <a:avLst/>
            <a:gdLst>
              <a:gd name="T0" fmla="*/ 216 w 222"/>
              <a:gd name="T1" fmla="*/ 63 h 212"/>
              <a:gd name="T2" fmla="*/ 214 w 222"/>
              <a:gd name="T3" fmla="*/ 58 h 212"/>
              <a:gd name="T4" fmla="*/ 209 w 222"/>
              <a:gd name="T5" fmla="*/ 49 h 212"/>
              <a:gd name="T6" fmla="*/ 214 w 222"/>
              <a:gd name="T7" fmla="*/ 40 h 212"/>
              <a:gd name="T8" fmla="*/ 211 w 222"/>
              <a:gd name="T9" fmla="*/ 34 h 212"/>
              <a:gd name="T10" fmla="*/ 210 w 222"/>
              <a:gd name="T11" fmla="*/ 30 h 212"/>
              <a:gd name="T12" fmla="*/ 214 w 222"/>
              <a:gd name="T13" fmla="*/ 23 h 212"/>
              <a:gd name="T14" fmla="*/ 187 w 222"/>
              <a:gd name="T15" fmla="*/ 13 h 212"/>
              <a:gd name="T16" fmla="*/ 175 w 222"/>
              <a:gd name="T17" fmla="*/ 4 h 212"/>
              <a:gd name="T18" fmla="*/ 165 w 222"/>
              <a:gd name="T19" fmla="*/ 2 h 212"/>
              <a:gd name="T20" fmla="*/ 152 w 222"/>
              <a:gd name="T21" fmla="*/ 9 h 212"/>
              <a:gd name="T22" fmla="*/ 144 w 222"/>
              <a:gd name="T23" fmla="*/ 19 h 212"/>
              <a:gd name="T24" fmla="*/ 143 w 222"/>
              <a:gd name="T25" fmla="*/ 26 h 212"/>
              <a:gd name="T26" fmla="*/ 148 w 222"/>
              <a:gd name="T27" fmla="*/ 33 h 212"/>
              <a:gd name="T28" fmla="*/ 143 w 222"/>
              <a:gd name="T29" fmla="*/ 40 h 212"/>
              <a:gd name="T30" fmla="*/ 135 w 222"/>
              <a:gd name="T31" fmla="*/ 44 h 212"/>
              <a:gd name="T32" fmla="*/ 125 w 222"/>
              <a:gd name="T33" fmla="*/ 42 h 212"/>
              <a:gd name="T34" fmla="*/ 107 w 222"/>
              <a:gd name="T35" fmla="*/ 32 h 212"/>
              <a:gd name="T36" fmla="*/ 95 w 222"/>
              <a:gd name="T37" fmla="*/ 29 h 212"/>
              <a:gd name="T38" fmla="*/ 84 w 222"/>
              <a:gd name="T39" fmla="*/ 26 h 212"/>
              <a:gd name="T40" fmla="*/ 77 w 222"/>
              <a:gd name="T41" fmla="*/ 16 h 212"/>
              <a:gd name="T42" fmla="*/ 68 w 222"/>
              <a:gd name="T43" fmla="*/ 11 h 212"/>
              <a:gd name="T44" fmla="*/ 36 w 222"/>
              <a:gd name="T45" fmla="*/ 4 h 212"/>
              <a:gd name="T46" fmla="*/ 24 w 222"/>
              <a:gd name="T47" fmla="*/ 1 h 212"/>
              <a:gd name="T48" fmla="*/ 23 w 222"/>
              <a:gd name="T49" fmla="*/ 6 h 212"/>
              <a:gd name="T50" fmla="*/ 23 w 222"/>
              <a:gd name="T51" fmla="*/ 15 h 212"/>
              <a:gd name="T52" fmla="*/ 13 w 222"/>
              <a:gd name="T53" fmla="*/ 20 h 212"/>
              <a:gd name="T54" fmla="*/ 6 w 222"/>
              <a:gd name="T55" fmla="*/ 29 h 212"/>
              <a:gd name="T56" fmla="*/ 9 w 222"/>
              <a:gd name="T57" fmla="*/ 33 h 212"/>
              <a:gd name="T58" fmla="*/ 2 w 222"/>
              <a:gd name="T59" fmla="*/ 42 h 212"/>
              <a:gd name="T60" fmla="*/ 0 w 222"/>
              <a:gd name="T61" fmla="*/ 50 h 212"/>
              <a:gd name="T62" fmla="*/ 1 w 222"/>
              <a:gd name="T63" fmla="*/ 61 h 212"/>
              <a:gd name="T64" fmla="*/ 4 w 222"/>
              <a:gd name="T65" fmla="*/ 73 h 212"/>
              <a:gd name="T66" fmla="*/ 3 w 222"/>
              <a:gd name="T67" fmla="*/ 101 h 212"/>
              <a:gd name="T68" fmla="*/ 0 w 222"/>
              <a:gd name="T69" fmla="*/ 107 h 212"/>
              <a:gd name="T70" fmla="*/ 1 w 222"/>
              <a:gd name="T71" fmla="*/ 113 h 212"/>
              <a:gd name="T72" fmla="*/ 9 w 222"/>
              <a:gd name="T73" fmla="*/ 130 h 212"/>
              <a:gd name="T74" fmla="*/ 15 w 222"/>
              <a:gd name="T75" fmla="*/ 134 h 212"/>
              <a:gd name="T76" fmla="*/ 29 w 222"/>
              <a:gd name="T77" fmla="*/ 140 h 212"/>
              <a:gd name="T78" fmla="*/ 35 w 222"/>
              <a:gd name="T79" fmla="*/ 152 h 212"/>
              <a:gd name="T80" fmla="*/ 40 w 222"/>
              <a:gd name="T81" fmla="*/ 153 h 212"/>
              <a:gd name="T82" fmla="*/ 59 w 222"/>
              <a:gd name="T83" fmla="*/ 155 h 212"/>
              <a:gd name="T84" fmla="*/ 64 w 222"/>
              <a:gd name="T85" fmla="*/ 160 h 212"/>
              <a:gd name="T86" fmla="*/ 206 w 222"/>
              <a:gd name="T87" fmla="*/ 211 h 212"/>
              <a:gd name="T88" fmla="*/ 221 w 222"/>
              <a:gd name="T89" fmla="*/ 171 h 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222" h="212">
                <a:moveTo>
                  <a:pt x="221" y="172"/>
                </a:moveTo>
                <a:lnTo>
                  <a:pt x="215" y="66"/>
                </a:lnTo>
                <a:lnTo>
                  <a:pt x="216" y="63"/>
                </a:lnTo>
                <a:lnTo>
                  <a:pt x="215" y="61"/>
                </a:lnTo>
                <a:lnTo>
                  <a:pt x="214" y="60"/>
                </a:lnTo>
                <a:lnTo>
                  <a:pt x="214" y="58"/>
                </a:lnTo>
                <a:lnTo>
                  <a:pt x="211" y="54"/>
                </a:lnTo>
                <a:lnTo>
                  <a:pt x="210" y="52"/>
                </a:lnTo>
                <a:lnTo>
                  <a:pt x="209" y="49"/>
                </a:lnTo>
                <a:lnTo>
                  <a:pt x="210" y="46"/>
                </a:lnTo>
                <a:lnTo>
                  <a:pt x="211" y="43"/>
                </a:lnTo>
                <a:lnTo>
                  <a:pt x="214" y="40"/>
                </a:lnTo>
                <a:lnTo>
                  <a:pt x="214" y="36"/>
                </a:lnTo>
                <a:lnTo>
                  <a:pt x="212" y="36"/>
                </a:lnTo>
                <a:lnTo>
                  <a:pt x="211" y="34"/>
                </a:lnTo>
                <a:lnTo>
                  <a:pt x="210" y="33"/>
                </a:lnTo>
                <a:lnTo>
                  <a:pt x="209" y="32"/>
                </a:lnTo>
                <a:lnTo>
                  <a:pt x="210" y="30"/>
                </a:lnTo>
                <a:lnTo>
                  <a:pt x="211" y="28"/>
                </a:lnTo>
                <a:lnTo>
                  <a:pt x="212" y="26"/>
                </a:lnTo>
                <a:lnTo>
                  <a:pt x="214" y="23"/>
                </a:lnTo>
                <a:lnTo>
                  <a:pt x="190" y="16"/>
                </a:lnTo>
                <a:lnTo>
                  <a:pt x="188" y="15"/>
                </a:lnTo>
                <a:lnTo>
                  <a:pt x="187" y="13"/>
                </a:lnTo>
                <a:lnTo>
                  <a:pt x="181" y="9"/>
                </a:lnTo>
                <a:lnTo>
                  <a:pt x="178" y="6"/>
                </a:lnTo>
                <a:lnTo>
                  <a:pt x="175" y="4"/>
                </a:lnTo>
                <a:lnTo>
                  <a:pt x="172" y="3"/>
                </a:lnTo>
                <a:lnTo>
                  <a:pt x="169" y="2"/>
                </a:lnTo>
                <a:lnTo>
                  <a:pt x="165" y="2"/>
                </a:lnTo>
                <a:lnTo>
                  <a:pt x="161" y="4"/>
                </a:lnTo>
                <a:lnTo>
                  <a:pt x="157" y="6"/>
                </a:lnTo>
                <a:lnTo>
                  <a:pt x="152" y="9"/>
                </a:lnTo>
                <a:lnTo>
                  <a:pt x="148" y="13"/>
                </a:lnTo>
                <a:lnTo>
                  <a:pt x="145" y="15"/>
                </a:lnTo>
                <a:lnTo>
                  <a:pt x="144" y="19"/>
                </a:lnTo>
                <a:lnTo>
                  <a:pt x="143" y="22"/>
                </a:lnTo>
                <a:lnTo>
                  <a:pt x="143" y="23"/>
                </a:lnTo>
                <a:lnTo>
                  <a:pt x="143" y="26"/>
                </a:lnTo>
                <a:lnTo>
                  <a:pt x="144" y="29"/>
                </a:lnTo>
                <a:lnTo>
                  <a:pt x="145" y="31"/>
                </a:lnTo>
                <a:lnTo>
                  <a:pt x="148" y="33"/>
                </a:lnTo>
                <a:lnTo>
                  <a:pt x="145" y="36"/>
                </a:lnTo>
                <a:lnTo>
                  <a:pt x="145" y="38"/>
                </a:lnTo>
                <a:lnTo>
                  <a:pt x="143" y="40"/>
                </a:lnTo>
                <a:lnTo>
                  <a:pt x="141" y="41"/>
                </a:lnTo>
                <a:lnTo>
                  <a:pt x="138" y="43"/>
                </a:lnTo>
                <a:lnTo>
                  <a:pt x="135" y="44"/>
                </a:lnTo>
                <a:lnTo>
                  <a:pt x="133" y="44"/>
                </a:lnTo>
                <a:lnTo>
                  <a:pt x="128" y="44"/>
                </a:lnTo>
                <a:lnTo>
                  <a:pt x="125" y="42"/>
                </a:lnTo>
                <a:lnTo>
                  <a:pt x="117" y="38"/>
                </a:lnTo>
                <a:lnTo>
                  <a:pt x="109" y="33"/>
                </a:lnTo>
                <a:lnTo>
                  <a:pt x="107" y="32"/>
                </a:lnTo>
                <a:lnTo>
                  <a:pt x="103" y="30"/>
                </a:lnTo>
                <a:lnTo>
                  <a:pt x="98" y="29"/>
                </a:lnTo>
                <a:lnTo>
                  <a:pt x="95" y="29"/>
                </a:lnTo>
                <a:lnTo>
                  <a:pt x="90" y="29"/>
                </a:lnTo>
                <a:lnTo>
                  <a:pt x="86" y="28"/>
                </a:lnTo>
                <a:lnTo>
                  <a:pt x="84" y="26"/>
                </a:lnTo>
                <a:lnTo>
                  <a:pt x="82" y="23"/>
                </a:lnTo>
                <a:lnTo>
                  <a:pt x="79" y="19"/>
                </a:lnTo>
                <a:lnTo>
                  <a:pt x="77" y="16"/>
                </a:lnTo>
                <a:lnTo>
                  <a:pt x="75" y="14"/>
                </a:lnTo>
                <a:lnTo>
                  <a:pt x="72" y="13"/>
                </a:lnTo>
                <a:lnTo>
                  <a:pt x="68" y="11"/>
                </a:lnTo>
                <a:lnTo>
                  <a:pt x="57" y="10"/>
                </a:lnTo>
                <a:lnTo>
                  <a:pt x="46" y="6"/>
                </a:lnTo>
                <a:lnTo>
                  <a:pt x="36" y="4"/>
                </a:lnTo>
                <a:lnTo>
                  <a:pt x="31" y="2"/>
                </a:lnTo>
                <a:lnTo>
                  <a:pt x="26" y="0"/>
                </a:lnTo>
                <a:lnTo>
                  <a:pt x="24" y="1"/>
                </a:lnTo>
                <a:lnTo>
                  <a:pt x="23" y="3"/>
                </a:lnTo>
                <a:lnTo>
                  <a:pt x="23" y="4"/>
                </a:lnTo>
                <a:lnTo>
                  <a:pt x="23" y="6"/>
                </a:lnTo>
                <a:lnTo>
                  <a:pt x="23" y="10"/>
                </a:lnTo>
                <a:lnTo>
                  <a:pt x="23" y="13"/>
                </a:lnTo>
                <a:lnTo>
                  <a:pt x="23" y="15"/>
                </a:lnTo>
                <a:lnTo>
                  <a:pt x="19" y="17"/>
                </a:lnTo>
                <a:lnTo>
                  <a:pt x="15" y="19"/>
                </a:lnTo>
                <a:lnTo>
                  <a:pt x="13" y="20"/>
                </a:lnTo>
                <a:lnTo>
                  <a:pt x="9" y="23"/>
                </a:lnTo>
                <a:lnTo>
                  <a:pt x="7" y="26"/>
                </a:lnTo>
                <a:lnTo>
                  <a:pt x="6" y="29"/>
                </a:lnTo>
                <a:lnTo>
                  <a:pt x="6" y="32"/>
                </a:lnTo>
                <a:lnTo>
                  <a:pt x="7" y="33"/>
                </a:lnTo>
                <a:lnTo>
                  <a:pt x="9" y="33"/>
                </a:lnTo>
                <a:lnTo>
                  <a:pt x="6" y="36"/>
                </a:lnTo>
                <a:lnTo>
                  <a:pt x="5" y="38"/>
                </a:lnTo>
                <a:lnTo>
                  <a:pt x="2" y="42"/>
                </a:lnTo>
                <a:lnTo>
                  <a:pt x="0" y="46"/>
                </a:lnTo>
                <a:lnTo>
                  <a:pt x="0" y="49"/>
                </a:lnTo>
                <a:lnTo>
                  <a:pt x="0" y="50"/>
                </a:lnTo>
                <a:lnTo>
                  <a:pt x="0" y="54"/>
                </a:lnTo>
                <a:lnTo>
                  <a:pt x="0" y="56"/>
                </a:lnTo>
                <a:lnTo>
                  <a:pt x="1" y="61"/>
                </a:lnTo>
                <a:lnTo>
                  <a:pt x="3" y="67"/>
                </a:lnTo>
                <a:lnTo>
                  <a:pt x="3" y="70"/>
                </a:lnTo>
                <a:lnTo>
                  <a:pt x="4" y="73"/>
                </a:lnTo>
                <a:lnTo>
                  <a:pt x="4" y="86"/>
                </a:lnTo>
                <a:lnTo>
                  <a:pt x="5" y="99"/>
                </a:lnTo>
                <a:lnTo>
                  <a:pt x="3" y="101"/>
                </a:lnTo>
                <a:lnTo>
                  <a:pt x="1" y="104"/>
                </a:lnTo>
                <a:lnTo>
                  <a:pt x="1" y="105"/>
                </a:lnTo>
                <a:lnTo>
                  <a:pt x="0" y="107"/>
                </a:lnTo>
                <a:lnTo>
                  <a:pt x="0" y="110"/>
                </a:lnTo>
                <a:lnTo>
                  <a:pt x="0" y="112"/>
                </a:lnTo>
                <a:lnTo>
                  <a:pt x="1" y="113"/>
                </a:lnTo>
                <a:lnTo>
                  <a:pt x="3" y="117"/>
                </a:lnTo>
                <a:lnTo>
                  <a:pt x="7" y="127"/>
                </a:lnTo>
                <a:lnTo>
                  <a:pt x="9" y="130"/>
                </a:lnTo>
                <a:lnTo>
                  <a:pt x="10" y="132"/>
                </a:lnTo>
                <a:lnTo>
                  <a:pt x="13" y="133"/>
                </a:lnTo>
                <a:lnTo>
                  <a:pt x="15" y="134"/>
                </a:lnTo>
                <a:lnTo>
                  <a:pt x="25" y="137"/>
                </a:lnTo>
                <a:lnTo>
                  <a:pt x="27" y="139"/>
                </a:lnTo>
                <a:lnTo>
                  <a:pt x="29" y="140"/>
                </a:lnTo>
                <a:lnTo>
                  <a:pt x="31" y="144"/>
                </a:lnTo>
                <a:lnTo>
                  <a:pt x="32" y="148"/>
                </a:lnTo>
                <a:lnTo>
                  <a:pt x="35" y="152"/>
                </a:lnTo>
                <a:lnTo>
                  <a:pt x="36" y="152"/>
                </a:lnTo>
                <a:lnTo>
                  <a:pt x="36" y="153"/>
                </a:lnTo>
                <a:lnTo>
                  <a:pt x="40" y="153"/>
                </a:lnTo>
                <a:lnTo>
                  <a:pt x="49" y="153"/>
                </a:lnTo>
                <a:lnTo>
                  <a:pt x="54" y="154"/>
                </a:lnTo>
                <a:lnTo>
                  <a:pt x="59" y="155"/>
                </a:lnTo>
                <a:lnTo>
                  <a:pt x="60" y="157"/>
                </a:lnTo>
                <a:lnTo>
                  <a:pt x="62" y="158"/>
                </a:lnTo>
                <a:lnTo>
                  <a:pt x="64" y="160"/>
                </a:lnTo>
                <a:lnTo>
                  <a:pt x="65" y="162"/>
                </a:lnTo>
                <a:lnTo>
                  <a:pt x="91" y="152"/>
                </a:lnTo>
                <a:lnTo>
                  <a:pt x="206" y="211"/>
                </a:lnTo>
                <a:lnTo>
                  <a:pt x="209" y="204"/>
                </a:lnTo>
                <a:lnTo>
                  <a:pt x="221" y="204"/>
                </a:lnTo>
                <a:lnTo>
                  <a:pt x="221" y="171"/>
                </a:lnTo>
                <a:lnTo>
                  <a:pt x="221" y="172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BD6DC8DC-AADB-325D-4F81-95973D9BB3EB}"/>
              </a:ext>
            </a:extLst>
          </p:cNvPr>
          <p:cNvSpPr>
            <a:spLocks/>
          </p:cNvSpPr>
          <p:nvPr/>
        </p:nvSpPr>
        <p:spPr bwMode="auto">
          <a:xfrm>
            <a:off x="6343025" y="3774921"/>
            <a:ext cx="119063" cy="211138"/>
          </a:xfrm>
          <a:custGeom>
            <a:avLst/>
            <a:gdLst>
              <a:gd name="T0" fmla="*/ 29 w 59"/>
              <a:gd name="T1" fmla="*/ 108 h 113"/>
              <a:gd name="T2" fmla="*/ 24 w 59"/>
              <a:gd name="T3" fmla="*/ 93 h 113"/>
              <a:gd name="T4" fmla="*/ 22 w 59"/>
              <a:gd name="T5" fmla="*/ 84 h 113"/>
              <a:gd name="T6" fmla="*/ 17 w 59"/>
              <a:gd name="T7" fmla="*/ 77 h 113"/>
              <a:gd name="T8" fmla="*/ 13 w 59"/>
              <a:gd name="T9" fmla="*/ 71 h 113"/>
              <a:gd name="T10" fmla="*/ 10 w 59"/>
              <a:gd name="T11" fmla="*/ 66 h 113"/>
              <a:gd name="T12" fmla="*/ 4 w 59"/>
              <a:gd name="T13" fmla="*/ 62 h 113"/>
              <a:gd name="T14" fmla="*/ 0 w 59"/>
              <a:gd name="T15" fmla="*/ 55 h 113"/>
              <a:gd name="T16" fmla="*/ 0 w 59"/>
              <a:gd name="T17" fmla="*/ 49 h 113"/>
              <a:gd name="T18" fmla="*/ 3 w 59"/>
              <a:gd name="T19" fmla="*/ 47 h 113"/>
              <a:gd name="T20" fmla="*/ 8 w 59"/>
              <a:gd name="T21" fmla="*/ 43 h 113"/>
              <a:gd name="T22" fmla="*/ 10 w 59"/>
              <a:gd name="T23" fmla="*/ 36 h 113"/>
              <a:gd name="T24" fmla="*/ 10 w 59"/>
              <a:gd name="T25" fmla="*/ 21 h 113"/>
              <a:gd name="T26" fmla="*/ 10 w 59"/>
              <a:gd name="T27" fmla="*/ 12 h 113"/>
              <a:gd name="T28" fmla="*/ 11 w 59"/>
              <a:gd name="T29" fmla="*/ 5 h 113"/>
              <a:gd name="T30" fmla="*/ 13 w 59"/>
              <a:gd name="T31" fmla="*/ 1 h 113"/>
              <a:gd name="T32" fmla="*/ 23 w 59"/>
              <a:gd name="T33" fmla="*/ 0 h 113"/>
              <a:gd name="T34" fmla="*/ 29 w 59"/>
              <a:gd name="T35" fmla="*/ 0 h 113"/>
              <a:gd name="T36" fmla="*/ 36 w 59"/>
              <a:gd name="T37" fmla="*/ 3 h 113"/>
              <a:gd name="T38" fmla="*/ 44 w 59"/>
              <a:gd name="T39" fmla="*/ 4 h 113"/>
              <a:gd name="T40" fmla="*/ 41 w 59"/>
              <a:gd name="T41" fmla="*/ 10 h 113"/>
              <a:gd name="T42" fmla="*/ 40 w 59"/>
              <a:gd name="T43" fmla="*/ 16 h 113"/>
              <a:gd name="T44" fmla="*/ 40 w 59"/>
              <a:gd name="T45" fmla="*/ 19 h 113"/>
              <a:gd name="T46" fmla="*/ 44 w 59"/>
              <a:gd name="T47" fmla="*/ 23 h 113"/>
              <a:gd name="T48" fmla="*/ 47 w 59"/>
              <a:gd name="T49" fmla="*/ 28 h 113"/>
              <a:gd name="T50" fmla="*/ 45 w 59"/>
              <a:gd name="T51" fmla="*/ 35 h 113"/>
              <a:gd name="T52" fmla="*/ 41 w 59"/>
              <a:gd name="T53" fmla="*/ 39 h 113"/>
              <a:gd name="T54" fmla="*/ 37 w 59"/>
              <a:gd name="T55" fmla="*/ 46 h 113"/>
              <a:gd name="T56" fmla="*/ 37 w 59"/>
              <a:gd name="T57" fmla="*/ 50 h 113"/>
              <a:gd name="T58" fmla="*/ 40 w 59"/>
              <a:gd name="T59" fmla="*/ 53 h 113"/>
              <a:gd name="T60" fmla="*/ 46 w 59"/>
              <a:gd name="T61" fmla="*/ 55 h 113"/>
              <a:gd name="T62" fmla="*/ 58 w 59"/>
              <a:gd name="T63" fmla="*/ 61 h 113"/>
              <a:gd name="T64" fmla="*/ 54 w 59"/>
              <a:gd name="T65" fmla="*/ 64 h 113"/>
              <a:gd name="T66" fmla="*/ 54 w 59"/>
              <a:gd name="T67" fmla="*/ 67 h 113"/>
              <a:gd name="T68" fmla="*/ 54 w 59"/>
              <a:gd name="T69" fmla="*/ 74 h 113"/>
              <a:gd name="T70" fmla="*/ 50 w 59"/>
              <a:gd name="T71" fmla="*/ 79 h 113"/>
              <a:gd name="T72" fmla="*/ 44 w 59"/>
              <a:gd name="T73" fmla="*/ 82 h 113"/>
              <a:gd name="T74" fmla="*/ 38 w 59"/>
              <a:gd name="T75" fmla="*/ 88 h 113"/>
              <a:gd name="T76" fmla="*/ 37 w 59"/>
              <a:gd name="T77" fmla="*/ 93 h 113"/>
              <a:gd name="T78" fmla="*/ 40 w 59"/>
              <a:gd name="T79" fmla="*/ 95 h 113"/>
              <a:gd name="T80" fmla="*/ 36 w 59"/>
              <a:gd name="T81" fmla="*/ 99 h 113"/>
              <a:gd name="T82" fmla="*/ 31 w 59"/>
              <a:gd name="T83" fmla="*/ 107 h 113"/>
              <a:gd name="T84" fmla="*/ 30 w 59"/>
              <a:gd name="T85" fmla="*/ 112 h 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9" h="113">
                <a:moveTo>
                  <a:pt x="29" y="108"/>
                </a:moveTo>
                <a:lnTo>
                  <a:pt x="29" y="108"/>
                </a:lnTo>
                <a:lnTo>
                  <a:pt x="27" y="98"/>
                </a:lnTo>
                <a:lnTo>
                  <a:pt x="24" y="93"/>
                </a:lnTo>
                <a:lnTo>
                  <a:pt x="23" y="86"/>
                </a:lnTo>
                <a:lnTo>
                  <a:pt x="22" y="84"/>
                </a:lnTo>
                <a:lnTo>
                  <a:pt x="21" y="82"/>
                </a:lnTo>
                <a:lnTo>
                  <a:pt x="17" y="77"/>
                </a:lnTo>
                <a:lnTo>
                  <a:pt x="13" y="74"/>
                </a:lnTo>
                <a:lnTo>
                  <a:pt x="13" y="71"/>
                </a:lnTo>
                <a:lnTo>
                  <a:pt x="10" y="68"/>
                </a:lnTo>
                <a:lnTo>
                  <a:pt x="10" y="66"/>
                </a:lnTo>
                <a:lnTo>
                  <a:pt x="9" y="65"/>
                </a:lnTo>
                <a:lnTo>
                  <a:pt x="4" y="62"/>
                </a:lnTo>
                <a:lnTo>
                  <a:pt x="1" y="58"/>
                </a:lnTo>
                <a:lnTo>
                  <a:pt x="0" y="55"/>
                </a:lnTo>
                <a:lnTo>
                  <a:pt x="0" y="52"/>
                </a:lnTo>
                <a:lnTo>
                  <a:pt x="0" y="49"/>
                </a:lnTo>
                <a:lnTo>
                  <a:pt x="2" y="48"/>
                </a:lnTo>
                <a:lnTo>
                  <a:pt x="3" y="47"/>
                </a:lnTo>
                <a:lnTo>
                  <a:pt x="6" y="44"/>
                </a:lnTo>
                <a:lnTo>
                  <a:pt x="8" y="43"/>
                </a:lnTo>
                <a:lnTo>
                  <a:pt x="9" y="41"/>
                </a:lnTo>
                <a:lnTo>
                  <a:pt x="10" y="36"/>
                </a:lnTo>
                <a:lnTo>
                  <a:pt x="10" y="31"/>
                </a:lnTo>
                <a:lnTo>
                  <a:pt x="10" y="21"/>
                </a:lnTo>
                <a:lnTo>
                  <a:pt x="10" y="16"/>
                </a:lnTo>
                <a:lnTo>
                  <a:pt x="10" y="12"/>
                </a:lnTo>
                <a:lnTo>
                  <a:pt x="11" y="8"/>
                </a:lnTo>
                <a:lnTo>
                  <a:pt x="11" y="5"/>
                </a:lnTo>
                <a:lnTo>
                  <a:pt x="13" y="3"/>
                </a:lnTo>
                <a:lnTo>
                  <a:pt x="13" y="1"/>
                </a:lnTo>
                <a:lnTo>
                  <a:pt x="19" y="0"/>
                </a:lnTo>
                <a:lnTo>
                  <a:pt x="23" y="0"/>
                </a:lnTo>
                <a:lnTo>
                  <a:pt x="27" y="0"/>
                </a:lnTo>
                <a:lnTo>
                  <a:pt x="29" y="0"/>
                </a:lnTo>
                <a:lnTo>
                  <a:pt x="31" y="0"/>
                </a:lnTo>
                <a:lnTo>
                  <a:pt x="36" y="3"/>
                </a:lnTo>
                <a:lnTo>
                  <a:pt x="40" y="3"/>
                </a:lnTo>
                <a:lnTo>
                  <a:pt x="44" y="4"/>
                </a:lnTo>
                <a:lnTo>
                  <a:pt x="44" y="8"/>
                </a:lnTo>
                <a:lnTo>
                  <a:pt x="41" y="10"/>
                </a:lnTo>
                <a:lnTo>
                  <a:pt x="40" y="13"/>
                </a:lnTo>
                <a:lnTo>
                  <a:pt x="40" y="16"/>
                </a:lnTo>
                <a:lnTo>
                  <a:pt x="40" y="17"/>
                </a:lnTo>
                <a:lnTo>
                  <a:pt x="40" y="19"/>
                </a:lnTo>
                <a:lnTo>
                  <a:pt x="40" y="20"/>
                </a:lnTo>
                <a:lnTo>
                  <a:pt x="44" y="23"/>
                </a:lnTo>
                <a:lnTo>
                  <a:pt x="46" y="26"/>
                </a:lnTo>
                <a:lnTo>
                  <a:pt x="47" y="28"/>
                </a:lnTo>
                <a:lnTo>
                  <a:pt x="46" y="32"/>
                </a:lnTo>
                <a:lnTo>
                  <a:pt x="45" y="35"/>
                </a:lnTo>
                <a:lnTo>
                  <a:pt x="44" y="37"/>
                </a:lnTo>
                <a:lnTo>
                  <a:pt x="41" y="39"/>
                </a:lnTo>
                <a:lnTo>
                  <a:pt x="38" y="43"/>
                </a:lnTo>
                <a:lnTo>
                  <a:pt x="37" y="46"/>
                </a:lnTo>
                <a:lnTo>
                  <a:pt x="37" y="49"/>
                </a:lnTo>
                <a:lnTo>
                  <a:pt x="37" y="50"/>
                </a:lnTo>
                <a:lnTo>
                  <a:pt x="38" y="52"/>
                </a:lnTo>
                <a:lnTo>
                  <a:pt x="40" y="53"/>
                </a:lnTo>
                <a:lnTo>
                  <a:pt x="42" y="54"/>
                </a:lnTo>
                <a:lnTo>
                  <a:pt x="46" y="55"/>
                </a:lnTo>
                <a:lnTo>
                  <a:pt x="50" y="56"/>
                </a:lnTo>
                <a:lnTo>
                  <a:pt x="58" y="61"/>
                </a:lnTo>
                <a:lnTo>
                  <a:pt x="55" y="62"/>
                </a:lnTo>
                <a:lnTo>
                  <a:pt x="54" y="64"/>
                </a:lnTo>
                <a:lnTo>
                  <a:pt x="54" y="65"/>
                </a:lnTo>
                <a:lnTo>
                  <a:pt x="54" y="67"/>
                </a:lnTo>
                <a:lnTo>
                  <a:pt x="54" y="72"/>
                </a:lnTo>
                <a:lnTo>
                  <a:pt x="54" y="74"/>
                </a:lnTo>
                <a:lnTo>
                  <a:pt x="54" y="76"/>
                </a:lnTo>
                <a:lnTo>
                  <a:pt x="50" y="79"/>
                </a:lnTo>
                <a:lnTo>
                  <a:pt x="46" y="80"/>
                </a:lnTo>
                <a:lnTo>
                  <a:pt x="44" y="82"/>
                </a:lnTo>
                <a:lnTo>
                  <a:pt x="40" y="85"/>
                </a:lnTo>
                <a:lnTo>
                  <a:pt x="38" y="88"/>
                </a:lnTo>
                <a:lnTo>
                  <a:pt x="37" y="90"/>
                </a:lnTo>
                <a:lnTo>
                  <a:pt x="37" y="93"/>
                </a:lnTo>
                <a:lnTo>
                  <a:pt x="38" y="95"/>
                </a:lnTo>
                <a:lnTo>
                  <a:pt x="40" y="95"/>
                </a:lnTo>
                <a:lnTo>
                  <a:pt x="37" y="98"/>
                </a:lnTo>
                <a:lnTo>
                  <a:pt x="36" y="99"/>
                </a:lnTo>
                <a:lnTo>
                  <a:pt x="33" y="103"/>
                </a:lnTo>
                <a:lnTo>
                  <a:pt x="31" y="107"/>
                </a:lnTo>
                <a:lnTo>
                  <a:pt x="30" y="110"/>
                </a:lnTo>
                <a:lnTo>
                  <a:pt x="30" y="112"/>
                </a:lnTo>
                <a:lnTo>
                  <a:pt x="29" y="108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AC4E7619-EE2A-3572-A15C-35B7A76AD066}"/>
              </a:ext>
            </a:extLst>
          </p:cNvPr>
          <p:cNvSpPr>
            <a:spLocks/>
          </p:cNvSpPr>
          <p:nvPr/>
        </p:nvSpPr>
        <p:spPr bwMode="auto">
          <a:xfrm>
            <a:off x="5896938" y="3778096"/>
            <a:ext cx="584200" cy="520700"/>
          </a:xfrm>
          <a:custGeom>
            <a:avLst/>
            <a:gdLst>
              <a:gd name="T0" fmla="*/ 99 w 289"/>
              <a:gd name="T1" fmla="*/ 30 h 280"/>
              <a:gd name="T2" fmla="*/ 114 w 289"/>
              <a:gd name="T3" fmla="*/ 21 h 280"/>
              <a:gd name="T4" fmla="*/ 125 w 289"/>
              <a:gd name="T5" fmla="*/ 15 h 280"/>
              <a:gd name="T6" fmla="*/ 150 w 289"/>
              <a:gd name="T7" fmla="*/ 8 h 280"/>
              <a:gd name="T8" fmla="*/ 175 w 289"/>
              <a:gd name="T9" fmla="*/ 4 h 280"/>
              <a:gd name="T10" fmla="*/ 187 w 289"/>
              <a:gd name="T11" fmla="*/ 6 h 280"/>
              <a:gd name="T12" fmla="*/ 194 w 289"/>
              <a:gd name="T13" fmla="*/ 7 h 280"/>
              <a:gd name="T14" fmla="*/ 200 w 289"/>
              <a:gd name="T15" fmla="*/ 6 h 280"/>
              <a:gd name="T16" fmla="*/ 206 w 289"/>
              <a:gd name="T17" fmla="*/ 2 h 280"/>
              <a:gd name="T18" fmla="*/ 230 w 289"/>
              <a:gd name="T19" fmla="*/ 1 h 280"/>
              <a:gd name="T20" fmla="*/ 233 w 289"/>
              <a:gd name="T21" fmla="*/ 8 h 280"/>
              <a:gd name="T22" fmla="*/ 231 w 289"/>
              <a:gd name="T23" fmla="*/ 29 h 280"/>
              <a:gd name="T24" fmla="*/ 230 w 289"/>
              <a:gd name="T25" fmla="*/ 42 h 280"/>
              <a:gd name="T26" fmla="*/ 222 w 289"/>
              <a:gd name="T27" fmla="*/ 48 h 280"/>
              <a:gd name="T28" fmla="*/ 221 w 289"/>
              <a:gd name="T29" fmla="*/ 53 h 280"/>
              <a:gd name="T30" fmla="*/ 226 w 289"/>
              <a:gd name="T31" fmla="*/ 60 h 280"/>
              <a:gd name="T32" fmla="*/ 232 w 289"/>
              <a:gd name="T33" fmla="*/ 66 h 280"/>
              <a:gd name="T34" fmla="*/ 239 w 289"/>
              <a:gd name="T35" fmla="*/ 75 h 280"/>
              <a:gd name="T36" fmla="*/ 244 w 289"/>
              <a:gd name="T37" fmla="*/ 85 h 280"/>
              <a:gd name="T38" fmla="*/ 251 w 289"/>
              <a:gd name="T39" fmla="*/ 107 h 280"/>
              <a:gd name="T40" fmla="*/ 252 w 289"/>
              <a:gd name="T41" fmla="*/ 114 h 280"/>
              <a:gd name="T42" fmla="*/ 255 w 289"/>
              <a:gd name="T43" fmla="*/ 127 h 280"/>
              <a:gd name="T44" fmla="*/ 257 w 289"/>
              <a:gd name="T45" fmla="*/ 145 h 280"/>
              <a:gd name="T46" fmla="*/ 254 w 289"/>
              <a:gd name="T47" fmla="*/ 164 h 280"/>
              <a:gd name="T48" fmla="*/ 253 w 289"/>
              <a:gd name="T49" fmla="*/ 171 h 280"/>
              <a:gd name="T50" fmla="*/ 260 w 289"/>
              <a:gd name="T51" fmla="*/ 187 h 280"/>
              <a:gd name="T52" fmla="*/ 265 w 289"/>
              <a:gd name="T53" fmla="*/ 192 h 280"/>
              <a:gd name="T54" fmla="*/ 280 w 289"/>
              <a:gd name="T55" fmla="*/ 198 h 280"/>
              <a:gd name="T56" fmla="*/ 285 w 289"/>
              <a:gd name="T57" fmla="*/ 207 h 280"/>
              <a:gd name="T58" fmla="*/ 200 w 289"/>
              <a:gd name="T59" fmla="*/ 274 h 280"/>
              <a:gd name="T60" fmla="*/ 159 w 289"/>
              <a:gd name="T61" fmla="*/ 265 h 280"/>
              <a:gd name="T62" fmla="*/ 145 w 289"/>
              <a:gd name="T63" fmla="*/ 259 h 280"/>
              <a:gd name="T64" fmla="*/ 138 w 289"/>
              <a:gd name="T65" fmla="*/ 252 h 280"/>
              <a:gd name="T66" fmla="*/ 0 w 289"/>
              <a:gd name="T67" fmla="*/ 153 h 280"/>
              <a:gd name="T68" fmla="*/ 9 w 289"/>
              <a:gd name="T69" fmla="*/ 124 h 280"/>
              <a:gd name="T70" fmla="*/ 29 w 289"/>
              <a:gd name="T71" fmla="*/ 116 h 280"/>
              <a:gd name="T72" fmla="*/ 48 w 289"/>
              <a:gd name="T73" fmla="*/ 107 h 280"/>
              <a:gd name="T74" fmla="*/ 52 w 289"/>
              <a:gd name="T75" fmla="*/ 101 h 280"/>
              <a:gd name="T76" fmla="*/ 65 w 289"/>
              <a:gd name="T77" fmla="*/ 96 h 280"/>
              <a:gd name="T78" fmla="*/ 66 w 289"/>
              <a:gd name="T79" fmla="*/ 85 h 280"/>
              <a:gd name="T80" fmla="*/ 78 w 289"/>
              <a:gd name="T81" fmla="*/ 80 h 280"/>
              <a:gd name="T82" fmla="*/ 85 w 289"/>
              <a:gd name="T83" fmla="*/ 78 h 280"/>
              <a:gd name="T84" fmla="*/ 97 w 289"/>
              <a:gd name="T85" fmla="*/ 78 h 280"/>
              <a:gd name="T86" fmla="*/ 102 w 289"/>
              <a:gd name="T87" fmla="*/ 75 h 280"/>
              <a:gd name="T88" fmla="*/ 100 w 289"/>
              <a:gd name="T89" fmla="*/ 65 h 280"/>
              <a:gd name="T90" fmla="*/ 89 w 289"/>
              <a:gd name="T91" fmla="*/ 31 h 2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289" h="280">
                <a:moveTo>
                  <a:pt x="89" y="31"/>
                </a:moveTo>
                <a:lnTo>
                  <a:pt x="94" y="31"/>
                </a:lnTo>
                <a:lnTo>
                  <a:pt x="99" y="30"/>
                </a:lnTo>
                <a:lnTo>
                  <a:pt x="102" y="29"/>
                </a:lnTo>
                <a:lnTo>
                  <a:pt x="106" y="26"/>
                </a:lnTo>
                <a:lnTo>
                  <a:pt x="114" y="21"/>
                </a:lnTo>
                <a:lnTo>
                  <a:pt x="116" y="19"/>
                </a:lnTo>
                <a:lnTo>
                  <a:pt x="120" y="16"/>
                </a:lnTo>
                <a:lnTo>
                  <a:pt x="125" y="15"/>
                </a:lnTo>
                <a:lnTo>
                  <a:pt x="132" y="13"/>
                </a:lnTo>
                <a:lnTo>
                  <a:pt x="141" y="10"/>
                </a:lnTo>
                <a:lnTo>
                  <a:pt x="150" y="8"/>
                </a:lnTo>
                <a:lnTo>
                  <a:pt x="159" y="6"/>
                </a:lnTo>
                <a:lnTo>
                  <a:pt x="168" y="6"/>
                </a:lnTo>
                <a:lnTo>
                  <a:pt x="175" y="4"/>
                </a:lnTo>
                <a:lnTo>
                  <a:pt x="181" y="3"/>
                </a:lnTo>
                <a:lnTo>
                  <a:pt x="184" y="4"/>
                </a:lnTo>
                <a:lnTo>
                  <a:pt x="187" y="6"/>
                </a:lnTo>
                <a:lnTo>
                  <a:pt x="190" y="7"/>
                </a:lnTo>
                <a:lnTo>
                  <a:pt x="192" y="7"/>
                </a:lnTo>
                <a:lnTo>
                  <a:pt x="194" y="7"/>
                </a:lnTo>
                <a:lnTo>
                  <a:pt x="195" y="7"/>
                </a:lnTo>
                <a:lnTo>
                  <a:pt x="198" y="6"/>
                </a:lnTo>
                <a:lnTo>
                  <a:pt x="200" y="6"/>
                </a:lnTo>
                <a:lnTo>
                  <a:pt x="201" y="4"/>
                </a:lnTo>
                <a:lnTo>
                  <a:pt x="205" y="3"/>
                </a:lnTo>
                <a:lnTo>
                  <a:pt x="206" y="2"/>
                </a:lnTo>
                <a:lnTo>
                  <a:pt x="208" y="2"/>
                </a:lnTo>
                <a:lnTo>
                  <a:pt x="225" y="2"/>
                </a:lnTo>
                <a:lnTo>
                  <a:pt x="230" y="1"/>
                </a:lnTo>
                <a:lnTo>
                  <a:pt x="235" y="0"/>
                </a:lnTo>
                <a:lnTo>
                  <a:pt x="235" y="3"/>
                </a:lnTo>
                <a:lnTo>
                  <a:pt x="233" y="8"/>
                </a:lnTo>
                <a:lnTo>
                  <a:pt x="231" y="14"/>
                </a:lnTo>
                <a:lnTo>
                  <a:pt x="231" y="19"/>
                </a:lnTo>
                <a:lnTo>
                  <a:pt x="231" y="29"/>
                </a:lnTo>
                <a:lnTo>
                  <a:pt x="231" y="34"/>
                </a:lnTo>
                <a:lnTo>
                  <a:pt x="231" y="39"/>
                </a:lnTo>
                <a:lnTo>
                  <a:pt x="230" y="42"/>
                </a:lnTo>
                <a:lnTo>
                  <a:pt x="228" y="42"/>
                </a:lnTo>
                <a:lnTo>
                  <a:pt x="225" y="45"/>
                </a:lnTo>
                <a:lnTo>
                  <a:pt x="222" y="48"/>
                </a:lnTo>
                <a:lnTo>
                  <a:pt x="221" y="50"/>
                </a:lnTo>
                <a:lnTo>
                  <a:pt x="221" y="51"/>
                </a:lnTo>
                <a:lnTo>
                  <a:pt x="221" y="53"/>
                </a:lnTo>
                <a:lnTo>
                  <a:pt x="223" y="56"/>
                </a:lnTo>
                <a:lnTo>
                  <a:pt x="224" y="58"/>
                </a:lnTo>
                <a:lnTo>
                  <a:pt x="226" y="60"/>
                </a:lnTo>
                <a:lnTo>
                  <a:pt x="231" y="64"/>
                </a:lnTo>
                <a:lnTo>
                  <a:pt x="231" y="65"/>
                </a:lnTo>
                <a:lnTo>
                  <a:pt x="232" y="66"/>
                </a:lnTo>
                <a:lnTo>
                  <a:pt x="235" y="69"/>
                </a:lnTo>
                <a:lnTo>
                  <a:pt x="235" y="72"/>
                </a:lnTo>
                <a:lnTo>
                  <a:pt x="239" y="75"/>
                </a:lnTo>
                <a:lnTo>
                  <a:pt x="243" y="80"/>
                </a:lnTo>
                <a:lnTo>
                  <a:pt x="244" y="82"/>
                </a:lnTo>
                <a:lnTo>
                  <a:pt x="244" y="85"/>
                </a:lnTo>
                <a:lnTo>
                  <a:pt x="246" y="91"/>
                </a:lnTo>
                <a:lnTo>
                  <a:pt x="248" y="97"/>
                </a:lnTo>
                <a:lnTo>
                  <a:pt x="251" y="107"/>
                </a:lnTo>
                <a:lnTo>
                  <a:pt x="251" y="106"/>
                </a:lnTo>
                <a:lnTo>
                  <a:pt x="252" y="110"/>
                </a:lnTo>
                <a:lnTo>
                  <a:pt x="252" y="114"/>
                </a:lnTo>
                <a:lnTo>
                  <a:pt x="253" y="116"/>
                </a:lnTo>
                <a:lnTo>
                  <a:pt x="254" y="121"/>
                </a:lnTo>
                <a:lnTo>
                  <a:pt x="255" y="127"/>
                </a:lnTo>
                <a:lnTo>
                  <a:pt x="255" y="129"/>
                </a:lnTo>
                <a:lnTo>
                  <a:pt x="257" y="132"/>
                </a:lnTo>
                <a:lnTo>
                  <a:pt x="257" y="145"/>
                </a:lnTo>
                <a:lnTo>
                  <a:pt x="258" y="158"/>
                </a:lnTo>
                <a:lnTo>
                  <a:pt x="255" y="160"/>
                </a:lnTo>
                <a:lnTo>
                  <a:pt x="254" y="164"/>
                </a:lnTo>
                <a:lnTo>
                  <a:pt x="253" y="167"/>
                </a:lnTo>
                <a:lnTo>
                  <a:pt x="253" y="169"/>
                </a:lnTo>
                <a:lnTo>
                  <a:pt x="253" y="171"/>
                </a:lnTo>
                <a:lnTo>
                  <a:pt x="254" y="173"/>
                </a:lnTo>
                <a:lnTo>
                  <a:pt x="255" y="176"/>
                </a:lnTo>
                <a:lnTo>
                  <a:pt x="260" y="187"/>
                </a:lnTo>
                <a:lnTo>
                  <a:pt x="261" y="190"/>
                </a:lnTo>
                <a:lnTo>
                  <a:pt x="263" y="191"/>
                </a:lnTo>
                <a:lnTo>
                  <a:pt x="265" y="192"/>
                </a:lnTo>
                <a:lnTo>
                  <a:pt x="268" y="193"/>
                </a:lnTo>
                <a:lnTo>
                  <a:pt x="278" y="196"/>
                </a:lnTo>
                <a:lnTo>
                  <a:pt x="280" y="198"/>
                </a:lnTo>
                <a:lnTo>
                  <a:pt x="281" y="199"/>
                </a:lnTo>
                <a:lnTo>
                  <a:pt x="284" y="203"/>
                </a:lnTo>
                <a:lnTo>
                  <a:pt x="285" y="207"/>
                </a:lnTo>
                <a:lnTo>
                  <a:pt x="288" y="211"/>
                </a:lnTo>
                <a:lnTo>
                  <a:pt x="223" y="249"/>
                </a:lnTo>
                <a:lnTo>
                  <a:pt x="200" y="274"/>
                </a:lnTo>
                <a:lnTo>
                  <a:pt x="165" y="279"/>
                </a:lnTo>
                <a:lnTo>
                  <a:pt x="165" y="265"/>
                </a:lnTo>
                <a:lnTo>
                  <a:pt x="159" y="265"/>
                </a:lnTo>
                <a:lnTo>
                  <a:pt x="154" y="262"/>
                </a:lnTo>
                <a:lnTo>
                  <a:pt x="149" y="261"/>
                </a:lnTo>
                <a:lnTo>
                  <a:pt x="145" y="259"/>
                </a:lnTo>
                <a:lnTo>
                  <a:pt x="141" y="256"/>
                </a:lnTo>
                <a:lnTo>
                  <a:pt x="139" y="254"/>
                </a:lnTo>
                <a:lnTo>
                  <a:pt x="138" y="252"/>
                </a:lnTo>
                <a:lnTo>
                  <a:pt x="135" y="249"/>
                </a:lnTo>
                <a:lnTo>
                  <a:pt x="134" y="245"/>
                </a:lnTo>
                <a:lnTo>
                  <a:pt x="0" y="153"/>
                </a:lnTo>
                <a:lnTo>
                  <a:pt x="0" y="133"/>
                </a:lnTo>
                <a:lnTo>
                  <a:pt x="4" y="128"/>
                </a:lnTo>
                <a:lnTo>
                  <a:pt x="9" y="124"/>
                </a:lnTo>
                <a:lnTo>
                  <a:pt x="12" y="122"/>
                </a:lnTo>
                <a:lnTo>
                  <a:pt x="16" y="120"/>
                </a:lnTo>
                <a:lnTo>
                  <a:pt x="29" y="116"/>
                </a:lnTo>
                <a:lnTo>
                  <a:pt x="36" y="114"/>
                </a:lnTo>
                <a:lnTo>
                  <a:pt x="43" y="111"/>
                </a:lnTo>
                <a:lnTo>
                  <a:pt x="48" y="107"/>
                </a:lnTo>
                <a:lnTo>
                  <a:pt x="49" y="105"/>
                </a:lnTo>
                <a:lnTo>
                  <a:pt x="52" y="104"/>
                </a:lnTo>
                <a:lnTo>
                  <a:pt x="52" y="101"/>
                </a:lnTo>
                <a:lnTo>
                  <a:pt x="56" y="100"/>
                </a:lnTo>
                <a:lnTo>
                  <a:pt x="60" y="98"/>
                </a:lnTo>
                <a:lnTo>
                  <a:pt x="65" y="96"/>
                </a:lnTo>
                <a:lnTo>
                  <a:pt x="66" y="94"/>
                </a:lnTo>
                <a:lnTo>
                  <a:pt x="66" y="93"/>
                </a:lnTo>
                <a:lnTo>
                  <a:pt x="66" y="85"/>
                </a:lnTo>
                <a:lnTo>
                  <a:pt x="69" y="84"/>
                </a:lnTo>
                <a:lnTo>
                  <a:pt x="72" y="83"/>
                </a:lnTo>
                <a:lnTo>
                  <a:pt x="78" y="80"/>
                </a:lnTo>
                <a:lnTo>
                  <a:pt x="80" y="79"/>
                </a:lnTo>
                <a:lnTo>
                  <a:pt x="82" y="78"/>
                </a:lnTo>
                <a:lnTo>
                  <a:pt x="85" y="78"/>
                </a:lnTo>
                <a:lnTo>
                  <a:pt x="88" y="78"/>
                </a:lnTo>
                <a:lnTo>
                  <a:pt x="96" y="78"/>
                </a:lnTo>
                <a:lnTo>
                  <a:pt x="97" y="78"/>
                </a:lnTo>
                <a:lnTo>
                  <a:pt x="100" y="77"/>
                </a:lnTo>
                <a:lnTo>
                  <a:pt x="101" y="77"/>
                </a:lnTo>
                <a:lnTo>
                  <a:pt x="102" y="75"/>
                </a:lnTo>
                <a:lnTo>
                  <a:pt x="102" y="74"/>
                </a:lnTo>
                <a:lnTo>
                  <a:pt x="102" y="70"/>
                </a:lnTo>
                <a:lnTo>
                  <a:pt x="100" y="65"/>
                </a:lnTo>
                <a:lnTo>
                  <a:pt x="95" y="51"/>
                </a:lnTo>
                <a:lnTo>
                  <a:pt x="88" y="31"/>
                </a:lnTo>
                <a:lnTo>
                  <a:pt x="89" y="31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36D79342-A8AD-F4A3-8EB0-029AB79DDECB}"/>
              </a:ext>
            </a:extLst>
          </p:cNvPr>
          <p:cNvSpPr>
            <a:spLocks/>
          </p:cNvSpPr>
          <p:nvPr/>
        </p:nvSpPr>
        <p:spPr bwMode="auto">
          <a:xfrm>
            <a:off x="5771525" y="3816196"/>
            <a:ext cx="333375" cy="238125"/>
          </a:xfrm>
          <a:custGeom>
            <a:avLst/>
            <a:gdLst>
              <a:gd name="T0" fmla="*/ 61 w 165"/>
              <a:gd name="T1" fmla="*/ 112 h 128"/>
              <a:gd name="T2" fmla="*/ 70 w 165"/>
              <a:gd name="T3" fmla="*/ 103 h 128"/>
              <a:gd name="T4" fmla="*/ 78 w 165"/>
              <a:gd name="T5" fmla="*/ 99 h 128"/>
              <a:gd name="T6" fmla="*/ 98 w 165"/>
              <a:gd name="T7" fmla="*/ 93 h 128"/>
              <a:gd name="T8" fmla="*/ 109 w 165"/>
              <a:gd name="T9" fmla="*/ 86 h 128"/>
              <a:gd name="T10" fmla="*/ 113 w 165"/>
              <a:gd name="T11" fmla="*/ 83 h 128"/>
              <a:gd name="T12" fmla="*/ 117 w 165"/>
              <a:gd name="T13" fmla="*/ 79 h 128"/>
              <a:gd name="T14" fmla="*/ 126 w 165"/>
              <a:gd name="T15" fmla="*/ 75 h 128"/>
              <a:gd name="T16" fmla="*/ 127 w 165"/>
              <a:gd name="T17" fmla="*/ 72 h 128"/>
              <a:gd name="T18" fmla="*/ 131 w 165"/>
              <a:gd name="T19" fmla="*/ 63 h 128"/>
              <a:gd name="T20" fmla="*/ 139 w 165"/>
              <a:gd name="T21" fmla="*/ 59 h 128"/>
              <a:gd name="T22" fmla="*/ 144 w 165"/>
              <a:gd name="T23" fmla="*/ 58 h 128"/>
              <a:gd name="T24" fmla="*/ 149 w 165"/>
              <a:gd name="T25" fmla="*/ 57 h 128"/>
              <a:gd name="T26" fmla="*/ 158 w 165"/>
              <a:gd name="T27" fmla="*/ 57 h 128"/>
              <a:gd name="T28" fmla="*/ 162 w 165"/>
              <a:gd name="T29" fmla="*/ 56 h 128"/>
              <a:gd name="T30" fmla="*/ 164 w 165"/>
              <a:gd name="T31" fmla="*/ 54 h 128"/>
              <a:gd name="T32" fmla="*/ 163 w 165"/>
              <a:gd name="T33" fmla="*/ 49 h 128"/>
              <a:gd name="T34" fmla="*/ 156 w 165"/>
              <a:gd name="T35" fmla="*/ 30 h 128"/>
              <a:gd name="T36" fmla="*/ 150 w 165"/>
              <a:gd name="T37" fmla="*/ 10 h 128"/>
              <a:gd name="T38" fmla="*/ 124 w 165"/>
              <a:gd name="T39" fmla="*/ 10 h 128"/>
              <a:gd name="T40" fmla="*/ 114 w 165"/>
              <a:gd name="T41" fmla="*/ 8 h 128"/>
              <a:gd name="T42" fmla="*/ 111 w 165"/>
              <a:gd name="T43" fmla="*/ 3 h 128"/>
              <a:gd name="T44" fmla="*/ 108 w 165"/>
              <a:gd name="T45" fmla="*/ 0 h 128"/>
              <a:gd name="T46" fmla="*/ 104 w 165"/>
              <a:gd name="T47" fmla="*/ 0 h 128"/>
              <a:gd name="T48" fmla="*/ 100 w 165"/>
              <a:gd name="T49" fmla="*/ 3 h 128"/>
              <a:gd name="T50" fmla="*/ 96 w 165"/>
              <a:gd name="T51" fmla="*/ 12 h 128"/>
              <a:gd name="T52" fmla="*/ 91 w 165"/>
              <a:gd name="T53" fmla="*/ 25 h 128"/>
              <a:gd name="T54" fmla="*/ 90 w 165"/>
              <a:gd name="T55" fmla="*/ 27 h 128"/>
              <a:gd name="T56" fmla="*/ 82 w 165"/>
              <a:gd name="T57" fmla="*/ 32 h 128"/>
              <a:gd name="T58" fmla="*/ 71 w 165"/>
              <a:gd name="T59" fmla="*/ 39 h 128"/>
              <a:gd name="T60" fmla="*/ 64 w 165"/>
              <a:gd name="T61" fmla="*/ 45 h 128"/>
              <a:gd name="T62" fmla="*/ 57 w 165"/>
              <a:gd name="T63" fmla="*/ 53 h 128"/>
              <a:gd name="T64" fmla="*/ 55 w 165"/>
              <a:gd name="T65" fmla="*/ 62 h 128"/>
              <a:gd name="T66" fmla="*/ 53 w 165"/>
              <a:gd name="T67" fmla="*/ 72 h 128"/>
              <a:gd name="T68" fmla="*/ 52 w 165"/>
              <a:gd name="T69" fmla="*/ 84 h 128"/>
              <a:gd name="T70" fmla="*/ 49 w 165"/>
              <a:gd name="T71" fmla="*/ 91 h 128"/>
              <a:gd name="T72" fmla="*/ 42 w 165"/>
              <a:gd name="T73" fmla="*/ 99 h 128"/>
              <a:gd name="T74" fmla="*/ 29 w 165"/>
              <a:gd name="T75" fmla="*/ 108 h 128"/>
              <a:gd name="T76" fmla="*/ 23 w 165"/>
              <a:gd name="T77" fmla="*/ 112 h 128"/>
              <a:gd name="T78" fmla="*/ 11 w 165"/>
              <a:gd name="T79" fmla="*/ 119 h 128"/>
              <a:gd name="T80" fmla="*/ 3 w 165"/>
              <a:gd name="T81" fmla="*/ 124 h 128"/>
              <a:gd name="T82" fmla="*/ 61 w 165"/>
              <a:gd name="T83" fmla="*/ 127 h 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65" h="128">
                <a:moveTo>
                  <a:pt x="61" y="126"/>
                </a:moveTo>
                <a:lnTo>
                  <a:pt x="61" y="112"/>
                </a:lnTo>
                <a:lnTo>
                  <a:pt x="65" y="107"/>
                </a:lnTo>
                <a:lnTo>
                  <a:pt x="70" y="103"/>
                </a:lnTo>
                <a:lnTo>
                  <a:pt x="73" y="101"/>
                </a:lnTo>
                <a:lnTo>
                  <a:pt x="78" y="99"/>
                </a:lnTo>
                <a:lnTo>
                  <a:pt x="91" y="95"/>
                </a:lnTo>
                <a:lnTo>
                  <a:pt x="98" y="93"/>
                </a:lnTo>
                <a:lnTo>
                  <a:pt x="104" y="90"/>
                </a:lnTo>
                <a:lnTo>
                  <a:pt x="109" y="86"/>
                </a:lnTo>
                <a:lnTo>
                  <a:pt x="111" y="84"/>
                </a:lnTo>
                <a:lnTo>
                  <a:pt x="113" y="83"/>
                </a:lnTo>
                <a:lnTo>
                  <a:pt x="114" y="81"/>
                </a:lnTo>
                <a:lnTo>
                  <a:pt x="117" y="79"/>
                </a:lnTo>
                <a:lnTo>
                  <a:pt x="121" y="77"/>
                </a:lnTo>
                <a:lnTo>
                  <a:pt x="126" y="75"/>
                </a:lnTo>
                <a:lnTo>
                  <a:pt x="127" y="73"/>
                </a:lnTo>
                <a:lnTo>
                  <a:pt x="127" y="72"/>
                </a:lnTo>
                <a:lnTo>
                  <a:pt x="127" y="64"/>
                </a:lnTo>
                <a:lnTo>
                  <a:pt x="131" y="63"/>
                </a:lnTo>
                <a:lnTo>
                  <a:pt x="133" y="62"/>
                </a:lnTo>
                <a:lnTo>
                  <a:pt x="139" y="59"/>
                </a:lnTo>
                <a:lnTo>
                  <a:pt x="141" y="58"/>
                </a:lnTo>
                <a:lnTo>
                  <a:pt x="144" y="58"/>
                </a:lnTo>
                <a:lnTo>
                  <a:pt x="146" y="57"/>
                </a:lnTo>
                <a:lnTo>
                  <a:pt x="149" y="57"/>
                </a:lnTo>
                <a:lnTo>
                  <a:pt x="157" y="57"/>
                </a:lnTo>
                <a:lnTo>
                  <a:pt x="158" y="57"/>
                </a:lnTo>
                <a:lnTo>
                  <a:pt x="161" y="56"/>
                </a:lnTo>
                <a:lnTo>
                  <a:pt x="162" y="56"/>
                </a:lnTo>
                <a:lnTo>
                  <a:pt x="163" y="55"/>
                </a:lnTo>
                <a:lnTo>
                  <a:pt x="164" y="54"/>
                </a:lnTo>
                <a:lnTo>
                  <a:pt x="164" y="53"/>
                </a:lnTo>
                <a:lnTo>
                  <a:pt x="163" y="49"/>
                </a:lnTo>
                <a:lnTo>
                  <a:pt x="161" y="45"/>
                </a:lnTo>
                <a:lnTo>
                  <a:pt x="156" y="30"/>
                </a:lnTo>
                <a:lnTo>
                  <a:pt x="149" y="10"/>
                </a:lnTo>
                <a:lnTo>
                  <a:pt x="150" y="10"/>
                </a:lnTo>
                <a:lnTo>
                  <a:pt x="133" y="12"/>
                </a:lnTo>
                <a:lnTo>
                  <a:pt x="124" y="10"/>
                </a:lnTo>
                <a:lnTo>
                  <a:pt x="114" y="9"/>
                </a:lnTo>
                <a:lnTo>
                  <a:pt x="114" y="8"/>
                </a:lnTo>
                <a:lnTo>
                  <a:pt x="113" y="7"/>
                </a:lnTo>
                <a:lnTo>
                  <a:pt x="111" y="3"/>
                </a:lnTo>
                <a:lnTo>
                  <a:pt x="109" y="0"/>
                </a:lnTo>
                <a:lnTo>
                  <a:pt x="108" y="0"/>
                </a:lnTo>
                <a:lnTo>
                  <a:pt x="106" y="0"/>
                </a:lnTo>
                <a:lnTo>
                  <a:pt x="104" y="0"/>
                </a:lnTo>
                <a:lnTo>
                  <a:pt x="102" y="0"/>
                </a:lnTo>
                <a:lnTo>
                  <a:pt x="100" y="3"/>
                </a:lnTo>
                <a:lnTo>
                  <a:pt x="98" y="7"/>
                </a:lnTo>
                <a:lnTo>
                  <a:pt x="96" y="12"/>
                </a:lnTo>
                <a:lnTo>
                  <a:pt x="93" y="21"/>
                </a:lnTo>
                <a:lnTo>
                  <a:pt x="91" y="25"/>
                </a:lnTo>
                <a:lnTo>
                  <a:pt x="91" y="26"/>
                </a:lnTo>
                <a:lnTo>
                  <a:pt x="90" y="27"/>
                </a:lnTo>
                <a:lnTo>
                  <a:pt x="86" y="30"/>
                </a:lnTo>
                <a:lnTo>
                  <a:pt x="82" y="32"/>
                </a:lnTo>
                <a:lnTo>
                  <a:pt x="75" y="37"/>
                </a:lnTo>
                <a:lnTo>
                  <a:pt x="71" y="39"/>
                </a:lnTo>
                <a:lnTo>
                  <a:pt x="68" y="42"/>
                </a:lnTo>
                <a:lnTo>
                  <a:pt x="64" y="45"/>
                </a:lnTo>
                <a:lnTo>
                  <a:pt x="60" y="49"/>
                </a:lnTo>
                <a:lnTo>
                  <a:pt x="57" y="53"/>
                </a:lnTo>
                <a:lnTo>
                  <a:pt x="55" y="58"/>
                </a:lnTo>
                <a:lnTo>
                  <a:pt x="55" y="62"/>
                </a:lnTo>
                <a:lnTo>
                  <a:pt x="55" y="67"/>
                </a:lnTo>
                <a:lnTo>
                  <a:pt x="53" y="72"/>
                </a:lnTo>
                <a:lnTo>
                  <a:pt x="52" y="78"/>
                </a:lnTo>
                <a:lnTo>
                  <a:pt x="52" y="84"/>
                </a:lnTo>
                <a:lnTo>
                  <a:pt x="50" y="89"/>
                </a:lnTo>
                <a:lnTo>
                  <a:pt x="49" y="91"/>
                </a:lnTo>
                <a:lnTo>
                  <a:pt x="47" y="94"/>
                </a:lnTo>
                <a:lnTo>
                  <a:pt x="42" y="99"/>
                </a:lnTo>
                <a:lnTo>
                  <a:pt x="35" y="105"/>
                </a:lnTo>
                <a:lnTo>
                  <a:pt x="29" y="108"/>
                </a:lnTo>
                <a:lnTo>
                  <a:pt x="26" y="110"/>
                </a:lnTo>
                <a:lnTo>
                  <a:pt x="23" y="112"/>
                </a:lnTo>
                <a:lnTo>
                  <a:pt x="17" y="115"/>
                </a:lnTo>
                <a:lnTo>
                  <a:pt x="11" y="119"/>
                </a:lnTo>
                <a:lnTo>
                  <a:pt x="4" y="122"/>
                </a:lnTo>
                <a:lnTo>
                  <a:pt x="3" y="124"/>
                </a:lnTo>
                <a:lnTo>
                  <a:pt x="0" y="127"/>
                </a:lnTo>
                <a:lnTo>
                  <a:pt x="61" y="127"/>
                </a:lnTo>
                <a:lnTo>
                  <a:pt x="61" y="126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1553AD45-8CE4-FAB9-3230-63811611121D}"/>
              </a:ext>
            </a:extLst>
          </p:cNvPr>
          <p:cNvSpPr>
            <a:spLocks/>
          </p:cNvSpPr>
          <p:nvPr/>
        </p:nvSpPr>
        <p:spPr bwMode="auto">
          <a:xfrm>
            <a:off x="5669925" y="4052734"/>
            <a:ext cx="227013" cy="182563"/>
          </a:xfrm>
          <a:custGeom>
            <a:avLst/>
            <a:gdLst>
              <a:gd name="T0" fmla="*/ 112 w 113"/>
              <a:gd name="T1" fmla="*/ 0 h 97"/>
              <a:gd name="T2" fmla="*/ 112 w 113"/>
              <a:gd name="T3" fmla="*/ 26 h 97"/>
              <a:gd name="T4" fmla="*/ 67 w 113"/>
              <a:gd name="T5" fmla="*/ 26 h 97"/>
              <a:gd name="T6" fmla="*/ 67 w 113"/>
              <a:gd name="T7" fmla="*/ 64 h 97"/>
              <a:gd name="T8" fmla="*/ 60 w 113"/>
              <a:gd name="T9" fmla="*/ 66 h 97"/>
              <a:gd name="T10" fmla="*/ 57 w 113"/>
              <a:gd name="T11" fmla="*/ 68 h 97"/>
              <a:gd name="T12" fmla="*/ 54 w 113"/>
              <a:gd name="T13" fmla="*/ 70 h 97"/>
              <a:gd name="T14" fmla="*/ 51 w 113"/>
              <a:gd name="T15" fmla="*/ 73 h 97"/>
              <a:gd name="T16" fmla="*/ 50 w 113"/>
              <a:gd name="T17" fmla="*/ 96 h 97"/>
              <a:gd name="T18" fmla="*/ 0 w 113"/>
              <a:gd name="T19" fmla="*/ 96 h 97"/>
              <a:gd name="T20" fmla="*/ 0 w 113"/>
              <a:gd name="T21" fmla="*/ 89 h 97"/>
              <a:gd name="T22" fmla="*/ 2 w 113"/>
              <a:gd name="T23" fmla="*/ 83 h 97"/>
              <a:gd name="T24" fmla="*/ 5 w 113"/>
              <a:gd name="T25" fmla="*/ 78 h 97"/>
              <a:gd name="T26" fmla="*/ 9 w 113"/>
              <a:gd name="T27" fmla="*/ 72 h 97"/>
              <a:gd name="T28" fmla="*/ 16 w 113"/>
              <a:gd name="T29" fmla="*/ 62 h 97"/>
              <a:gd name="T30" fmla="*/ 19 w 113"/>
              <a:gd name="T31" fmla="*/ 58 h 97"/>
              <a:gd name="T32" fmla="*/ 22 w 113"/>
              <a:gd name="T33" fmla="*/ 53 h 97"/>
              <a:gd name="T34" fmla="*/ 28 w 113"/>
              <a:gd name="T35" fmla="*/ 43 h 97"/>
              <a:gd name="T36" fmla="*/ 33 w 113"/>
              <a:gd name="T37" fmla="*/ 34 h 97"/>
              <a:gd name="T38" fmla="*/ 45 w 113"/>
              <a:gd name="T39" fmla="*/ 16 h 97"/>
              <a:gd name="T40" fmla="*/ 47 w 113"/>
              <a:gd name="T41" fmla="*/ 12 h 97"/>
              <a:gd name="T42" fmla="*/ 49 w 113"/>
              <a:gd name="T43" fmla="*/ 8 h 97"/>
              <a:gd name="T44" fmla="*/ 51 w 113"/>
              <a:gd name="T45" fmla="*/ 3 h 97"/>
              <a:gd name="T46" fmla="*/ 51 w 113"/>
              <a:gd name="T47" fmla="*/ 0 h 97"/>
              <a:gd name="T48" fmla="*/ 112 w 113"/>
              <a:gd name="T49" fmla="*/ 0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13" h="97">
                <a:moveTo>
                  <a:pt x="112" y="0"/>
                </a:moveTo>
                <a:lnTo>
                  <a:pt x="112" y="26"/>
                </a:lnTo>
                <a:lnTo>
                  <a:pt x="67" y="26"/>
                </a:lnTo>
                <a:lnTo>
                  <a:pt x="67" y="64"/>
                </a:lnTo>
                <a:lnTo>
                  <a:pt x="60" y="66"/>
                </a:lnTo>
                <a:lnTo>
                  <a:pt x="57" y="68"/>
                </a:lnTo>
                <a:lnTo>
                  <a:pt x="54" y="70"/>
                </a:lnTo>
                <a:lnTo>
                  <a:pt x="51" y="73"/>
                </a:lnTo>
                <a:lnTo>
                  <a:pt x="50" y="96"/>
                </a:lnTo>
                <a:lnTo>
                  <a:pt x="0" y="96"/>
                </a:lnTo>
                <a:lnTo>
                  <a:pt x="0" y="89"/>
                </a:lnTo>
                <a:lnTo>
                  <a:pt x="2" y="83"/>
                </a:lnTo>
                <a:lnTo>
                  <a:pt x="5" y="78"/>
                </a:lnTo>
                <a:lnTo>
                  <a:pt x="9" y="72"/>
                </a:lnTo>
                <a:lnTo>
                  <a:pt x="16" y="62"/>
                </a:lnTo>
                <a:lnTo>
                  <a:pt x="19" y="58"/>
                </a:lnTo>
                <a:lnTo>
                  <a:pt x="22" y="53"/>
                </a:lnTo>
                <a:lnTo>
                  <a:pt x="28" y="43"/>
                </a:lnTo>
                <a:lnTo>
                  <a:pt x="33" y="34"/>
                </a:lnTo>
                <a:lnTo>
                  <a:pt x="45" y="16"/>
                </a:lnTo>
                <a:lnTo>
                  <a:pt x="47" y="12"/>
                </a:lnTo>
                <a:lnTo>
                  <a:pt x="49" y="8"/>
                </a:lnTo>
                <a:lnTo>
                  <a:pt x="51" y="3"/>
                </a:lnTo>
                <a:lnTo>
                  <a:pt x="51" y="0"/>
                </a:lnTo>
                <a:lnTo>
                  <a:pt x="112" y="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345415D0-2813-B9AB-FD97-C5C5FAD8CD46}"/>
              </a:ext>
            </a:extLst>
          </p:cNvPr>
          <p:cNvSpPr>
            <a:spLocks/>
          </p:cNvSpPr>
          <p:nvPr/>
        </p:nvSpPr>
        <p:spPr bwMode="auto">
          <a:xfrm>
            <a:off x="5669925" y="4052734"/>
            <a:ext cx="336550" cy="376238"/>
          </a:xfrm>
          <a:custGeom>
            <a:avLst/>
            <a:gdLst>
              <a:gd name="T0" fmla="*/ 112 w 167"/>
              <a:gd name="T1" fmla="*/ 0 h 201"/>
              <a:gd name="T2" fmla="*/ 67 w 167"/>
              <a:gd name="T3" fmla="*/ 26 h 201"/>
              <a:gd name="T4" fmla="*/ 61 w 167"/>
              <a:gd name="T5" fmla="*/ 66 h 201"/>
              <a:gd name="T6" fmla="*/ 55 w 167"/>
              <a:gd name="T7" fmla="*/ 70 h 201"/>
              <a:gd name="T8" fmla="*/ 50 w 167"/>
              <a:gd name="T9" fmla="*/ 96 h 201"/>
              <a:gd name="T10" fmla="*/ 0 w 167"/>
              <a:gd name="T11" fmla="*/ 98 h 201"/>
              <a:gd name="T12" fmla="*/ 2 w 167"/>
              <a:gd name="T13" fmla="*/ 104 h 201"/>
              <a:gd name="T14" fmla="*/ 7 w 167"/>
              <a:gd name="T15" fmla="*/ 111 h 201"/>
              <a:gd name="T16" fmla="*/ 9 w 167"/>
              <a:gd name="T17" fmla="*/ 116 h 201"/>
              <a:gd name="T18" fmla="*/ 9 w 167"/>
              <a:gd name="T19" fmla="*/ 119 h 201"/>
              <a:gd name="T20" fmla="*/ 5 w 167"/>
              <a:gd name="T21" fmla="*/ 123 h 201"/>
              <a:gd name="T22" fmla="*/ 4 w 167"/>
              <a:gd name="T23" fmla="*/ 127 h 201"/>
              <a:gd name="T24" fmla="*/ 5 w 167"/>
              <a:gd name="T25" fmla="*/ 130 h 201"/>
              <a:gd name="T26" fmla="*/ 9 w 167"/>
              <a:gd name="T27" fmla="*/ 134 h 201"/>
              <a:gd name="T28" fmla="*/ 10 w 167"/>
              <a:gd name="T29" fmla="*/ 137 h 201"/>
              <a:gd name="T30" fmla="*/ 11 w 167"/>
              <a:gd name="T31" fmla="*/ 146 h 201"/>
              <a:gd name="T32" fmla="*/ 10 w 167"/>
              <a:gd name="T33" fmla="*/ 155 h 201"/>
              <a:gd name="T34" fmla="*/ 6 w 167"/>
              <a:gd name="T35" fmla="*/ 167 h 201"/>
              <a:gd name="T36" fmla="*/ 6 w 167"/>
              <a:gd name="T37" fmla="*/ 170 h 201"/>
              <a:gd name="T38" fmla="*/ 10 w 167"/>
              <a:gd name="T39" fmla="*/ 172 h 201"/>
              <a:gd name="T40" fmla="*/ 15 w 167"/>
              <a:gd name="T41" fmla="*/ 170 h 201"/>
              <a:gd name="T42" fmla="*/ 20 w 167"/>
              <a:gd name="T43" fmla="*/ 168 h 201"/>
              <a:gd name="T44" fmla="*/ 27 w 167"/>
              <a:gd name="T45" fmla="*/ 168 h 201"/>
              <a:gd name="T46" fmla="*/ 33 w 167"/>
              <a:gd name="T47" fmla="*/ 170 h 201"/>
              <a:gd name="T48" fmla="*/ 38 w 167"/>
              <a:gd name="T49" fmla="*/ 173 h 201"/>
              <a:gd name="T50" fmla="*/ 42 w 167"/>
              <a:gd name="T51" fmla="*/ 176 h 201"/>
              <a:gd name="T52" fmla="*/ 53 w 167"/>
              <a:gd name="T53" fmla="*/ 192 h 201"/>
              <a:gd name="T54" fmla="*/ 59 w 167"/>
              <a:gd name="T55" fmla="*/ 197 h 201"/>
              <a:gd name="T56" fmla="*/ 64 w 167"/>
              <a:gd name="T57" fmla="*/ 195 h 201"/>
              <a:gd name="T58" fmla="*/ 68 w 167"/>
              <a:gd name="T59" fmla="*/ 187 h 201"/>
              <a:gd name="T60" fmla="*/ 73 w 167"/>
              <a:gd name="T61" fmla="*/ 185 h 201"/>
              <a:gd name="T62" fmla="*/ 77 w 167"/>
              <a:gd name="T63" fmla="*/ 186 h 201"/>
              <a:gd name="T64" fmla="*/ 78 w 167"/>
              <a:gd name="T65" fmla="*/ 191 h 201"/>
              <a:gd name="T66" fmla="*/ 82 w 167"/>
              <a:gd name="T67" fmla="*/ 186 h 201"/>
              <a:gd name="T68" fmla="*/ 87 w 167"/>
              <a:gd name="T69" fmla="*/ 186 h 201"/>
              <a:gd name="T70" fmla="*/ 90 w 167"/>
              <a:gd name="T71" fmla="*/ 190 h 201"/>
              <a:gd name="T72" fmla="*/ 94 w 167"/>
              <a:gd name="T73" fmla="*/ 190 h 201"/>
              <a:gd name="T74" fmla="*/ 98 w 167"/>
              <a:gd name="T75" fmla="*/ 186 h 201"/>
              <a:gd name="T76" fmla="*/ 154 w 167"/>
              <a:gd name="T77" fmla="*/ 180 h 201"/>
              <a:gd name="T78" fmla="*/ 157 w 167"/>
              <a:gd name="T79" fmla="*/ 174 h 201"/>
              <a:gd name="T80" fmla="*/ 154 w 167"/>
              <a:gd name="T81" fmla="*/ 173 h 201"/>
              <a:gd name="T82" fmla="*/ 140 w 167"/>
              <a:gd name="T83" fmla="*/ 42 h 201"/>
              <a:gd name="T84" fmla="*/ 166 w 167"/>
              <a:gd name="T85" fmla="*/ 41 h 201"/>
              <a:gd name="T86" fmla="*/ 110 w 167"/>
              <a:gd name="T87" fmla="*/ 0 h 2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67" h="201">
                <a:moveTo>
                  <a:pt x="110" y="0"/>
                </a:moveTo>
                <a:lnTo>
                  <a:pt x="112" y="0"/>
                </a:lnTo>
                <a:lnTo>
                  <a:pt x="112" y="26"/>
                </a:lnTo>
                <a:lnTo>
                  <a:pt x="67" y="26"/>
                </a:lnTo>
                <a:lnTo>
                  <a:pt x="67" y="64"/>
                </a:lnTo>
                <a:lnTo>
                  <a:pt x="61" y="66"/>
                </a:lnTo>
                <a:lnTo>
                  <a:pt x="58" y="68"/>
                </a:lnTo>
                <a:lnTo>
                  <a:pt x="55" y="70"/>
                </a:lnTo>
                <a:lnTo>
                  <a:pt x="52" y="73"/>
                </a:lnTo>
                <a:lnTo>
                  <a:pt x="50" y="96"/>
                </a:lnTo>
                <a:lnTo>
                  <a:pt x="0" y="96"/>
                </a:lnTo>
                <a:lnTo>
                  <a:pt x="0" y="98"/>
                </a:lnTo>
                <a:lnTo>
                  <a:pt x="1" y="102"/>
                </a:lnTo>
                <a:lnTo>
                  <a:pt x="2" y="104"/>
                </a:lnTo>
                <a:lnTo>
                  <a:pt x="4" y="106"/>
                </a:lnTo>
                <a:lnTo>
                  <a:pt x="7" y="111"/>
                </a:lnTo>
                <a:lnTo>
                  <a:pt x="9" y="113"/>
                </a:lnTo>
                <a:lnTo>
                  <a:pt x="9" y="116"/>
                </a:lnTo>
                <a:lnTo>
                  <a:pt x="9" y="117"/>
                </a:lnTo>
                <a:lnTo>
                  <a:pt x="9" y="119"/>
                </a:lnTo>
                <a:lnTo>
                  <a:pt x="6" y="120"/>
                </a:lnTo>
                <a:lnTo>
                  <a:pt x="5" y="123"/>
                </a:lnTo>
                <a:lnTo>
                  <a:pt x="5" y="125"/>
                </a:lnTo>
                <a:lnTo>
                  <a:pt x="4" y="127"/>
                </a:lnTo>
                <a:lnTo>
                  <a:pt x="5" y="128"/>
                </a:lnTo>
                <a:lnTo>
                  <a:pt x="5" y="130"/>
                </a:lnTo>
                <a:lnTo>
                  <a:pt x="7" y="133"/>
                </a:lnTo>
                <a:lnTo>
                  <a:pt x="9" y="134"/>
                </a:lnTo>
                <a:lnTo>
                  <a:pt x="11" y="137"/>
                </a:lnTo>
                <a:lnTo>
                  <a:pt x="10" y="137"/>
                </a:lnTo>
                <a:lnTo>
                  <a:pt x="11" y="142"/>
                </a:lnTo>
                <a:lnTo>
                  <a:pt x="11" y="146"/>
                </a:lnTo>
                <a:lnTo>
                  <a:pt x="11" y="151"/>
                </a:lnTo>
                <a:lnTo>
                  <a:pt x="10" y="155"/>
                </a:lnTo>
                <a:lnTo>
                  <a:pt x="7" y="163"/>
                </a:lnTo>
                <a:lnTo>
                  <a:pt x="6" y="167"/>
                </a:lnTo>
                <a:lnTo>
                  <a:pt x="5" y="170"/>
                </a:lnTo>
                <a:lnTo>
                  <a:pt x="6" y="170"/>
                </a:lnTo>
                <a:lnTo>
                  <a:pt x="7" y="170"/>
                </a:lnTo>
                <a:lnTo>
                  <a:pt x="10" y="172"/>
                </a:lnTo>
                <a:lnTo>
                  <a:pt x="13" y="170"/>
                </a:lnTo>
                <a:lnTo>
                  <a:pt x="15" y="170"/>
                </a:lnTo>
                <a:lnTo>
                  <a:pt x="19" y="168"/>
                </a:lnTo>
                <a:lnTo>
                  <a:pt x="20" y="168"/>
                </a:lnTo>
                <a:lnTo>
                  <a:pt x="22" y="168"/>
                </a:lnTo>
                <a:lnTo>
                  <a:pt x="27" y="168"/>
                </a:lnTo>
                <a:lnTo>
                  <a:pt x="31" y="169"/>
                </a:lnTo>
                <a:lnTo>
                  <a:pt x="33" y="170"/>
                </a:lnTo>
                <a:lnTo>
                  <a:pt x="36" y="172"/>
                </a:lnTo>
                <a:lnTo>
                  <a:pt x="38" y="173"/>
                </a:lnTo>
                <a:lnTo>
                  <a:pt x="39" y="173"/>
                </a:lnTo>
                <a:lnTo>
                  <a:pt x="42" y="176"/>
                </a:lnTo>
                <a:lnTo>
                  <a:pt x="45" y="181"/>
                </a:lnTo>
                <a:lnTo>
                  <a:pt x="53" y="192"/>
                </a:lnTo>
                <a:lnTo>
                  <a:pt x="58" y="196"/>
                </a:lnTo>
                <a:lnTo>
                  <a:pt x="59" y="197"/>
                </a:lnTo>
                <a:lnTo>
                  <a:pt x="62" y="200"/>
                </a:lnTo>
                <a:lnTo>
                  <a:pt x="64" y="195"/>
                </a:lnTo>
                <a:lnTo>
                  <a:pt x="67" y="190"/>
                </a:lnTo>
                <a:lnTo>
                  <a:pt x="68" y="187"/>
                </a:lnTo>
                <a:lnTo>
                  <a:pt x="71" y="186"/>
                </a:lnTo>
                <a:lnTo>
                  <a:pt x="73" y="185"/>
                </a:lnTo>
                <a:lnTo>
                  <a:pt x="78" y="183"/>
                </a:lnTo>
                <a:lnTo>
                  <a:pt x="77" y="186"/>
                </a:lnTo>
                <a:lnTo>
                  <a:pt x="77" y="187"/>
                </a:lnTo>
                <a:lnTo>
                  <a:pt x="78" y="191"/>
                </a:lnTo>
                <a:lnTo>
                  <a:pt x="81" y="187"/>
                </a:lnTo>
                <a:lnTo>
                  <a:pt x="82" y="186"/>
                </a:lnTo>
                <a:lnTo>
                  <a:pt x="85" y="186"/>
                </a:lnTo>
                <a:lnTo>
                  <a:pt x="87" y="186"/>
                </a:lnTo>
                <a:lnTo>
                  <a:pt x="87" y="187"/>
                </a:lnTo>
                <a:lnTo>
                  <a:pt x="90" y="190"/>
                </a:lnTo>
                <a:lnTo>
                  <a:pt x="91" y="190"/>
                </a:lnTo>
                <a:lnTo>
                  <a:pt x="94" y="190"/>
                </a:lnTo>
                <a:lnTo>
                  <a:pt x="95" y="190"/>
                </a:lnTo>
                <a:lnTo>
                  <a:pt x="98" y="186"/>
                </a:lnTo>
                <a:lnTo>
                  <a:pt x="154" y="186"/>
                </a:lnTo>
                <a:lnTo>
                  <a:pt x="154" y="180"/>
                </a:lnTo>
                <a:lnTo>
                  <a:pt x="156" y="177"/>
                </a:lnTo>
                <a:lnTo>
                  <a:pt x="157" y="174"/>
                </a:lnTo>
                <a:lnTo>
                  <a:pt x="156" y="174"/>
                </a:lnTo>
                <a:lnTo>
                  <a:pt x="154" y="173"/>
                </a:lnTo>
                <a:lnTo>
                  <a:pt x="152" y="172"/>
                </a:lnTo>
                <a:lnTo>
                  <a:pt x="140" y="42"/>
                </a:lnTo>
                <a:lnTo>
                  <a:pt x="140" y="41"/>
                </a:lnTo>
                <a:lnTo>
                  <a:pt x="166" y="41"/>
                </a:lnTo>
                <a:lnTo>
                  <a:pt x="113" y="5"/>
                </a:lnTo>
                <a:lnTo>
                  <a:pt x="110" y="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085920E7-E594-5430-2C7E-F42044C1F0E7}"/>
              </a:ext>
            </a:extLst>
          </p:cNvPr>
          <p:cNvSpPr>
            <a:spLocks/>
          </p:cNvSpPr>
          <p:nvPr/>
        </p:nvSpPr>
        <p:spPr bwMode="auto">
          <a:xfrm>
            <a:off x="5790575" y="4130521"/>
            <a:ext cx="466725" cy="423863"/>
          </a:xfrm>
          <a:custGeom>
            <a:avLst/>
            <a:gdLst>
              <a:gd name="T0" fmla="*/ 3 w 232"/>
              <a:gd name="T1" fmla="*/ 153 h 227"/>
              <a:gd name="T2" fmla="*/ 7 w 232"/>
              <a:gd name="T3" fmla="*/ 146 h 227"/>
              <a:gd name="T4" fmla="*/ 13 w 232"/>
              <a:gd name="T5" fmla="*/ 143 h 227"/>
              <a:gd name="T6" fmla="*/ 16 w 232"/>
              <a:gd name="T7" fmla="*/ 145 h 227"/>
              <a:gd name="T8" fmla="*/ 17 w 232"/>
              <a:gd name="T9" fmla="*/ 149 h 227"/>
              <a:gd name="T10" fmla="*/ 22 w 232"/>
              <a:gd name="T11" fmla="*/ 144 h 227"/>
              <a:gd name="T12" fmla="*/ 26 w 232"/>
              <a:gd name="T13" fmla="*/ 145 h 227"/>
              <a:gd name="T14" fmla="*/ 29 w 232"/>
              <a:gd name="T15" fmla="*/ 148 h 227"/>
              <a:gd name="T16" fmla="*/ 31 w 232"/>
              <a:gd name="T17" fmla="*/ 149 h 227"/>
              <a:gd name="T18" fmla="*/ 35 w 232"/>
              <a:gd name="T19" fmla="*/ 148 h 227"/>
              <a:gd name="T20" fmla="*/ 94 w 232"/>
              <a:gd name="T21" fmla="*/ 145 h 227"/>
              <a:gd name="T22" fmla="*/ 95 w 232"/>
              <a:gd name="T23" fmla="*/ 136 h 227"/>
              <a:gd name="T24" fmla="*/ 95 w 232"/>
              <a:gd name="T25" fmla="*/ 132 h 227"/>
              <a:gd name="T26" fmla="*/ 91 w 232"/>
              <a:gd name="T27" fmla="*/ 130 h 227"/>
              <a:gd name="T28" fmla="*/ 105 w 232"/>
              <a:gd name="T29" fmla="*/ 0 h 227"/>
              <a:gd name="T30" fmla="*/ 187 w 232"/>
              <a:gd name="T31" fmla="*/ 59 h 227"/>
              <a:gd name="T32" fmla="*/ 193 w 232"/>
              <a:gd name="T33" fmla="*/ 67 h 227"/>
              <a:gd name="T34" fmla="*/ 201 w 232"/>
              <a:gd name="T35" fmla="*/ 72 h 227"/>
              <a:gd name="T36" fmla="*/ 211 w 232"/>
              <a:gd name="T37" fmla="*/ 76 h 227"/>
              <a:gd name="T38" fmla="*/ 217 w 232"/>
              <a:gd name="T39" fmla="*/ 89 h 227"/>
              <a:gd name="T40" fmla="*/ 230 w 232"/>
              <a:gd name="T41" fmla="*/ 128 h 227"/>
              <a:gd name="T42" fmla="*/ 224 w 232"/>
              <a:gd name="T43" fmla="*/ 139 h 227"/>
              <a:gd name="T44" fmla="*/ 219 w 232"/>
              <a:gd name="T45" fmla="*/ 143 h 227"/>
              <a:gd name="T46" fmla="*/ 211 w 232"/>
              <a:gd name="T47" fmla="*/ 146 h 227"/>
              <a:gd name="T48" fmla="*/ 195 w 232"/>
              <a:gd name="T49" fmla="*/ 146 h 227"/>
              <a:gd name="T50" fmla="*/ 185 w 232"/>
              <a:gd name="T51" fmla="*/ 148 h 227"/>
              <a:gd name="T52" fmla="*/ 168 w 232"/>
              <a:gd name="T53" fmla="*/ 152 h 227"/>
              <a:gd name="T54" fmla="*/ 135 w 232"/>
              <a:gd name="T55" fmla="*/ 163 h 227"/>
              <a:gd name="T56" fmla="*/ 130 w 232"/>
              <a:gd name="T57" fmla="*/ 167 h 227"/>
              <a:gd name="T58" fmla="*/ 126 w 232"/>
              <a:gd name="T59" fmla="*/ 175 h 227"/>
              <a:gd name="T60" fmla="*/ 123 w 232"/>
              <a:gd name="T61" fmla="*/ 177 h 227"/>
              <a:gd name="T62" fmla="*/ 119 w 232"/>
              <a:gd name="T63" fmla="*/ 178 h 227"/>
              <a:gd name="T64" fmla="*/ 111 w 232"/>
              <a:gd name="T65" fmla="*/ 176 h 227"/>
              <a:gd name="T66" fmla="*/ 111 w 232"/>
              <a:gd name="T67" fmla="*/ 188 h 227"/>
              <a:gd name="T68" fmla="*/ 109 w 232"/>
              <a:gd name="T69" fmla="*/ 192 h 227"/>
              <a:gd name="T70" fmla="*/ 104 w 232"/>
              <a:gd name="T71" fmla="*/ 197 h 227"/>
              <a:gd name="T72" fmla="*/ 97 w 232"/>
              <a:gd name="T73" fmla="*/ 202 h 227"/>
              <a:gd name="T74" fmla="*/ 97 w 232"/>
              <a:gd name="T75" fmla="*/ 205 h 227"/>
              <a:gd name="T76" fmla="*/ 96 w 232"/>
              <a:gd name="T77" fmla="*/ 211 h 227"/>
              <a:gd name="T78" fmla="*/ 94 w 232"/>
              <a:gd name="T79" fmla="*/ 216 h 227"/>
              <a:gd name="T80" fmla="*/ 91 w 232"/>
              <a:gd name="T81" fmla="*/ 221 h 227"/>
              <a:gd name="T82" fmla="*/ 87 w 232"/>
              <a:gd name="T83" fmla="*/ 225 h 227"/>
              <a:gd name="T84" fmla="*/ 83 w 232"/>
              <a:gd name="T85" fmla="*/ 222 h 227"/>
              <a:gd name="T86" fmla="*/ 73 w 232"/>
              <a:gd name="T87" fmla="*/ 224 h 227"/>
              <a:gd name="T88" fmla="*/ 65 w 232"/>
              <a:gd name="T89" fmla="*/ 226 h 227"/>
              <a:gd name="T90" fmla="*/ 60 w 232"/>
              <a:gd name="T91" fmla="*/ 226 h 227"/>
              <a:gd name="T92" fmla="*/ 57 w 232"/>
              <a:gd name="T93" fmla="*/ 222 h 227"/>
              <a:gd name="T94" fmla="*/ 55 w 232"/>
              <a:gd name="T95" fmla="*/ 219 h 227"/>
              <a:gd name="T96" fmla="*/ 52 w 232"/>
              <a:gd name="T97" fmla="*/ 211 h 227"/>
              <a:gd name="T98" fmla="*/ 48 w 232"/>
              <a:gd name="T99" fmla="*/ 199 h 227"/>
              <a:gd name="T100" fmla="*/ 44 w 232"/>
              <a:gd name="T101" fmla="*/ 196 h 227"/>
              <a:gd name="T102" fmla="*/ 39 w 232"/>
              <a:gd name="T103" fmla="*/ 193 h 227"/>
              <a:gd name="T104" fmla="*/ 38 w 232"/>
              <a:gd name="T105" fmla="*/ 195 h 227"/>
              <a:gd name="T106" fmla="*/ 33 w 232"/>
              <a:gd name="T107" fmla="*/ 196 h 227"/>
              <a:gd name="T108" fmla="*/ 24 w 232"/>
              <a:gd name="T109" fmla="*/ 196 h 227"/>
              <a:gd name="T110" fmla="*/ 10 w 232"/>
              <a:gd name="T111" fmla="*/ 193 h 227"/>
              <a:gd name="T112" fmla="*/ 10 w 232"/>
              <a:gd name="T113" fmla="*/ 185 h 227"/>
              <a:gd name="T114" fmla="*/ 8 w 232"/>
              <a:gd name="T115" fmla="*/ 178 h 227"/>
              <a:gd name="T116" fmla="*/ 3 w 232"/>
              <a:gd name="T117" fmla="*/ 166 h 227"/>
              <a:gd name="T118" fmla="*/ 0 w 232"/>
              <a:gd name="T119" fmla="*/ 157 h 227"/>
              <a:gd name="T120" fmla="*/ 2 w 232"/>
              <a:gd name="T121" fmla="*/ 158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32" h="227">
                <a:moveTo>
                  <a:pt x="2" y="158"/>
                </a:moveTo>
                <a:lnTo>
                  <a:pt x="3" y="153"/>
                </a:lnTo>
                <a:lnTo>
                  <a:pt x="6" y="148"/>
                </a:lnTo>
                <a:lnTo>
                  <a:pt x="7" y="146"/>
                </a:lnTo>
                <a:lnTo>
                  <a:pt x="10" y="144"/>
                </a:lnTo>
                <a:lnTo>
                  <a:pt x="13" y="143"/>
                </a:lnTo>
                <a:lnTo>
                  <a:pt x="17" y="142"/>
                </a:lnTo>
                <a:lnTo>
                  <a:pt x="16" y="145"/>
                </a:lnTo>
                <a:lnTo>
                  <a:pt x="16" y="146"/>
                </a:lnTo>
                <a:lnTo>
                  <a:pt x="17" y="149"/>
                </a:lnTo>
                <a:lnTo>
                  <a:pt x="20" y="146"/>
                </a:lnTo>
                <a:lnTo>
                  <a:pt x="22" y="144"/>
                </a:lnTo>
                <a:lnTo>
                  <a:pt x="25" y="144"/>
                </a:lnTo>
                <a:lnTo>
                  <a:pt x="26" y="145"/>
                </a:lnTo>
                <a:lnTo>
                  <a:pt x="27" y="146"/>
                </a:lnTo>
                <a:lnTo>
                  <a:pt x="29" y="148"/>
                </a:lnTo>
                <a:lnTo>
                  <a:pt x="30" y="149"/>
                </a:lnTo>
                <a:lnTo>
                  <a:pt x="31" y="149"/>
                </a:lnTo>
                <a:lnTo>
                  <a:pt x="33" y="149"/>
                </a:lnTo>
                <a:lnTo>
                  <a:pt x="35" y="148"/>
                </a:lnTo>
                <a:lnTo>
                  <a:pt x="38" y="145"/>
                </a:lnTo>
                <a:lnTo>
                  <a:pt x="94" y="145"/>
                </a:lnTo>
                <a:lnTo>
                  <a:pt x="94" y="139"/>
                </a:lnTo>
                <a:lnTo>
                  <a:pt x="95" y="136"/>
                </a:lnTo>
                <a:lnTo>
                  <a:pt x="97" y="132"/>
                </a:lnTo>
                <a:lnTo>
                  <a:pt x="95" y="132"/>
                </a:lnTo>
                <a:lnTo>
                  <a:pt x="94" y="132"/>
                </a:lnTo>
                <a:lnTo>
                  <a:pt x="91" y="130"/>
                </a:lnTo>
                <a:lnTo>
                  <a:pt x="80" y="0"/>
                </a:lnTo>
                <a:lnTo>
                  <a:pt x="105" y="0"/>
                </a:lnTo>
                <a:lnTo>
                  <a:pt x="186" y="56"/>
                </a:lnTo>
                <a:lnTo>
                  <a:pt x="187" y="59"/>
                </a:lnTo>
                <a:lnTo>
                  <a:pt x="190" y="63"/>
                </a:lnTo>
                <a:lnTo>
                  <a:pt x="193" y="67"/>
                </a:lnTo>
                <a:lnTo>
                  <a:pt x="197" y="69"/>
                </a:lnTo>
                <a:lnTo>
                  <a:pt x="201" y="72"/>
                </a:lnTo>
                <a:lnTo>
                  <a:pt x="206" y="73"/>
                </a:lnTo>
                <a:lnTo>
                  <a:pt x="211" y="76"/>
                </a:lnTo>
                <a:lnTo>
                  <a:pt x="217" y="76"/>
                </a:lnTo>
                <a:lnTo>
                  <a:pt x="217" y="89"/>
                </a:lnTo>
                <a:lnTo>
                  <a:pt x="231" y="87"/>
                </a:lnTo>
                <a:lnTo>
                  <a:pt x="230" y="128"/>
                </a:lnTo>
                <a:lnTo>
                  <a:pt x="226" y="136"/>
                </a:lnTo>
                <a:lnTo>
                  <a:pt x="224" y="139"/>
                </a:lnTo>
                <a:lnTo>
                  <a:pt x="221" y="141"/>
                </a:lnTo>
                <a:lnTo>
                  <a:pt x="219" y="143"/>
                </a:lnTo>
                <a:lnTo>
                  <a:pt x="215" y="145"/>
                </a:lnTo>
                <a:lnTo>
                  <a:pt x="211" y="146"/>
                </a:lnTo>
                <a:lnTo>
                  <a:pt x="207" y="146"/>
                </a:lnTo>
                <a:lnTo>
                  <a:pt x="195" y="146"/>
                </a:lnTo>
                <a:lnTo>
                  <a:pt x="191" y="148"/>
                </a:lnTo>
                <a:lnTo>
                  <a:pt x="185" y="148"/>
                </a:lnTo>
                <a:lnTo>
                  <a:pt x="176" y="149"/>
                </a:lnTo>
                <a:lnTo>
                  <a:pt x="168" y="152"/>
                </a:lnTo>
                <a:lnTo>
                  <a:pt x="151" y="158"/>
                </a:lnTo>
                <a:lnTo>
                  <a:pt x="135" y="163"/>
                </a:lnTo>
                <a:lnTo>
                  <a:pt x="132" y="166"/>
                </a:lnTo>
                <a:lnTo>
                  <a:pt x="130" y="167"/>
                </a:lnTo>
                <a:lnTo>
                  <a:pt x="126" y="172"/>
                </a:lnTo>
                <a:lnTo>
                  <a:pt x="126" y="175"/>
                </a:lnTo>
                <a:lnTo>
                  <a:pt x="123" y="176"/>
                </a:lnTo>
                <a:lnTo>
                  <a:pt x="123" y="177"/>
                </a:lnTo>
                <a:lnTo>
                  <a:pt x="122" y="178"/>
                </a:lnTo>
                <a:lnTo>
                  <a:pt x="119" y="178"/>
                </a:lnTo>
                <a:lnTo>
                  <a:pt x="115" y="177"/>
                </a:lnTo>
                <a:lnTo>
                  <a:pt x="111" y="176"/>
                </a:lnTo>
                <a:lnTo>
                  <a:pt x="111" y="186"/>
                </a:lnTo>
                <a:lnTo>
                  <a:pt x="111" y="188"/>
                </a:lnTo>
                <a:lnTo>
                  <a:pt x="110" y="189"/>
                </a:lnTo>
                <a:lnTo>
                  <a:pt x="109" y="192"/>
                </a:lnTo>
                <a:lnTo>
                  <a:pt x="107" y="195"/>
                </a:lnTo>
                <a:lnTo>
                  <a:pt x="104" y="197"/>
                </a:lnTo>
                <a:lnTo>
                  <a:pt x="98" y="200"/>
                </a:lnTo>
                <a:lnTo>
                  <a:pt x="97" y="202"/>
                </a:lnTo>
                <a:lnTo>
                  <a:pt x="97" y="203"/>
                </a:lnTo>
                <a:lnTo>
                  <a:pt x="97" y="205"/>
                </a:lnTo>
                <a:lnTo>
                  <a:pt x="97" y="207"/>
                </a:lnTo>
                <a:lnTo>
                  <a:pt x="96" y="211"/>
                </a:lnTo>
                <a:lnTo>
                  <a:pt x="96" y="213"/>
                </a:lnTo>
                <a:lnTo>
                  <a:pt x="94" y="216"/>
                </a:lnTo>
                <a:lnTo>
                  <a:pt x="93" y="219"/>
                </a:lnTo>
                <a:lnTo>
                  <a:pt x="91" y="221"/>
                </a:lnTo>
                <a:lnTo>
                  <a:pt x="89" y="222"/>
                </a:lnTo>
                <a:lnTo>
                  <a:pt x="87" y="225"/>
                </a:lnTo>
                <a:lnTo>
                  <a:pt x="84" y="226"/>
                </a:lnTo>
                <a:lnTo>
                  <a:pt x="83" y="222"/>
                </a:lnTo>
                <a:lnTo>
                  <a:pt x="81" y="219"/>
                </a:lnTo>
                <a:lnTo>
                  <a:pt x="73" y="224"/>
                </a:lnTo>
                <a:lnTo>
                  <a:pt x="68" y="225"/>
                </a:lnTo>
                <a:lnTo>
                  <a:pt x="65" y="226"/>
                </a:lnTo>
                <a:lnTo>
                  <a:pt x="62" y="226"/>
                </a:lnTo>
                <a:lnTo>
                  <a:pt x="60" y="226"/>
                </a:lnTo>
                <a:lnTo>
                  <a:pt x="58" y="225"/>
                </a:lnTo>
                <a:lnTo>
                  <a:pt x="57" y="222"/>
                </a:lnTo>
                <a:lnTo>
                  <a:pt x="55" y="221"/>
                </a:lnTo>
                <a:lnTo>
                  <a:pt x="55" y="219"/>
                </a:lnTo>
                <a:lnTo>
                  <a:pt x="53" y="216"/>
                </a:lnTo>
                <a:lnTo>
                  <a:pt x="52" y="211"/>
                </a:lnTo>
                <a:lnTo>
                  <a:pt x="49" y="205"/>
                </a:lnTo>
                <a:lnTo>
                  <a:pt x="48" y="199"/>
                </a:lnTo>
                <a:lnTo>
                  <a:pt x="46" y="198"/>
                </a:lnTo>
                <a:lnTo>
                  <a:pt x="44" y="196"/>
                </a:lnTo>
                <a:lnTo>
                  <a:pt x="42" y="194"/>
                </a:lnTo>
                <a:lnTo>
                  <a:pt x="39" y="193"/>
                </a:lnTo>
                <a:lnTo>
                  <a:pt x="39" y="194"/>
                </a:lnTo>
                <a:lnTo>
                  <a:pt x="38" y="195"/>
                </a:lnTo>
                <a:lnTo>
                  <a:pt x="35" y="196"/>
                </a:lnTo>
                <a:lnTo>
                  <a:pt x="33" y="196"/>
                </a:lnTo>
                <a:lnTo>
                  <a:pt x="30" y="196"/>
                </a:lnTo>
                <a:lnTo>
                  <a:pt x="24" y="196"/>
                </a:lnTo>
                <a:lnTo>
                  <a:pt x="18" y="195"/>
                </a:lnTo>
                <a:lnTo>
                  <a:pt x="10" y="193"/>
                </a:lnTo>
                <a:lnTo>
                  <a:pt x="10" y="188"/>
                </a:lnTo>
                <a:lnTo>
                  <a:pt x="10" y="185"/>
                </a:lnTo>
                <a:lnTo>
                  <a:pt x="10" y="182"/>
                </a:lnTo>
                <a:lnTo>
                  <a:pt x="8" y="178"/>
                </a:lnTo>
                <a:lnTo>
                  <a:pt x="6" y="175"/>
                </a:lnTo>
                <a:lnTo>
                  <a:pt x="3" y="166"/>
                </a:lnTo>
                <a:lnTo>
                  <a:pt x="0" y="162"/>
                </a:lnTo>
                <a:lnTo>
                  <a:pt x="0" y="157"/>
                </a:lnTo>
                <a:lnTo>
                  <a:pt x="2" y="157"/>
                </a:lnTo>
                <a:lnTo>
                  <a:pt x="2" y="158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69726872-E11A-60AC-F259-A55FCB6F4DEF}"/>
              </a:ext>
            </a:extLst>
          </p:cNvPr>
          <p:cNvSpPr>
            <a:spLocks/>
          </p:cNvSpPr>
          <p:nvPr/>
        </p:nvSpPr>
        <p:spPr bwMode="auto">
          <a:xfrm>
            <a:off x="6141413" y="4173384"/>
            <a:ext cx="452438" cy="334963"/>
          </a:xfrm>
          <a:custGeom>
            <a:avLst/>
            <a:gdLst>
              <a:gd name="T0" fmla="*/ 196 w 224"/>
              <a:gd name="T1" fmla="*/ 9 h 180"/>
              <a:gd name="T2" fmla="*/ 194 w 224"/>
              <a:gd name="T3" fmla="*/ 6 h 180"/>
              <a:gd name="T4" fmla="*/ 190 w 224"/>
              <a:gd name="T5" fmla="*/ 3 h 180"/>
              <a:gd name="T6" fmla="*/ 180 w 224"/>
              <a:gd name="T7" fmla="*/ 0 h 180"/>
              <a:gd name="T8" fmla="*/ 168 w 224"/>
              <a:gd name="T9" fmla="*/ 0 h 180"/>
              <a:gd name="T10" fmla="*/ 102 w 224"/>
              <a:gd name="T11" fmla="*/ 38 h 180"/>
              <a:gd name="T12" fmla="*/ 57 w 224"/>
              <a:gd name="T13" fmla="*/ 64 h 180"/>
              <a:gd name="T14" fmla="*/ 53 w 224"/>
              <a:gd name="T15" fmla="*/ 112 h 180"/>
              <a:gd name="T16" fmla="*/ 48 w 224"/>
              <a:gd name="T17" fmla="*/ 118 h 180"/>
              <a:gd name="T18" fmla="*/ 42 w 224"/>
              <a:gd name="T19" fmla="*/ 121 h 180"/>
              <a:gd name="T20" fmla="*/ 33 w 224"/>
              <a:gd name="T21" fmla="*/ 122 h 180"/>
              <a:gd name="T22" fmla="*/ 16 w 224"/>
              <a:gd name="T23" fmla="*/ 124 h 180"/>
              <a:gd name="T24" fmla="*/ 0 w 224"/>
              <a:gd name="T25" fmla="*/ 127 h 180"/>
              <a:gd name="T26" fmla="*/ 2 w 224"/>
              <a:gd name="T27" fmla="*/ 140 h 180"/>
              <a:gd name="T28" fmla="*/ 8 w 224"/>
              <a:gd name="T29" fmla="*/ 143 h 180"/>
              <a:gd name="T30" fmla="*/ 13 w 224"/>
              <a:gd name="T31" fmla="*/ 147 h 180"/>
              <a:gd name="T32" fmla="*/ 13 w 224"/>
              <a:gd name="T33" fmla="*/ 153 h 180"/>
              <a:gd name="T34" fmla="*/ 13 w 224"/>
              <a:gd name="T35" fmla="*/ 161 h 180"/>
              <a:gd name="T36" fmla="*/ 17 w 224"/>
              <a:gd name="T37" fmla="*/ 163 h 180"/>
              <a:gd name="T38" fmla="*/ 24 w 224"/>
              <a:gd name="T39" fmla="*/ 164 h 180"/>
              <a:gd name="T40" fmla="*/ 29 w 224"/>
              <a:gd name="T41" fmla="*/ 166 h 180"/>
              <a:gd name="T42" fmla="*/ 29 w 224"/>
              <a:gd name="T43" fmla="*/ 169 h 180"/>
              <a:gd name="T44" fmla="*/ 30 w 224"/>
              <a:gd name="T45" fmla="*/ 170 h 180"/>
              <a:gd name="T46" fmla="*/ 39 w 224"/>
              <a:gd name="T47" fmla="*/ 172 h 180"/>
              <a:gd name="T48" fmla="*/ 47 w 224"/>
              <a:gd name="T49" fmla="*/ 179 h 180"/>
              <a:gd name="T50" fmla="*/ 53 w 224"/>
              <a:gd name="T51" fmla="*/ 161 h 180"/>
              <a:gd name="T52" fmla="*/ 59 w 224"/>
              <a:gd name="T53" fmla="*/ 151 h 180"/>
              <a:gd name="T54" fmla="*/ 66 w 224"/>
              <a:gd name="T55" fmla="*/ 147 h 180"/>
              <a:gd name="T56" fmla="*/ 73 w 224"/>
              <a:gd name="T57" fmla="*/ 144 h 180"/>
              <a:gd name="T58" fmla="*/ 80 w 224"/>
              <a:gd name="T59" fmla="*/ 145 h 180"/>
              <a:gd name="T60" fmla="*/ 86 w 224"/>
              <a:gd name="T61" fmla="*/ 149 h 180"/>
              <a:gd name="T62" fmla="*/ 93 w 224"/>
              <a:gd name="T63" fmla="*/ 156 h 180"/>
              <a:gd name="T64" fmla="*/ 98 w 224"/>
              <a:gd name="T65" fmla="*/ 158 h 180"/>
              <a:gd name="T66" fmla="*/ 102 w 224"/>
              <a:gd name="T67" fmla="*/ 157 h 180"/>
              <a:gd name="T68" fmla="*/ 106 w 224"/>
              <a:gd name="T69" fmla="*/ 153 h 180"/>
              <a:gd name="T70" fmla="*/ 109 w 224"/>
              <a:gd name="T71" fmla="*/ 153 h 180"/>
              <a:gd name="T72" fmla="*/ 115 w 224"/>
              <a:gd name="T73" fmla="*/ 153 h 180"/>
              <a:gd name="T74" fmla="*/ 120 w 224"/>
              <a:gd name="T75" fmla="*/ 157 h 180"/>
              <a:gd name="T76" fmla="*/ 126 w 224"/>
              <a:gd name="T77" fmla="*/ 159 h 180"/>
              <a:gd name="T78" fmla="*/ 133 w 224"/>
              <a:gd name="T79" fmla="*/ 159 h 180"/>
              <a:gd name="T80" fmla="*/ 139 w 224"/>
              <a:gd name="T81" fmla="*/ 156 h 180"/>
              <a:gd name="T82" fmla="*/ 144 w 224"/>
              <a:gd name="T83" fmla="*/ 153 h 180"/>
              <a:gd name="T84" fmla="*/ 146 w 224"/>
              <a:gd name="T85" fmla="*/ 152 h 180"/>
              <a:gd name="T86" fmla="*/ 154 w 224"/>
              <a:gd name="T87" fmla="*/ 151 h 180"/>
              <a:gd name="T88" fmla="*/ 159 w 224"/>
              <a:gd name="T89" fmla="*/ 151 h 180"/>
              <a:gd name="T90" fmla="*/ 166 w 224"/>
              <a:gd name="T91" fmla="*/ 154 h 180"/>
              <a:gd name="T92" fmla="*/ 173 w 224"/>
              <a:gd name="T93" fmla="*/ 156 h 180"/>
              <a:gd name="T94" fmla="*/ 178 w 224"/>
              <a:gd name="T95" fmla="*/ 153 h 180"/>
              <a:gd name="T96" fmla="*/ 183 w 224"/>
              <a:gd name="T97" fmla="*/ 152 h 180"/>
              <a:gd name="T98" fmla="*/ 191 w 224"/>
              <a:gd name="T99" fmla="*/ 144 h 180"/>
              <a:gd name="T100" fmla="*/ 193 w 224"/>
              <a:gd name="T101" fmla="*/ 136 h 180"/>
              <a:gd name="T102" fmla="*/ 199 w 224"/>
              <a:gd name="T103" fmla="*/ 123 h 180"/>
              <a:gd name="T104" fmla="*/ 208 w 224"/>
              <a:gd name="T105" fmla="*/ 113 h 180"/>
              <a:gd name="T106" fmla="*/ 214 w 224"/>
              <a:gd name="T107" fmla="*/ 105 h 180"/>
              <a:gd name="T108" fmla="*/ 217 w 224"/>
              <a:gd name="T109" fmla="*/ 100 h 180"/>
              <a:gd name="T110" fmla="*/ 218 w 224"/>
              <a:gd name="T111" fmla="*/ 63 h 180"/>
              <a:gd name="T112" fmla="*/ 219 w 224"/>
              <a:gd name="T113" fmla="*/ 59 h 180"/>
              <a:gd name="T114" fmla="*/ 222 w 224"/>
              <a:gd name="T115" fmla="*/ 53 h 180"/>
              <a:gd name="T116" fmla="*/ 223 w 224"/>
              <a:gd name="T117" fmla="*/ 47 h 180"/>
              <a:gd name="T118" fmla="*/ 221 w 224"/>
              <a:gd name="T119" fmla="*/ 38 h 180"/>
              <a:gd name="T120" fmla="*/ 217 w 224"/>
              <a:gd name="T121" fmla="*/ 28 h 180"/>
              <a:gd name="T122" fmla="*/ 209 w 224"/>
              <a:gd name="T123" fmla="*/ 11 h 180"/>
              <a:gd name="T124" fmla="*/ 209 w 224"/>
              <a:gd name="T125" fmla="*/ 5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24" h="180">
                <a:moveTo>
                  <a:pt x="209" y="5"/>
                </a:moveTo>
                <a:lnTo>
                  <a:pt x="196" y="9"/>
                </a:lnTo>
                <a:lnTo>
                  <a:pt x="196" y="7"/>
                </a:lnTo>
                <a:lnTo>
                  <a:pt x="194" y="6"/>
                </a:lnTo>
                <a:lnTo>
                  <a:pt x="192" y="4"/>
                </a:lnTo>
                <a:lnTo>
                  <a:pt x="190" y="3"/>
                </a:lnTo>
                <a:lnTo>
                  <a:pt x="186" y="1"/>
                </a:lnTo>
                <a:lnTo>
                  <a:pt x="180" y="0"/>
                </a:lnTo>
                <a:lnTo>
                  <a:pt x="172" y="0"/>
                </a:lnTo>
                <a:lnTo>
                  <a:pt x="168" y="0"/>
                </a:lnTo>
                <a:lnTo>
                  <a:pt x="166" y="0"/>
                </a:lnTo>
                <a:lnTo>
                  <a:pt x="102" y="38"/>
                </a:lnTo>
                <a:lnTo>
                  <a:pt x="79" y="62"/>
                </a:lnTo>
                <a:lnTo>
                  <a:pt x="57" y="64"/>
                </a:lnTo>
                <a:lnTo>
                  <a:pt x="56" y="105"/>
                </a:lnTo>
                <a:lnTo>
                  <a:pt x="53" y="112"/>
                </a:lnTo>
                <a:lnTo>
                  <a:pt x="50" y="115"/>
                </a:lnTo>
                <a:lnTo>
                  <a:pt x="48" y="118"/>
                </a:lnTo>
                <a:lnTo>
                  <a:pt x="46" y="120"/>
                </a:lnTo>
                <a:lnTo>
                  <a:pt x="42" y="121"/>
                </a:lnTo>
                <a:lnTo>
                  <a:pt x="38" y="122"/>
                </a:lnTo>
                <a:lnTo>
                  <a:pt x="33" y="122"/>
                </a:lnTo>
                <a:lnTo>
                  <a:pt x="24" y="123"/>
                </a:lnTo>
                <a:lnTo>
                  <a:pt x="16" y="124"/>
                </a:lnTo>
                <a:lnTo>
                  <a:pt x="7" y="125"/>
                </a:lnTo>
                <a:lnTo>
                  <a:pt x="0" y="127"/>
                </a:lnTo>
                <a:lnTo>
                  <a:pt x="1" y="138"/>
                </a:lnTo>
                <a:lnTo>
                  <a:pt x="2" y="140"/>
                </a:lnTo>
                <a:lnTo>
                  <a:pt x="3" y="142"/>
                </a:lnTo>
                <a:lnTo>
                  <a:pt x="8" y="143"/>
                </a:lnTo>
                <a:lnTo>
                  <a:pt x="12" y="147"/>
                </a:lnTo>
                <a:lnTo>
                  <a:pt x="13" y="147"/>
                </a:lnTo>
                <a:lnTo>
                  <a:pt x="13" y="149"/>
                </a:lnTo>
                <a:lnTo>
                  <a:pt x="13" y="153"/>
                </a:lnTo>
                <a:lnTo>
                  <a:pt x="13" y="157"/>
                </a:lnTo>
                <a:lnTo>
                  <a:pt x="13" y="161"/>
                </a:lnTo>
                <a:lnTo>
                  <a:pt x="16" y="162"/>
                </a:lnTo>
                <a:lnTo>
                  <a:pt x="17" y="163"/>
                </a:lnTo>
                <a:lnTo>
                  <a:pt x="22" y="164"/>
                </a:lnTo>
                <a:lnTo>
                  <a:pt x="24" y="164"/>
                </a:lnTo>
                <a:lnTo>
                  <a:pt x="26" y="165"/>
                </a:lnTo>
                <a:lnTo>
                  <a:pt x="29" y="166"/>
                </a:lnTo>
                <a:lnTo>
                  <a:pt x="30" y="167"/>
                </a:lnTo>
                <a:lnTo>
                  <a:pt x="29" y="169"/>
                </a:lnTo>
                <a:lnTo>
                  <a:pt x="29" y="170"/>
                </a:lnTo>
                <a:lnTo>
                  <a:pt x="30" y="170"/>
                </a:lnTo>
                <a:lnTo>
                  <a:pt x="38" y="169"/>
                </a:lnTo>
                <a:lnTo>
                  <a:pt x="39" y="172"/>
                </a:lnTo>
                <a:lnTo>
                  <a:pt x="42" y="174"/>
                </a:lnTo>
                <a:lnTo>
                  <a:pt x="47" y="179"/>
                </a:lnTo>
                <a:lnTo>
                  <a:pt x="50" y="166"/>
                </a:lnTo>
                <a:lnTo>
                  <a:pt x="53" y="161"/>
                </a:lnTo>
                <a:lnTo>
                  <a:pt x="56" y="156"/>
                </a:lnTo>
                <a:lnTo>
                  <a:pt x="59" y="151"/>
                </a:lnTo>
                <a:lnTo>
                  <a:pt x="64" y="148"/>
                </a:lnTo>
                <a:lnTo>
                  <a:pt x="66" y="147"/>
                </a:lnTo>
                <a:lnTo>
                  <a:pt x="69" y="145"/>
                </a:lnTo>
                <a:lnTo>
                  <a:pt x="73" y="144"/>
                </a:lnTo>
                <a:lnTo>
                  <a:pt x="77" y="144"/>
                </a:lnTo>
                <a:lnTo>
                  <a:pt x="80" y="145"/>
                </a:lnTo>
                <a:lnTo>
                  <a:pt x="83" y="147"/>
                </a:lnTo>
                <a:lnTo>
                  <a:pt x="86" y="149"/>
                </a:lnTo>
                <a:lnTo>
                  <a:pt x="89" y="152"/>
                </a:lnTo>
                <a:lnTo>
                  <a:pt x="93" y="156"/>
                </a:lnTo>
                <a:lnTo>
                  <a:pt x="96" y="158"/>
                </a:lnTo>
                <a:lnTo>
                  <a:pt x="98" y="158"/>
                </a:lnTo>
                <a:lnTo>
                  <a:pt x="100" y="158"/>
                </a:lnTo>
                <a:lnTo>
                  <a:pt x="102" y="157"/>
                </a:lnTo>
                <a:lnTo>
                  <a:pt x="104" y="156"/>
                </a:lnTo>
                <a:lnTo>
                  <a:pt x="106" y="153"/>
                </a:lnTo>
                <a:lnTo>
                  <a:pt x="107" y="153"/>
                </a:lnTo>
                <a:lnTo>
                  <a:pt x="109" y="153"/>
                </a:lnTo>
                <a:lnTo>
                  <a:pt x="113" y="153"/>
                </a:lnTo>
                <a:lnTo>
                  <a:pt x="115" y="153"/>
                </a:lnTo>
                <a:lnTo>
                  <a:pt x="119" y="156"/>
                </a:lnTo>
                <a:lnTo>
                  <a:pt x="120" y="157"/>
                </a:lnTo>
                <a:lnTo>
                  <a:pt x="123" y="158"/>
                </a:lnTo>
                <a:lnTo>
                  <a:pt x="126" y="159"/>
                </a:lnTo>
                <a:lnTo>
                  <a:pt x="129" y="160"/>
                </a:lnTo>
                <a:lnTo>
                  <a:pt x="133" y="159"/>
                </a:lnTo>
                <a:lnTo>
                  <a:pt x="136" y="158"/>
                </a:lnTo>
                <a:lnTo>
                  <a:pt x="139" y="156"/>
                </a:lnTo>
                <a:lnTo>
                  <a:pt x="141" y="156"/>
                </a:lnTo>
                <a:lnTo>
                  <a:pt x="144" y="153"/>
                </a:lnTo>
                <a:lnTo>
                  <a:pt x="145" y="153"/>
                </a:lnTo>
                <a:lnTo>
                  <a:pt x="146" y="152"/>
                </a:lnTo>
                <a:lnTo>
                  <a:pt x="149" y="151"/>
                </a:lnTo>
                <a:lnTo>
                  <a:pt x="154" y="151"/>
                </a:lnTo>
                <a:lnTo>
                  <a:pt x="156" y="151"/>
                </a:lnTo>
                <a:lnTo>
                  <a:pt x="159" y="151"/>
                </a:lnTo>
                <a:lnTo>
                  <a:pt x="163" y="153"/>
                </a:lnTo>
                <a:lnTo>
                  <a:pt x="166" y="154"/>
                </a:lnTo>
                <a:lnTo>
                  <a:pt x="169" y="154"/>
                </a:lnTo>
                <a:lnTo>
                  <a:pt x="173" y="156"/>
                </a:lnTo>
                <a:lnTo>
                  <a:pt x="176" y="154"/>
                </a:lnTo>
                <a:lnTo>
                  <a:pt x="178" y="153"/>
                </a:lnTo>
                <a:lnTo>
                  <a:pt x="180" y="153"/>
                </a:lnTo>
                <a:lnTo>
                  <a:pt x="183" y="152"/>
                </a:lnTo>
                <a:lnTo>
                  <a:pt x="186" y="148"/>
                </a:lnTo>
                <a:lnTo>
                  <a:pt x="191" y="144"/>
                </a:lnTo>
                <a:lnTo>
                  <a:pt x="192" y="140"/>
                </a:lnTo>
                <a:lnTo>
                  <a:pt x="193" y="136"/>
                </a:lnTo>
                <a:lnTo>
                  <a:pt x="195" y="129"/>
                </a:lnTo>
                <a:lnTo>
                  <a:pt x="199" y="123"/>
                </a:lnTo>
                <a:lnTo>
                  <a:pt x="203" y="118"/>
                </a:lnTo>
                <a:lnTo>
                  <a:pt x="208" y="113"/>
                </a:lnTo>
                <a:lnTo>
                  <a:pt x="213" y="108"/>
                </a:lnTo>
                <a:lnTo>
                  <a:pt x="214" y="105"/>
                </a:lnTo>
                <a:lnTo>
                  <a:pt x="216" y="103"/>
                </a:lnTo>
                <a:lnTo>
                  <a:pt x="217" y="100"/>
                </a:lnTo>
                <a:lnTo>
                  <a:pt x="218" y="98"/>
                </a:lnTo>
                <a:lnTo>
                  <a:pt x="218" y="63"/>
                </a:lnTo>
                <a:lnTo>
                  <a:pt x="218" y="60"/>
                </a:lnTo>
                <a:lnTo>
                  <a:pt x="219" y="59"/>
                </a:lnTo>
                <a:lnTo>
                  <a:pt x="220" y="55"/>
                </a:lnTo>
                <a:lnTo>
                  <a:pt x="222" y="53"/>
                </a:lnTo>
                <a:lnTo>
                  <a:pt x="223" y="50"/>
                </a:lnTo>
                <a:lnTo>
                  <a:pt x="223" y="47"/>
                </a:lnTo>
                <a:lnTo>
                  <a:pt x="223" y="42"/>
                </a:lnTo>
                <a:lnTo>
                  <a:pt x="221" y="38"/>
                </a:lnTo>
                <a:lnTo>
                  <a:pt x="219" y="32"/>
                </a:lnTo>
                <a:lnTo>
                  <a:pt x="217" y="28"/>
                </a:lnTo>
                <a:lnTo>
                  <a:pt x="213" y="16"/>
                </a:lnTo>
                <a:lnTo>
                  <a:pt x="209" y="11"/>
                </a:lnTo>
                <a:lnTo>
                  <a:pt x="208" y="5"/>
                </a:lnTo>
                <a:lnTo>
                  <a:pt x="209" y="5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0" name="Freeform 19">
            <a:extLst>
              <a:ext uri="{FF2B5EF4-FFF2-40B4-BE49-F238E27FC236}">
                <a16:creationId xmlns:a16="http://schemas.microsoft.com/office/drawing/2014/main" id="{BBC20840-B685-BC84-FFAC-C4D93F621D3A}"/>
              </a:ext>
            </a:extLst>
          </p:cNvPr>
          <p:cNvSpPr>
            <a:spLocks/>
          </p:cNvSpPr>
          <p:nvPr/>
        </p:nvSpPr>
        <p:spPr bwMode="auto">
          <a:xfrm>
            <a:off x="6527175" y="4173384"/>
            <a:ext cx="307975" cy="457200"/>
          </a:xfrm>
          <a:custGeom>
            <a:avLst/>
            <a:gdLst>
              <a:gd name="T0" fmla="*/ 148 w 153"/>
              <a:gd name="T1" fmla="*/ 116 h 245"/>
              <a:gd name="T2" fmla="*/ 138 w 153"/>
              <a:gd name="T3" fmla="*/ 119 h 245"/>
              <a:gd name="T4" fmla="*/ 131 w 153"/>
              <a:gd name="T5" fmla="*/ 130 h 245"/>
              <a:gd name="T6" fmla="*/ 126 w 153"/>
              <a:gd name="T7" fmla="*/ 151 h 245"/>
              <a:gd name="T8" fmla="*/ 124 w 153"/>
              <a:gd name="T9" fmla="*/ 162 h 245"/>
              <a:gd name="T10" fmla="*/ 121 w 153"/>
              <a:gd name="T11" fmla="*/ 167 h 245"/>
              <a:gd name="T12" fmla="*/ 125 w 153"/>
              <a:gd name="T13" fmla="*/ 170 h 245"/>
              <a:gd name="T14" fmla="*/ 131 w 153"/>
              <a:gd name="T15" fmla="*/ 176 h 245"/>
              <a:gd name="T16" fmla="*/ 137 w 153"/>
              <a:gd name="T17" fmla="*/ 184 h 245"/>
              <a:gd name="T18" fmla="*/ 132 w 153"/>
              <a:gd name="T19" fmla="*/ 189 h 245"/>
              <a:gd name="T20" fmla="*/ 121 w 153"/>
              <a:gd name="T21" fmla="*/ 194 h 245"/>
              <a:gd name="T22" fmla="*/ 114 w 153"/>
              <a:gd name="T23" fmla="*/ 204 h 245"/>
              <a:gd name="T24" fmla="*/ 110 w 153"/>
              <a:gd name="T25" fmla="*/ 214 h 245"/>
              <a:gd name="T26" fmla="*/ 98 w 153"/>
              <a:gd name="T27" fmla="*/ 217 h 245"/>
              <a:gd name="T28" fmla="*/ 81 w 153"/>
              <a:gd name="T29" fmla="*/ 221 h 245"/>
              <a:gd name="T30" fmla="*/ 77 w 153"/>
              <a:gd name="T31" fmla="*/ 229 h 245"/>
              <a:gd name="T32" fmla="*/ 64 w 153"/>
              <a:gd name="T33" fmla="*/ 238 h 245"/>
              <a:gd name="T34" fmla="*/ 48 w 153"/>
              <a:gd name="T35" fmla="*/ 240 h 245"/>
              <a:gd name="T36" fmla="*/ 43 w 153"/>
              <a:gd name="T37" fmla="*/ 238 h 245"/>
              <a:gd name="T38" fmla="*/ 39 w 153"/>
              <a:gd name="T39" fmla="*/ 239 h 245"/>
              <a:gd name="T40" fmla="*/ 34 w 153"/>
              <a:gd name="T41" fmla="*/ 244 h 245"/>
              <a:gd name="T42" fmla="*/ 32 w 153"/>
              <a:gd name="T43" fmla="*/ 239 h 245"/>
              <a:gd name="T44" fmla="*/ 26 w 153"/>
              <a:gd name="T45" fmla="*/ 226 h 245"/>
              <a:gd name="T46" fmla="*/ 11 w 153"/>
              <a:gd name="T47" fmla="*/ 212 h 245"/>
              <a:gd name="T48" fmla="*/ 8 w 153"/>
              <a:gd name="T49" fmla="*/ 207 h 245"/>
              <a:gd name="T50" fmla="*/ 13 w 153"/>
              <a:gd name="T51" fmla="*/ 206 h 245"/>
              <a:gd name="T52" fmla="*/ 31 w 153"/>
              <a:gd name="T53" fmla="*/ 204 h 245"/>
              <a:gd name="T54" fmla="*/ 25 w 153"/>
              <a:gd name="T55" fmla="*/ 194 h 245"/>
              <a:gd name="T56" fmla="*/ 25 w 153"/>
              <a:gd name="T57" fmla="*/ 181 h 245"/>
              <a:gd name="T58" fmla="*/ 23 w 153"/>
              <a:gd name="T59" fmla="*/ 171 h 245"/>
              <a:gd name="T60" fmla="*/ 13 w 153"/>
              <a:gd name="T61" fmla="*/ 154 h 245"/>
              <a:gd name="T62" fmla="*/ 6 w 153"/>
              <a:gd name="T63" fmla="*/ 154 h 245"/>
              <a:gd name="T64" fmla="*/ 0 w 153"/>
              <a:gd name="T65" fmla="*/ 145 h 245"/>
              <a:gd name="T66" fmla="*/ 3 w 153"/>
              <a:gd name="T67" fmla="*/ 130 h 245"/>
              <a:gd name="T68" fmla="*/ 16 w 153"/>
              <a:gd name="T69" fmla="*/ 114 h 245"/>
              <a:gd name="T70" fmla="*/ 24 w 153"/>
              <a:gd name="T71" fmla="*/ 104 h 245"/>
              <a:gd name="T72" fmla="*/ 27 w 153"/>
              <a:gd name="T73" fmla="*/ 63 h 245"/>
              <a:gd name="T74" fmla="*/ 29 w 153"/>
              <a:gd name="T75" fmla="*/ 56 h 245"/>
              <a:gd name="T76" fmla="*/ 31 w 153"/>
              <a:gd name="T77" fmla="*/ 48 h 245"/>
              <a:gd name="T78" fmla="*/ 27 w 153"/>
              <a:gd name="T79" fmla="*/ 32 h 245"/>
              <a:gd name="T80" fmla="*/ 18 w 153"/>
              <a:gd name="T81" fmla="*/ 11 h 245"/>
              <a:gd name="T82" fmla="*/ 31 w 153"/>
              <a:gd name="T83" fmla="*/ 0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53" h="245">
                <a:moveTo>
                  <a:pt x="148" y="56"/>
                </a:moveTo>
                <a:lnTo>
                  <a:pt x="152" y="115"/>
                </a:lnTo>
                <a:lnTo>
                  <a:pt x="148" y="116"/>
                </a:lnTo>
                <a:lnTo>
                  <a:pt x="144" y="117"/>
                </a:lnTo>
                <a:lnTo>
                  <a:pt x="141" y="118"/>
                </a:lnTo>
                <a:lnTo>
                  <a:pt x="138" y="119"/>
                </a:lnTo>
                <a:lnTo>
                  <a:pt x="137" y="122"/>
                </a:lnTo>
                <a:lnTo>
                  <a:pt x="134" y="124"/>
                </a:lnTo>
                <a:lnTo>
                  <a:pt x="131" y="130"/>
                </a:lnTo>
                <a:lnTo>
                  <a:pt x="129" y="136"/>
                </a:lnTo>
                <a:lnTo>
                  <a:pt x="128" y="143"/>
                </a:lnTo>
                <a:lnTo>
                  <a:pt x="126" y="151"/>
                </a:lnTo>
                <a:lnTo>
                  <a:pt x="126" y="158"/>
                </a:lnTo>
                <a:lnTo>
                  <a:pt x="125" y="160"/>
                </a:lnTo>
                <a:lnTo>
                  <a:pt x="124" y="162"/>
                </a:lnTo>
                <a:lnTo>
                  <a:pt x="124" y="164"/>
                </a:lnTo>
                <a:lnTo>
                  <a:pt x="121" y="165"/>
                </a:lnTo>
                <a:lnTo>
                  <a:pt x="121" y="167"/>
                </a:lnTo>
                <a:lnTo>
                  <a:pt x="121" y="168"/>
                </a:lnTo>
                <a:lnTo>
                  <a:pt x="123" y="168"/>
                </a:lnTo>
                <a:lnTo>
                  <a:pt x="125" y="170"/>
                </a:lnTo>
                <a:lnTo>
                  <a:pt x="130" y="171"/>
                </a:lnTo>
                <a:lnTo>
                  <a:pt x="130" y="173"/>
                </a:lnTo>
                <a:lnTo>
                  <a:pt x="131" y="176"/>
                </a:lnTo>
                <a:lnTo>
                  <a:pt x="132" y="178"/>
                </a:lnTo>
                <a:lnTo>
                  <a:pt x="134" y="180"/>
                </a:lnTo>
                <a:lnTo>
                  <a:pt x="137" y="184"/>
                </a:lnTo>
                <a:lnTo>
                  <a:pt x="138" y="186"/>
                </a:lnTo>
                <a:lnTo>
                  <a:pt x="139" y="189"/>
                </a:lnTo>
                <a:lnTo>
                  <a:pt x="132" y="189"/>
                </a:lnTo>
                <a:lnTo>
                  <a:pt x="128" y="190"/>
                </a:lnTo>
                <a:lnTo>
                  <a:pt x="125" y="191"/>
                </a:lnTo>
                <a:lnTo>
                  <a:pt x="121" y="194"/>
                </a:lnTo>
                <a:lnTo>
                  <a:pt x="119" y="197"/>
                </a:lnTo>
                <a:lnTo>
                  <a:pt x="116" y="201"/>
                </a:lnTo>
                <a:lnTo>
                  <a:pt x="114" y="204"/>
                </a:lnTo>
                <a:lnTo>
                  <a:pt x="112" y="208"/>
                </a:lnTo>
                <a:lnTo>
                  <a:pt x="111" y="212"/>
                </a:lnTo>
                <a:lnTo>
                  <a:pt x="110" y="214"/>
                </a:lnTo>
                <a:lnTo>
                  <a:pt x="107" y="216"/>
                </a:lnTo>
                <a:lnTo>
                  <a:pt x="103" y="217"/>
                </a:lnTo>
                <a:lnTo>
                  <a:pt x="98" y="217"/>
                </a:lnTo>
                <a:lnTo>
                  <a:pt x="89" y="218"/>
                </a:lnTo>
                <a:lnTo>
                  <a:pt x="81" y="218"/>
                </a:lnTo>
                <a:lnTo>
                  <a:pt x="81" y="221"/>
                </a:lnTo>
                <a:lnTo>
                  <a:pt x="80" y="224"/>
                </a:lnTo>
                <a:lnTo>
                  <a:pt x="79" y="227"/>
                </a:lnTo>
                <a:lnTo>
                  <a:pt x="77" y="229"/>
                </a:lnTo>
                <a:lnTo>
                  <a:pt x="74" y="233"/>
                </a:lnTo>
                <a:lnTo>
                  <a:pt x="69" y="236"/>
                </a:lnTo>
                <a:lnTo>
                  <a:pt x="64" y="238"/>
                </a:lnTo>
                <a:lnTo>
                  <a:pt x="58" y="240"/>
                </a:lnTo>
                <a:lnTo>
                  <a:pt x="53" y="240"/>
                </a:lnTo>
                <a:lnTo>
                  <a:pt x="48" y="240"/>
                </a:lnTo>
                <a:lnTo>
                  <a:pt x="47" y="240"/>
                </a:lnTo>
                <a:lnTo>
                  <a:pt x="44" y="239"/>
                </a:lnTo>
                <a:lnTo>
                  <a:pt x="43" y="238"/>
                </a:lnTo>
                <a:lnTo>
                  <a:pt x="41" y="238"/>
                </a:lnTo>
                <a:lnTo>
                  <a:pt x="40" y="238"/>
                </a:lnTo>
                <a:lnTo>
                  <a:pt x="39" y="239"/>
                </a:lnTo>
                <a:lnTo>
                  <a:pt x="36" y="242"/>
                </a:lnTo>
                <a:lnTo>
                  <a:pt x="35" y="244"/>
                </a:lnTo>
                <a:lnTo>
                  <a:pt x="34" y="244"/>
                </a:lnTo>
                <a:lnTo>
                  <a:pt x="33" y="244"/>
                </a:lnTo>
                <a:lnTo>
                  <a:pt x="33" y="243"/>
                </a:lnTo>
                <a:lnTo>
                  <a:pt x="32" y="239"/>
                </a:lnTo>
                <a:lnTo>
                  <a:pt x="31" y="235"/>
                </a:lnTo>
                <a:lnTo>
                  <a:pt x="27" y="229"/>
                </a:lnTo>
                <a:lnTo>
                  <a:pt x="26" y="226"/>
                </a:lnTo>
                <a:lnTo>
                  <a:pt x="24" y="224"/>
                </a:lnTo>
                <a:lnTo>
                  <a:pt x="20" y="218"/>
                </a:lnTo>
                <a:lnTo>
                  <a:pt x="11" y="212"/>
                </a:lnTo>
                <a:lnTo>
                  <a:pt x="8" y="209"/>
                </a:lnTo>
                <a:lnTo>
                  <a:pt x="8" y="208"/>
                </a:lnTo>
                <a:lnTo>
                  <a:pt x="8" y="207"/>
                </a:lnTo>
                <a:lnTo>
                  <a:pt x="9" y="207"/>
                </a:lnTo>
                <a:lnTo>
                  <a:pt x="11" y="206"/>
                </a:lnTo>
                <a:lnTo>
                  <a:pt x="13" y="206"/>
                </a:lnTo>
                <a:lnTo>
                  <a:pt x="17" y="204"/>
                </a:lnTo>
                <a:lnTo>
                  <a:pt x="26" y="204"/>
                </a:lnTo>
                <a:lnTo>
                  <a:pt x="31" y="204"/>
                </a:lnTo>
                <a:lnTo>
                  <a:pt x="29" y="201"/>
                </a:lnTo>
                <a:lnTo>
                  <a:pt x="27" y="198"/>
                </a:lnTo>
                <a:lnTo>
                  <a:pt x="25" y="194"/>
                </a:lnTo>
                <a:lnTo>
                  <a:pt x="24" y="193"/>
                </a:lnTo>
                <a:lnTo>
                  <a:pt x="24" y="191"/>
                </a:lnTo>
                <a:lnTo>
                  <a:pt x="25" y="181"/>
                </a:lnTo>
                <a:lnTo>
                  <a:pt x="25" y="175"/>
                </a:lnTo>
                <a:lnTo>
                  <a:pt x="24" y="172"/>
                </a:lnTo>
                <a:lnTo>
                  <a:pt x="23" y="171"/>
                </a:lnTo>
                <a:lnTo>
                  <a:pt x="20" y="166"/>
                </a:lnTo>
                <a:lnTo>
                  <a:pt x="16" y="160"/>
                </a:lnTo>
                <a:lnTo>
                  <a:pt x="13" y="154"/>
                </a:lnTo>
                <a:lnTo>
                  <a:pt x="10" y="155"/>
                </a:lnTo>
                <a:lnTo>
                  <a:pt x="9" y="155"/>
                </a:lnTo>
                <a:lnTo>
                  <a:pt x="6" y="154"/>
                </a:lnTo>
                <a:lnTo>
                  <a:pt x="4" y="153"/>
                </a:lnTo>
                <a:lnTo>
                  <a:pt x="3" y="151"/>
                </a:lnTo>
                <a:lnTo>
                  <a:pt x="0" y="145"/>
                </a:lnTo>
                <a:lnTo>
                  <a:pt x="0" y="141"/>
                </a:lnTo>
                <a:lnTo>
                  <a:pt x="2" y="137"/>
                </a:lnTo>
                <a:lnTo>
                  <a:pt x="3" y="130"/>
                </a:lnTo>
                <a:lnTo>
                  <a:pt x="7" y="124"/>
                </a:lnTo>
                <a:lnTo>
                  <a:pt x="12" y="118"/>
                </a:lnTo>
                <a:lnTo>
                  <a:pt x="16" y="114"/>
                </a:lnTo>
                <a:lnTo>
                  <a:pt x="21" y="109"/>
                </a:lnTo>
                <a:lnTo>
                  <a:pt x="23" y="106"/>
                </a:lnTo>
                <a:lnTo>
                  <a:pt x="24" y="104"/>
                </a:lnTo>
                <a:lnTo>
                  <a:pt x="26" y="101"/>
                </a:lnTo>
                <a:lnTo>
                  <a:pt x="27" y="98"/>
                </a:lnTo>
                <a:lnTo>
                  <a:pt x="27" y="63"/>
                </a:lnTo>
                <a:lnTo>
                  <a:pt x="27" y="61"/>
                </a:lnTo>
                <a:lnTo>
                  <a:pt x="27" y="59"/>
                </a:lnTo>
                <a:lnTo>
                  <a:pt x="29" y="56"/>
                </a:lnTo>
                <a:lnTo>
                  <a:pt x="30" y="53"/>
                </a:lnTo>
                <a:lnTo>
                  <a:pt x="31" y="50"/>
                </a:lnTo>
                <a:lnTo>
                  <a:pt x="31" y="48"/>
                </a:lnTo>
                <a:lnTo>
                  <a:pt x="31" y="42"/>
                </a:lnTo>
                <a:lnTo>
                  <a:pt x="30" y="38"/>
                </a:lnTo>
                <a:lnTo>
                  <a:pt x="27" y="32"/>
                </a:lnTo>
                <a:lnTo>
                  <a:pt x="26" y="28"/>
                </a:lnTo>
                <a:lnTo>
                  <a:pt x="21" y="16"/>
                </a:lnTo>
                <a:lnTo>
                  <a:pt x="18" y="11"/>
                </a:lnTo>
                <a:lnTo>
                  <a:pt x="16" y="5"/>
                </a:lnTo>
                <a:lnTo>
                  <a:pt x="18" y="5"/>
                </a:lnTo>
                <a:lnTo>
                  <a:pt x="31" y="0"/>
                </a:lnTo>
                <a:lnTo>
                  <a:pt x="147" y="58"/>
                </a:lnTo>
                <a:lnTo>
                  <a:pt x="148" y="56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E6EEA43D-508B-6199-9BA6-E9962E6B8FED}"/>
              </a:ext>
            </a:extLst>
          </p:cNvPr>
          <p:cNvSpPr>
            <a:spLocks/>
          </p:cNvSpPr>
          <p:nvPr/>
        </p:nvSpPr>
        <p:spPr bwMode="auto">
          <a:xfrm>
            <a:off x="7100263" y="4325784"/>
            <a:ext cx="430213" cy="415925"/>
          </a:xfrm>
          <a:custGeom>
            <a:avLst/>
            <a:gdLst>
              <a:gd name="T0" fmla="*/ 138 w 213"/>
              <a:gd name="T1" fmla="*/ 75 h 222"/>
              <a:gd name="T2" fmla="*/ 131 w 213"/>
              <a:gd name="T3" fmla="*/ 88 h 222"/>
              <a:gd name="T4" fmla="*/ 125 w 213"/>
              <a:gd name="T5" fmla="*/ 97 h 222"/>
              <a:gd name="T6" fmla="*/ 125 w 213"/>
              <a:gd name="T7" fmla="*/ 106 h 222"/>
              <a:gd name="T8" fmla="*/ 133 w 213"/>
              <a:gd name="T9" fmla="*/ 107 h 222"/>
              <a:gd name="T10" fmla="*/ 141 w 213"/>
              <a:gd name="T11" fmla="*/ 103 h 222"/>
              <a:gd name="T12" fmla="*/ 141 w 213"/>
              <a:gd name="T13" fmla="*/ 115 h 222"/>
              <a:gd name="T14" fmla="*/ 148 w 213"/>
              <a:gd name="T15" fmla="*/ 126 h 222"/>
              <a:gd name="T16" fmla="*/ 160 w 213"/>
              <a:gd name="T17" fmla="*/ 138 h 222"/>
              <a:gd name="T18" fmla="*/ 182 w 213"/>
              <a:gd name="T19" fmla="*/ 147 h 222"/>
              <a:gd name="T20" fmla="*/ 201 w 213"/>
              <a:gd name="T21" fmla="*/ 151 h 222"/>
              <a:gd name="T22" fmla="*/ 206 w 213"/>
              <a:gd name="T23" fmla="*/ 161 h 222"/>
              <a:gd name="T24" fmla="*/ 191 w 213"/>
              <a:gd name="T25" fmla="*/ 178 h 222"/>
              <a:gd name="T26" fmla="*/ 181 w 213"/>
              <a:gd name="T27" fmla="*/ 189 h 222"/>
              <a:gd name="T28" fmla="*/ 176 w 213"/>
              <a:gd name="T29" fmla="*/ 196 h 222"/>
              <a:gd name="T30" fmla="*/ 171 w 213"/>
              <a:gd name="T31" fmla="*/ 197 h 222"/>
              <a:gd name="T32" fmla="*/ 164 w 213"/>
              <a:gd name="T33" fmla="*/ 197 h 222"/>
              <a:gd name="T34" fmla="*/ 153 w 213"/>
              <a:gd name="T35" fmla="*/ 201 h 222"/>
              <a:gd name="T36" fmla="*/ 137 w 213"/>
              <a:gd name="T37" fmla="*/ 211 h 222"/>
              <a:gd name="T38" fmla="*/ 126 w 213"/>
              <a:gd name="T39" fmla="*/ 214 h 222"/>
              <a:gd name="T40" fmla="*/ 120 w 213"/>
              <a:gd name="T41" fmla="*/ 214 h 222"/>
              <a:gd name="T42" fmla="*/ 112 w 213"/>
              <a:gd name="T43" fmla="*/ 210 h 222"/>
              <a:gd name="T44" fmla="*/ 107 w 213"/>
              <a:gd name="T45" fmla="*/ 211 h 222"/>
              <a:gd name="T46" fmla="*/ 99 w 213"/>
              <a:gd name="T47" fmla="*/ 217 h 222"/>
              <a:gd name="T48" fmla="*/ 93 w 213"/>
              <a:gd name="T49" fmla="*/ 221 h 222"/>
              <a:gd name="T50" fmla="*/ 81 w 213"/>
              <a:gd name="T51" fmla="*/ 219 h 222"/>
              <a:gd name="T52" fmla="*/ 67 w 213"/>
              <a:gd name="T53" fmla="*/ 214 h 222"/>
              <a:gd name="T54" fmla="*/ 48 w 213"/>
              <a:gd name="T55" fmla="*/ 206 h 222"/>
              <a:gd name="T56" fmla="*/ 40 w 213"/>
              <a:gd name="T57" fmla="*/ 201 h 222"/>
              <a:gd name="T58" fmla="*/ 31 w 213"/>
              <a:gd name="T59" fmla="*/ 189 h 222"/>
              <a:gd name="T60" fmla="*/ 26 w 213"/>
              <a:gd name="T61" fmla="*/ 179 h 222"/>
              <a:gd name="T62" fmla="*/ 23 w 213"/>
              <a:gd name="T63" fmla="*/ 171 h 222"/>
              <a:gd name="T64" fmla="*/ 8 w 213"/>
              <a:gd name="T65" fmla="*/ 161 h 222"/>
              <a:gd name="T66" fmla="*/ 0 w 213"/>
              <a:gd name="T67" fmla="*/ 153 h 222"/>
              <a:gd name="T68" fmla="*/ 0 w 213"/>
              <a:gd name="T69" fmla="*/ 148 h 222"/>
              <a:gd name="T70" fmla="*/ 9 w 213"/>
              <a:gd name="T71" fmla="*/ 146 h 222"/>
              <a:gd name="T72" fmla="*/ 13 w 213"/>
              <a:gd name="T73" fmla="*/ 138 h 222"/>
              <a:gd name="T74" fmla="*/ 13 w 213"/>
              <a:gd name="T75" fmla="*/ 119 h 222"/>
              <a:gd name="T76" fmla="*/ 17 w 213"/>
              <a:gd name="T77" fmla="*/ 111 h 222"/>
              <a:gd name="T78" fmla="*/ 27 w 213"/>
              <a:gd name="T79" fmla="*/ 105 h 222"/>
              <a:gd name="T80" fmla="*/ 30 w 213"/>
              <a:gd name="T81" fmla="*/ 94 h 222"/>
              <a:gd name="T82" fmla="*/ 40 w 213"/>
              <a:gd name="T83" fmla="*/ 77 h 222"/>
              <a:gd name="T84" fmla="*/ 47 w 213"/>
              <a:gd name="T85" fmla="*/ 62 h 222"/>
              <a:gd name="T86" fmla="*/ 47 w 213"/>
              <a:gd name="T87" fmla="*/ 39 h 222"/>
              <a:gd name="T88" fmla="*/ 52 w 213"/>
              <a:gd name="T89" fmla="*/ 23 h 222"/>
              <a:gd name="T90" fmla="*/ 55 w 213"/>
              <a:gd name="T91" fmla="*/ 13 h 222"/>
              <a:gd name="T92" fmla="*/ 64 w 213"/>
              <a:gd name="T93" fmla="*/ 9 h 222"/>
              <a:gd name="T94" fmla="*/ 75 w 213"/>
              <a:gd name="T95" fmla="*/ 0 h 222"/>
              <a:gd name="T96" fmla="*/ 85 w 213"/>
              <a:gd name="T97" fmla="*/ 23 h 222"/>
              <a:gd name="T98" fmla="*/ 93 w 213"/>
              <a:gd name="T99" fmla="*/ 36 h 222"/>
              <a:gd name="T100" fmla="*/ 98 w 213"/>
              <a:gd name="T101" fmla="*/ 39 h 222"/>
              <a:gd name="T102" fmla="*/ 117 w 213"/>
              <a:gd name="T103" fmla="*/ 52 h 222"/>
              <a:gd name="T104" fmla="*/ 138 w 213"/>
              <a:gd name="T105" fmla="*/ 75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13" h="222">
                <a:moveTo>
                  <a:pt x="143" y="79"/>
                </a:moveTo>
                <a:lnTo>
                  <a:pt x="140" y="77"/>
                </a:lnTo>
                <a:lnTo>
                  <a:pt x="138" y="75"/>
                </a:lnTo>
                <a:lnTo>
                  <a:pt x="142" y="79"/>
                </a:lnTo>
                <a:lnTo>
                  <a:pt x="136" y="83"/>
                </a:lnTo>
                <a:lnTo>
                  <a:pt x="131" y="88"/>
                </a:lnTo>
                <a:lnTo>
                  <a:pt x="128" y="90"/>
                </a:lnTo>
                <a:lnTo>
                  <a:pt x="126" y="93"/>
                </a:lnTo>
                <a:lnTo>
                  <a:pt x="125" y="97"/>
                </a:lnTo>
                <a:lnTo>
                  <a:pt x="124" y="100"/>
                </a:lnTo>
                <a:lnTo>
                  <a:pt x="124" y="103"/>
                </a:lnTo>
                <a:lnTo>
                  <a:pt x="125" y="106"/>
                </a:lnTo>
                <a:lnTo>
                  <a:pt x="127" y="107"/>
                </a:lnTo>
                <a:lnTo>
                  <a:pt x="128" y="108"/>
                </a:lnTo>
                <a:lnTo>
                  <a:pt x="133" y="107"/>
                </a:lnTo>
                <a:lnTo>
                  <a:pt x="135" y="107"/>
                </a:lnTo>
                <a:lnTo>
                  <a:pt x="138" y="105"/>
                </a:lnTo>
                <a:lnTo>
                  <a:pt x="141" y="103"/>
                </a:lnTo>
                <a:lnTo>
                  <a:pt x="140" y="107"/>
                </a:lnTo>
                <a:lnTo>
                  <a:pt x="140" y="109"/>
                </a:lnTo>
                <a:lnTo>
                  <a:pt x="141" y="115"/>
                </a:lnTo>
                <a:lnTo>
                  <a:pt x="142" y="119"/>
                </a:lnTo>
                <a:lnTo>
                  <a:pt x="144" y="122"/>
                </a:lnTo>
                <a:lnTo>
                  <a:pt x="148" y="126"/>
                </a:lnTo>
                <a:lnTo>
                  <a:pt x="151" y="130"/>
                </a:lnTo>
                <a:lnTo>
                  <a:pt x="155" y="134"/>
                </a:lnTo>
                <a:lnTo>
                  <a:pt x="160" y="138"/>
                </a:lnTo>
                <a:lnTo>
                  <a:pt x="165" y="140"/>
                </a:lnTo>
                <a:lnTo>
                  <a:pt x="176" y="145"/>
                </a:lnTo>
                <a:lnTo>
                  <a:pt x="182" y="147"/>
                </a:lnTo>
                <a:lnTo>
                  <a:pt x="188" y="148"/>
                </a:lnTo>
                <a:lnTo>
                  <a:pt x="194" y="151"/>
                </a:lnTo>
                <a:lnTo>
                  <a:pt x="201" y="151"/>
                </a:lnTo>
                <a:lnTo>
                  <a:pt x="212" y="152"/>
                </a:lnTo>
                <a:lnTo>
                  <a:pt x="209" y="157"/>
                </a:lnTo>
                <a:lnTo>
                  <a:pt x="206" y="161"/>
                </a:lnTo>
                <a:lnTo>
                  <a:pt x="202" y="166"/>
                </a:lnTo>
                <a:lnTo>
                  <a:pt x="198" y="170"/>
                </a:lnTo>
                <a:lnTo>
                  <a:pt x="191" y="178"/>
                </a:lnTo>
                <a:lnTo>
                  <a:pt x="187" y="182"/>
                </a:lnTo>
                <a:lnTo>
                  <a:pt x="183" y="185"/>
                </a:lnTo>
                <a:lnTo>
                  <a:pt x="181" y="189"/>
                </a:lnTo>
                <a:lnTo>
                  <a:pt x="179" y="193"/>
                </a:lnTo>
                <a:lnTo>
                  <a:pt x="178" y="194"/>
                </a:lnTo>
                <a:lnTo>
                  <a:pt x="176" y="196"/>
                </a:lnTo>
                <a:lnTo>
                  <a:pt x="175" y="197"/>
                </a:lnTo>
                <a:lnTo>
                  <a:pt x="174" y="197"/>
                </a:lnTo>
                <a:lnTo>
                  <a:pt x="171" y="197"/>
                </a:lnTo>
                <a:lnTo>
                  <a:pt x="170" y="198"/>
                </a:lnTo>
                <a:lnTo>
                  <a:pt x="165" y="197"/>
                </a:lnTo>
                <a:lnTo>
                  <a:pt x="164" y="197"/>
                </a:lnTo>
                <a:lnTo>
                  <a:pt x="161" y="197"/>
                </a:lnTo>
                <a:lnTo>
                  <a:pt x="157" y="198"/>
                </a:lnTo>
                <a:lnTo>
                  <a:pt x="153" y="201"/>
                </a:lnTo>
                <a:lnTo>
                  <a:pt x="149" y="202"/>
                </a:lnTo>
                <a:lnTo>
                  <a:pt x="141" y="207"/>
                </a:lnTo>
                <a:lnTo>
                  <a:pt x="137" y="211"/>
                </a:lnTo>
                <a:lnTo>
                  <a:pt x="133" y="212"/>
                </a:lnTo>
                <a:lnTo>
                  <a:pt x="128" y="214"/>
                </a:lnTo>
                <a:lnTo>
                  <a:pt x="126" y="214"/>
                </a:lnTo>
                <a:lnTo>
                  <a:pt x="124" y="214"/>
                </a:lnTo>
                <a:lnTo>
                  <a:pt x="121" y="214"/>
                </a:lnTo>
                <a:lnTo>
                  <a:pt x="120" y="214"/>
                </a:lnTo>
                <a:lnTo>
                  <a:pt x="116" y="211"/>
                </a:lnTo>
                <a:lnTo>
                  <a:pt x="114" y="210"/>
                </a:lnTo>
                <a:lnTo>
                  <a:pt x="112" y="210"/>
                </a:lnTo>
                <a:lnTo>
                  <a:pt x="111" y="209"/>
                </a:lnTo>
                <a:lnTo>
                  <a:pt x="107" y="210"/>
                </a:lnTo>
                <a:lnTo>
                  <a:pt x="107" y="211"/>
                </a:lnTo>
                <a:lnTo>
                  <a:pt x="104" y="211"/>
                </a:lnTo>
                <a:lnTo>
                  <a:pt x="101" y="215"/>
                </a:lnTo>
                <a:lnTo>
                  <a:pt x="99" y="217"/>
                </a:lnTo>
                <a:lnTo>
                  <a:pt x="97" y="219"/>
                </a:lnTo>
                <a:lnTo>
                  <a:pt x="95" y="220"/>
                </a:lnTo>
                <a:lnTo>
                  <a:pt x="93" y="221"/>
                </a:lnTo>
                <a:lnTo>
                  <a:pt x="88" y="221"/>
                </a:lnTo>
                <a:lnTo>
                  <a:pt x="84" y="220"/>
                </a:lnTo>
                <a:lnTo>
                  <a:pt x="81" y="219"/>
                </a:lnTo>
                <a:lnTo>
                  <a:pt x="77" y="218"/>
                </a:lnTo>
                <a:lnTo>
                  <a:pt x="72" y="216"/>
                </a:lnTo>
                <a:lnTo>
                  <a:pt x="67" y="214"/>
                </a:lnTo>
                <a:lnTo>
                  <a:pt x="61" y="211"/>
                </a:lnTo>
                <a:lnTo>
                  <a:pt x="55" y="207"/>
                </a:lnTo>
                <a:lnTo>
                  <a:pt x="48" y="206"/>
                </a:lnTo>
                <a:lnTo>
                  <a:pt x="44" y="206"/>
                </a:lnTo>
                <a:lnTo>
                  <a:pt x="40" y="205"/>
                </a:lnTo>
                <a:lnTo>
                  <a:pt x="40" y="201"/>
                </a:lnTo>
                <a:lnTo>
                  <a:pt x="39" y="198"/>
                </a:lnTo>
                <a:lnTo>
                  <a:pt x="35" y="194"/>
                </a:lnTo>
                <a:lnTo>
                  <a:pt x="31" y="189"/>
                </a:lnTo>
                <a:lnTo>
                  <a:pt x="30" y="187"/>
                </a:lnTo>
                <a:lnTo>
                  <a:pt x="28" y="184"/>
                </a:lnTo>
                <a:lnTo>
                  <a:pt x="26" y="179"/>
                </a:lnTo>
                <a:lnTo>
                  <a:pt x="26" y="174"/>
                </a:lnTo>
                <a:lnTo>
                  <a:pt x="25" y="173"/>
                </a:lnTo>
                <a:lnTo>
                  <a:pt x="23" y="171"/>
                </a:lnTo>
                <a:lnTo>
                  <a:pt x="22" y="169"/>
                </a:lnTo>
                <a:lnTo>
                  <a:pt x="19" y="167"/>
                </a:lnTo>
                <a:lnTo>
                  <a:pt x="8" y="161"/>
                </a:lnTo>
                <a:lnTo>
                  <a:pt x="5" y="158"/>
                </a:lnTo>
                <a:lnTo>
                  <a:pt x="3" y="156"/>
                </a:lnTo>
                <a:lnTo>
                  <a:pt x="0" y="153"/>
                </a:lnTo>
                <a:lnTo>
                  <a:pt x="0" y="152"/>
                </a:lnTo>
                <a:lnTo>
                  <a:pt x="0" y="151"/>
                </a:lnTo>
                <a:lnTo>
                  <a:pt x="0" y="148"/>
                </a:lnTo>
                <a:lnTo>
                  <a:pt x="3" y="148"/>
                </a:lnTo>
                <a:lnTo>
                  <a:pt x="5" y="148"/>
                </a:lnTo>
                <a:lnTo>
                  <a:pt x="9" y="146"/>
                </a:lnTo>
                <a:lnTo>
                  <a:pt x="10" y="144"/>
                </a:lnTo>
                <a:lnTo>
                  <a:pt x="12" y="143"/>
                </a:lnTo>
                <a:lnTo>
                  <a:pt x="13" y="138"/>
                </a:lnTo>
                <a:lnTo>
                  <a:pt x="13" y="135"/>
                </a:lnTo>
                <a:lnTo>
                  <a:pt x="13" y="126"/>
                </a:lnTo>
                <a:lnTo>
                  <a:pt x="13" y="119"/>
                </a:lnTo>
                <a:lnTo>
                  <a:pt x="14" y="115"/>
                </a:lnTo>
                <a:lnTo>
                  <a:pt x="15" y="112"/>
                </a:lnTo>
                <a:lnTo>
                  <a:pt x="17" y="111"/>
                </a:lnTo>
                <a:lnTo>
                  <a:pt x="20" y="109"/>
                </a:lnTo>
                <a:lnTo>
                  <a:pt x="26" y="108"/>
                </a:lnTo>
                <a:lnTo>
                  <a:pt x="27" y="105"/>
                </a:lnTo>
                <a:lnTo>
                  <a:pt x="27" y="100"/>
                </a:lnTo>
                <a:lnTo>
                  <a:pt x="28" y="98"/>
                </a:lnTo>
                <a:lnTo>
                  <a:pt x="30" y="94"/>
                </a:lnTo>
                <a:lnTo>
                  <a:pt x="33" y="88"/>
                </a:lnTo>
                <a:lnTo>
                  <a:pt x="37" y="82"/>
                </a:lnTo>
                <a:lnTo>
                  <a:pt x="40" y="77"/>
                </a:lnTo>
                <a:lnTo>
                  <a:pt x="44" y="72"/>
                </a:lnTo>
                <a:lnTo>
                  <a:pt x="46" y="65"/>
                </a:lnTo>
                <a:lnTo>
                  <a:pt x="47" y="62"/>
                </a:lnTo>
                <a:lnTo>
                  <a:pt x="47" y="59"/>
                </a:lnTo>
                <a:lnTo>
                  <a:pt x="47" y="43"/>
                </a:lnTo>
                <a:lnTo>
                  <a:pt x="47" y="39"/>
                </a:lnTo>
                <a:lnTo>
                  <a:pt x="48" y="36"/>
                </a:lnTo>
                <a:lnTo>
                  <a:pt x="50" y="29"/>
                </a:lnTo>
                <a:lnTo>
                  <a:pt x="52" y="23"/>
                </a:lnTo>
                <a:lnTo>
                  <a:pt x="52" y="19"/>
                </a:lnTo>
                <a:lnTo>
                  <a:pt x="53" y="13"/>
                </a:lnTo>
                <a:lnTo>
                  <a:pt x="55" y="13"/>
                </a:lnTo>
                <a:lnTo>
                  <a:pt x="58" y="13"/>
                </a:lnTo>
                <a:lnTo>
                  <a:pt x="62" y="10"/>
                </a:lnTo>
                <a:lnTo>
                  <a:pt x="64" y="9"/>
                </a:lnTo>
                <a:lnTo>
                  <a:pt x="71" y="4"/>
                </a:lnTo>
                <a:lnTo>
                  <a:pt x="73" y="3"/>
                </a:lnTo>
                <a:lnTo>
                  <a:pt x="75" y="0"/>
                </a:lnTo>
                <a:lnTo>
                  <a:pt x="77" y="4"/>
                </a:lnTo>
                <a:lnTo>
                  <a:pt x="80" y="9"/>
                </a:lnTo>
                <a:lnTo>
                  <a:pt x="85" y="23"/>
                </a:lnTo>
                <a:lnTo>
                  <a:pt x="88" y="29"/>
                </a:lnTo>
                <a:lnTo>
                  <a:pt x="90" y="35"/>
                </a:lnTo>
                <a:lnTo>
                  <a:pt x="93" y="36"/>
                </a:lnTo>
                <a:lnTo>
                  <a:pt x="94" y="39"/>
                </a:lnTo>
                <a:lnTo>
                  <a:pt x="97" y="39"/>
                </a:lnTo>
                <a:lnTo>
                  <a:pt x="98" y="39"/>
                </a:lnTo>
                <a:lnTo>
                  <a:pt x="106" y="43"/>
                </a:lnTo>
                <a:lnTo>
                  <a:pt x="112" y="48"/>
                </a:lnTo>
                <a:lnTo>
                  <a:pt x="117" y="52"/>
                </a:lnTo>
                <a:lnTo>
                  <a:pt x="122" y="58"/>
                </a:lnTo>
                <a:lnTo>
                  <a:pt x="131" y="67"/>
                </a:lnTo>
                <a:lnTo>
                  <a:pt x="138" y="75"/>
                </a:lnTo>
                <a:lnTo>
                  <a:pt x="143" y="79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25102C68-DE32-AC6D-B806-2DC41A3357CC}"/>
              </a:ext>
            </a:extLst>
          </p:cNvPr>
          <p:cNvSpPr>
            <a:spLocks/>
          </p:cNvSpPr>
          <p:nvPr/>
        </p:nvSpPr>
        <p:spPr bwMode="auto">
          <a:xfrm>
            <a:off x="7336800" y="4497234"/>
            <a:ext cx="304800" cy="376238"/>
          </a:xfrm>
          <a:custGeom>
            <a:avLst/>
            <a:gdLst>
              <a:gd name="T0" fmla="*/ 21 w 151"/>
              <a:gd name="T1" fmla="*/ 118 h 202"/>
              <a:gd name="T2" fmla="*/ 35 w 151"/>
              <a:gd name="T3" fmla="*/ 110 h 202"/>
              <a:gd name="T4" fmla="*/ 42 w 151"/>
              <a:gd name="T5" fmla="*/ 106 h 202"/>
              <a:gd name="T6" fmla="*/ 48 w 151"/>
              <a:gd name="T7" fmla="*/ 106 h 202"/>
              <a:gd name="T8" fmla="*/ 53 w 151"/>
              <a:gd name="T9" fmla="*/ 107 h 202"/>
              <a:gd name="T10" fmla="*/ 58 w 151"/>
              <a:gd name="T11" fmla="*/ 105 h 202"/>
              <a:gd name="T12" fmla="*/ 62 w 151"/>
              <a:gd name="T13" fmla="*/ 102 h 202"/>
              <a:gd name="T14" fmla="*/ 66 w 151"/>
              <a:gd name="T15" fmla="*/ 94 h 202"/>
              <a:gd name="T16" fmla="*/ 74 w 151"/>
              <a:gd name="T17" fmla="*/ 86 h 202"/>
              <a:gd name="T18" fmla="*/ 89 w 151"/>
              <a:gd name="T19" fmla="*/ 70 h 202"/>
              <a:gd name="T20" fmla="*/ 94 w 151"/>
              <a:gd name="T21" fmla="*/ 61 h 202"/>
              <a:gd name="T22" fmla="*/ 77 w 151"/>
              <a:gd name="T23" fmla="*/ 60 h 202"/>
              <a:gd name="T24" fmla="*/ 65 w 151"/>
              <a:gd name="T25" fmla="*/ 56 h 202"/>
              <a:gd name="T26" fmla="*/ 54 w 151"/>
              <a:gd name="T27" fmla="*/ 52 h 202"/>
              <a:gd name="T28" fmla="*/ 39 w 151"/>
              <a:gd name="T29" fmla="*/ 43 h 202"/>
              <a:gd name="T30" fmla="*/ 31 w 151"/>
              <a:gd name="T31" fmla="*/ 35 h 202"/>
              <a:gd name="T32" fmla="*/ 26 w 151"/>
              <a:gd name="T33" fmla="*/ 28 h 202"/>
              <a:gd name="T34" fmla="*/ 25 w 151"/>
              <a:gd name="T35" fmla="*/ 24 h 202"/>
              <a:gd name="T36" fmla="*/ 23 w 151"/>
              <a:gd name="T37" fmla="*/ 16 h 202"/>
              <a:gd name="T38" fmla="*/ 35 w 151"/>
              <a:gd name="T39" fmla="*/ 3 h 202"/>
              <a:gd name="T40" fmla="*/ 34 w 151"/>
              <a:gd name="T41" fmla="*/ 11 h 202"/>
              <a:gd name="T42" fmla="*/ 35 w 151"/>
              <a:gd name="T43" fmla="*/ 13 h 202"/>
              <a:gd name="T44" fmla="*/ 37 w 151"/>
              <a:gd name="T45" fmla="*/ 17 h 202"/>
              <a:gd name="T46" fmla="*/ 42 w 151"/>
              <a:gd name="T47" fmla="*/ 20 h 202"/>
              <a:gd name="T48" fmla="*/ 47 w 151"/>
              <a:gd name="T49" fmla="*/ 22 h 202"/>
              <a:gd name="T50" fmla="*/ 52 w 151"/>
              <a:gd name="T51" fmla="*/ 22 h 202"/>
              <a:gd name="T52" fmla="*/ 56 w 151"/>
              <a:gd name="T53" fmla="*/ 22 h 202"/>
              <a:gd name="T54" fmla="*/ 62 w 151"/>
              <a:gd name="T55" fmla="*/ 17 h 202"/>
              <a:gd name="T56" fmla="*/ 66 w 151"/>
              <a:gd name="T57" fmla="*/ 16 h 202"/>
              <a:gd name="T58" fmla="*/ 81 w 151"/>
              <a:gd name="T59" fmla="*/ 16 h 202"/>
              <a:gd name="T60" fmla="*/ 94 w 151"/>
              <a:gd name="T61" fmla="*/ 13 h 202"/>
              <a:gd name="T62" fmla="*/ 106 w 151"/>
              <a:gd name="T63" fmla="*/ 11 h 202"/>
              <a:gd name="T64" fmla="*/ 118 w 151"/>
              <a:gd name="T65" fmla="*/ 9 h 202"/>
              <a:gd name="T66" fmla="*/ 124 w 151"/>
              <a:gd name="T67" fmla="*/ 9 h 202"/>
              <a:gd name="T68" fmla="*/ 130 w 151"/>
              <a:gd name="T69" fmla="*/ 5 h 202"/>
              <a:gd name="T70" fmla="*/ 133 w 151"/>
              <a:gd name="T71" fmla="*/ 2 h 202"/>
              <a:gd name="T72" fmla="*/ 140 w 151"/>
              <a:gd name="T73" fmla="*/ 0 h 202"/>
              <a:gd name="T74" fmla="*/ 145 w 151"/>
              <a:gd name="T75" fmla="*/ 0 h 202"/>
              <a:gd name="T76" fmla="*/ 150 w 151"/>
              <a:gd name="T77" fmla="*/ 2 h 202"/>
              <a:gd name="T78" fmla="*/ 145 w 151"/>
              <a:gd name="T79" fmla="*/ 9 h 202"/>
              <a:gd name="T80" fmla="*/ 143 w 151"/>
              <a:gd name="T81" fmla="*/ 21 h 202"/>
              <a:gd name="T82" fmla="*/ 143 w 151"/>
              <a:gd name="T83" fmla="*/ 30 h 202"/>
              <a:gd name="T84" fmla="*/ 139 w 151"/>
              <a:gd name="T85" fmla="*/ 41 h 202"/>
              <a:gd name="T86" fmla="*/ 121 w 151"/>
              <a:gd name="T87" fmla="*/ 78 h 202"/>
              <a:gd name="T88" fmla="*/ 104 w 151"/>
              <a:gd name="T89" fmla="*/ 105 h 202"/>
              <a:gd name="T90" fmla="*/ 91 w 151"/>
              <a:gd name="T91" fmla="*/ 123 h 202"/>
              <a:gd name="T92" fmla="*/ 75 w 151"/>
              <a:gd name="T93" fmla="*/ 140 h 202"/>
              <a:gd name="T94" fmla="*/ 62 w 151"/>
              <a:gd name="T95" fmla="*/ 150 h 202"/>
              <a:gd name="T96" fmla="*/ 44 w 151"/>
              <a:gd name="T97" fmla="*/ 166 h 202"/>
              <a:gd name="T98" fmla="*/ 32 w 151"/>
              <a:gd name="T99" fmla="*/ 175 h 202"/>
              <a:gd name="T100" fmla="*/ 22 w 151"/>
              <a:gd name="T101" fmla="*/ 185 h 202"/>
              <a:gd name="T102" fmla="*/ 9 w 151"/>
              <a:gd name="T103" fmla="*/ 201 h 202"/>
              <a:gd name="T104" fmla="*/ 1 w 151"/>
              <a:gd name="T105" fmla="*/ 196 h 202"/>
              <a:gd name="T106" fmla="*/ 0 w 151"/>
              <a:gd name="T107" fmla="*/ 140 h 202"/>
              <a:gd name="T108" fmla="*/ 14 w 151"/>
              <a:gd name="T109" fmla="*/ 122 h 2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51" h="202">
                <a:moveTo>
                  <a:pt x="14" y="122"/>
                </a:moveTo>
                <a:lnTo>
                  <a:pt x="21" y="118"/>
                </a:lnTo>
                <a:lnTo>
                  <a:pt x="28" y="114"/>
                </a:lnTo>
                <a:lnTo>
                  <a:pt x="35" y="110"/>
                </a:lnTo>
                <a:lnTo>
                  <a:pt x="40" y="107"/>
                </a:lnTo>
                <a:lnTo>
                  <a:pt x="42" y="106"/>
                </a:lnTo>
                <a:lnTo>
                  <a:pt x="45" y="106"/>
                </a:lnTo>
                <a:lnTo>
                  <a:pt x="48" y="106"/>
                </a:lnTo>
                <a:lnTo>
                  <a:pt x="50" y="107"/>
                </a:lnTo>
                <a:lnTo>
                  <a:pt x="53" y="107"/>
                </a:lnTo>
                <a:lnTo>
                  <a:pt x="58" y="106"/>
                </a:lnTo>
                <a:lnTo>
                  <a:pt x="58" y="105"/>
                </a:lnTo>
                <a:lnTo>
                  <a:pt x="59" y="105"/>
                </a:lnTo>
                <a:lnTo>
                  <a:pt x="62" y="102"/>
                </a:lnTo>
                <a:lnTo>
                  <a:pt x="64" y="98"/>
                </a:lnTo>
                <a:lnTo>
                  <a:pt x="66" y="94"/>
                </a:lnTo>
                <a:lnTo>
                  <a:pt x="70" y="91"/>
                </a:lnTo>
                <a:lnTo>
                  <a:pt x="74" y="86"/>
                </a:lnTo>
                <a:lnTo>
                  <a:pt x="81" y="79"/>
                </a:lnTo>
                <a:lnTo>
                  <a:pt x="89" y="70"/>
                </a:lnTo>
                <a:lnTo>
                  <a:pt x="92" y="66"/>
                </a:lnTo>
                <a:lnTo>
                  <a:pt x="94" y="61"/>
                </a:lnTo>
                <a:lnTo>
                  <a:pt x="84" y="60"/>
                </a:lnTo>
                <a:lnTo>
                  <a:pt x="77" y="60"/>
                </a:lnTo>
                <a:lnTo>
                  <a:pt x="71" y="57"/>
                </a:lnTo>
                <a:lnTo>
                  <a:pt x="65" y="56"/>
                </a:lnTo>
                <a:lnTo>
                  <a:pt x="59" y="54"/>
                </a:lnTo>
                <a:lnTo>
                  <a:pt x="54" y="52"/>
                </a:lnTo>
                <a:lnTo>
                  <a:pt x="48" y="49"/>
                </a:lnTo>
                <a:lnTo>
                  <a:pt x="39" y="43"/>
                </a:lnTo>
                <a:lnTo>
                  <a:pt x="35" y="39"/>
                </a:lnTo>
                <a:lnTo>
                  <a:pt x="31" y="35"/>
                </a:lnTo>
                <a:lnTo>
                  <a:pt x="28" y="31"/>
                </a:lnTo>
                <a:lnTo>
                  <a:pt x="26" y="28"/>
                </a:lnTo>
                <a:lnTo>
                  <a:pt x="26" y="25"/>
                </a:lnTo>
                <a:lnTo>
                  <a:pt x="25" y="24"/>
                </a:lnTo>
                <a:lnTo>
                  <a:pt x="23" y="19"/>
                </a:lnTo>
                <a:lnTo>
                  <a:pt x="23" y="16"/>
                </a:lnTo>
                <a:lnTo>
                  <a:pt x="25" y="12"/>
                </a:lnTo>
                <a:lnTo>
                  <a:pt x="35" y="3"/>
                </a:lnTo>
                <a:lnTo>
                  <a:pt x="34" y="8"/>
                </a:lnTo>
                <a:lnTo>
                  <a:pt x="34" y="11"/>
                </a:lnTo>
                <a:lnTo>
                  <a:pt x="35" y="12"/>
                </a:lnTo>
                <a:lnTo>
                  <a:pt x="35" y="13"/>
                </a:lnTo>
                <a:lnTo>
                  <a:pt x="35" y="15"/>
                </a:lnTo>
                <a:lnTo>
                  <a:pt x="37" y="17"/>
                </a:lnTo>
                <a:lnTo>
                  <a:pt x="39" y="18"/>
                </a:lnTo>
                <a:lnTo>
                  <a:pt x="42" y="20"/>
                </a:lnTo>
                <a:lnTo>
                  <a:pt x="45" y="21"/>
                </a:lnTo>
                <a:lnTo>
                  <a:pt x="47" y="22"/>
                </a:lnTo>
                <a:lnTo>
                  <a:pt x="49" y="22"/>
                </a:lnTo>
                <a:lnTo>
                  <a:pt x="52" y="22"/>
                </a:lnTo>
                <a:lnTo>
                  <a:pt x="54" y="22"/>
                </a:lnTo>
                <a:lnTo>
                  <a:pt x="56" y="22"/>
                </a:lnTo>
                <a:lnTo>
                  <a:pt x="58" y="20"/>
                </a:lnTo>
                <a:lnTo>
                  <a:pt x="62" y="17"/>
                </a:lnTo>
                <a:lnTo>
                  <a:pt x="64" y="16"/>
                </a:lnTo>
                <a:lnTo>
                  <a:pt x="66" y="16"/>
                </a:lnTo>
                <a:lnTo>
                  <a:pt x="77" y="16"/>
                </a:lnTo>
                <a:lnTo>
                  <a:pt x="81" y="16"/>
                </a:lnTo>
                <a:lnTo>
                  <a:pt x="85" y="15"/>
                </a:lnTo>
                <a:lnTo>
                  <a:pt x="94" y="13"/>
                </a:lnTo>
                <a:lnTo>
                  <a:pt x="101" y="12"/>
                </a:lnTo>
                <a:lnTo>
                  <a:pt x="106" y="11"/>
                </a:lnTo>
                <a:lnTo>
                  <a:pt x="111" y="11"/>
                </a:lnTo>
                <a:lnTo>
                  <a:pt x="118" y="9"/>
                </a:lnTo>
                <a:lnTo>
                  <a:pt x="121" y="9"/>
                </a:lnTo>
                <a:lnTo>
                  <a:pt x="124" y="9"/>
                </a:lnTo>
                <a:lnTo>
                  <a:pt x="127" y="7"/>
                </a:lnTo>
                <a:lnTo>
                  <a:pt x="130" y="5"/>
                </a:lnTo>
                <a:lnTo>
                  <a:pt x="132" y="3"/>
                </a:lnTo>
                <a:lnTo>
                  <a:pt x="133" y="2"/>
                </a:lnTo>
                <a:lnTo>
                  <a:pt x="136" y="0"/>
                </a:lnTo>
                <a:lnTo>
                  <a:pt x="140" y="0"/>
                </a:lnTo>
                <a:lnTo>
                  <a:pt x="143" y="0"/>
                </a:lnTo>
                <a:lnTo>
                  <a:pt x="145" y="0"/>
                </a:lnTo>
                <a:lnTo>
                  <a:pt x="146" y="2"/>
                </a:lnTo>
                <a:lnTo>
                  <a:pt x="150" y="2"/>
                </a:lnTo>
                <a:lnTo>
                  <a:pt x="146" y="6"/>
                </a:lnTo>
                <a:lnTo>
                  <a:pt x="145" y="9"/>
                </a:lnTo>
                <a:lnTo>
                  <a:pt x="143" y="12"/>
                </a:lnTo>
                <a:lnTo>
                  <a:pt x="143" y="21"/>
                </a:lnTo>
                <a:lnTo>
                  <a:pt x="143" y="25"/>
                </a:lnTo>
                <a:lnTo>
                  <a:pt x="143" y="30"/>
                </a:lnTo>
                <a:lnTo>
                  <a:pt x="141" y="35"/>
                </a:lnTo>
                <a:lnTo>
                  <a:pt x="139" y="41"/>
                </a:lnTo>
                <a:lnTo>
                  <a:pt x="130" y="62"/>
                </a:lnTo>
                <a:lnTo>
                  <a:pt x="121" y="78"/>
                </a:lnTo>
                <a:lnTo>
                  <a:pt x="113" y="92"/>
                </a:lnTo>
                <a:lnTo>
                  <a:pt x="104" y="105"/>
                </a:lnTo>
                <a:lnTo>
                  <a:pt x="96" y="118"/>
                </a:lnTo>
                <a:lnTo>
                  <a:pt x="91" y="123"/>
                </a:lnTo>
                <a:lnTo>
                  <a:pt x="85" y="128"/>
                </a:lnTo>
                <a:lnTo>
                  <a:pt x="75" y="140"/>
                </a:lnTo>
                <a:lnTo>
                  <a:pt x="69" y="145"/>
                </a:lnTo>
                <a:lnTo>
                  <a:pt x="62" y="150"/>
                </a:lnTo>
                <a:lnTo>
                  <a:pt x="49" y="162"/>
                </a:lnTo>
                <a:lnTo>
                  <a:pt x="44" y="166"/>
                </a:lnTo>
                <a:lnTo>
                  <a:pt x="39" y="171"/>
                </a:lnTo>
                <a:lnTo>
                  <a:pt x="32" y="175"/>
                </a:lnTo>
                <a:lnTo>
                  <a:pt x="28" y="180"/>
                </a:lnTo>
                <a:lnTo>
                  <a:pt x="22" y="185"/>
                </a:lnTo>
                <a:lnTo>
                  <a:pt x="18" y="190"/>
                </a:lnTo>
                <a:lnTo>
                  <a:pt x="9" y="201"/>
                </a:lnTo>
                <a:lnTo>
                  <a:pt x="3" y="198"/>
                </a:lnTo>
                <a:lnTo>
                  <a:pt x="1" y="196"/>
                </a:lnTo>
                <a:lnTo>
                  <a:pt x="0" y="194"/>
                </a:lnTo>
                <a:lnTo>
                  <a:pt x="0" y="140"/>
                </a:lnTo>
                <a:lnTo>
                  <a:pt x="13" y="121"/>
                </a:lnTo>
                <a:lnTo>
                  <a:pt x="14" y="122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C94B4E86-49D9-8DE4-B92C-28C77C0D99D4}"/>
              </a:ext>
            </a:extLst>
          </p:cNvPr>
          <p:cNvSpPr>
            <a:spLocks/>
          </p:cNvSpPr>
          <p:nvPr/>
        </p:nvSpPr>
        <p:spPr bwMode="auto">
          <a:xfrm>
            <a:off x="6562100" y="4522634"/>
            <a:ext cx="374650" cy="246063"/>
          </a:xfrm>
          <a:custGeom>
            <a:avLst/>
            <a:gdLst>
              <a:gd name="T0" fmla="*/ 183 w 186"/>
              <a:gd name="T1" fmla="*/ 88 h 132"/>
              <a:gd name="T2" fmla="*/ 181 w 186"/>
              <a:gd name="T3" fmla="*/ 80 h 132"/>
              <a:gd name="T4" fmla="*/ 167 w 186"/>
              <a:gd name="T5" fmla="*/ 68 h 132"/>
              <a:gd name="T6" fmla="*/ 155 w 186"/>
              <a:gd name="T7" fmla="*/ 57 h 132"/>
              <a:gd name="T8" fmla="*/ 152 w 186"/>
              <a:gd name="T9" fmla="*/ 49 h 132"/>
              <a:gd name="T10" fmla="*/ 146 w 186"/>
              <a:gd name="T11" fmla="*/ 44 h 132"/>
              <a:gd name="T12" fmla="*/ 139 w 186"/>
              <a:gd name="T13" fmla="*/ 39 h 132"/>
              <a:gd name="T14" fmla="*/ 129 w 186"/>
              <a:gd name="T15" fmla="*/ 37 h 132"/>
              <a:gd name="T16" fmla="*/ 128 w 186"/>
              <a:gd name="T17" fmla="*/ 22 h 132"/>
              <a:gd name="T18" fmla="*/ 123 w 186"/>
              <a:gd name="T19" fmla="*/ 7 h 132"/>
              <a:gd name="T20" fmla="*/ 120 w 186"/>
              <a:gd name="T21" fmla="*/ 0 h 132"/>
              <a:gd name="T22" fmla="*/ 111 w 186"/>
              <a:gd name="T23" fmla="*/ 3 h 132"/>
              <a:gd name="T24" fmla="*/ 102 w 186"/>
              <a:gd name="T25" fmla="*/ 10 h 132"/>
              <a:gd name="T26" fmla="*/ 95 w 186"/>
              <a:gd name="T27" fmla="*/ 21 h 132"/>
              <a:gd name="T28" fmla="*/ 89 w 186"/>
              <a:gd name="T29" fmla="*/ 29 h 132"/>
              <a:gd name="T30" fmla="*/ 72 w 186"/>
              <a:gd name="T31" fmla="*/ 31 h 132"/>
              <a:gd name="T32" fmla="*/ 62 w 186"/>
              <a:gd name="T33" fmla="*/ 37 h 132"/>
              <a:gd name="T34" fmla="*/ 56 w 186"/>
              <a:gd name="T35" fmla="*/ 45 h 132"/>
              <a:gd name="T36" fmla="*/ 41 w 186"/>
              <a:gd name="T37" fmla="*/ 52 h 132"/>
              <a:gd name="T38" fmla="*/ 29 w 186"/>
              <a:gd name="T39" fmla="*/ 53 h 132"/>
              <a:gd name="T40" fmla="*/ 24 w 186"/>
              <a:gd name="T41" fmla="*/ 51 h 132"/>
              <a:gd name="T42" fmla="*/ 19 w 186"/>
              <a:gd name="T43" fmla="*/ 55 h 132"/>
              <a:gd name="T44" fmla="*/ 16 w 186"/>
              <a:gd name="T45" fmla="*/ 56 h 132"/>
              <a:gd name="T46" fmla="*/ 12 w 186"/>
              <a:gd name="T47" fmla="*/ 58 h 132"/>
              <a:gd name="T48" fmla="*/ 3 w 186"/>
              <a:gd name="T49" fmla="*/ 68 h 132"/>
              <a:gd name="T50" fmla="*/ 0 w 186"/>
              <a:gd name="T51" fmla="*/ 79 h 132"/>
              <a:gd name="T52" fmla="*/ 3 w 186"/>
              <a:gd name="T53" fmla="*/ 94 h 132"/>
              <a:gd name="T54" fmla="*/ 13 w 186"/>
              <a:gd name="T55" fmla="*/ 113 h 132"/>
              <a:gd name="T56" fmla="*/ 24 w 186"/>
              <a:gd name="T57" fmla="*/ 131 h 132"/>
              <a:gd name="T58" fmla="*/ 32 w 186"/>
              <a:gd name="T59" fmla="*/ 118 h 132"/>
              <a:gd name="T60" fmla="*/ 41 w 186"/>
              <a:gd name="T61" fmla="*/ 115 h 132"/>
              <a:gd name="T62" fmla="*/ 57 w 186"/>
              <a:gd name="T63" fmla="*/ 108 h 132"/>
              <a:gd name="T64" fmla="*/ 61 w 186"/>
              <a:gd name="T65" fmla="*/ 97 h 132"/>
              <a:gd name="T66" fmla="*/ 69 w 186"/>
              <a:gd name="T67" fmla="*/ 92 h 132"/>
              <a:gd name="T68" fmla="*/ 81 w 186"/>
              <a:gd name="T69" fmla="*/ 94 h 132"/>
              <a:gd name="T70" fmla="*/ 95 w 186"/>
              <a:gd name="T71" fmla="*/ 101 h 132"/>
              <a:gd name="T72" fmla="*/ 107 w 186"/>
              <a:gd name="T73" fmla="*/ 104 h 132"/>
              <a:gd name="T74" fmla="*/ 116 w 186"/>
              <a:gd name="T75" fmla="*/ 104 h 132"/>
              <a:gd name="T76" fmla="*/ 119 w 186"/>
              <a:gd name="T77" fmla="*/ 99 h 132"/>
              <a:gd name="T78" fmla="*/ 126 w 186"/>
              <a:gd name="T79" fmla="*/ 98 h 132"/>
              <a:gd name="T80" fmla="*/ 135 w 186"/>
              <a:gd name="T81" fmla="*/ 95 h 132"/>
              <a:gd name="T82" fmla="*/ 148 w 186"/>
              <a:gd name="T83" fmla="*/ 93 h 132"/>
              <a:gd name="T84" fmla="*/ 156 w 186"/>
              <a:gd name="T85" fmla="*/ 90 h 132"/>
              <a:gd name="T86" fmla="*/ 164 w 186"/>
              <a:gd name="T87" fmla="*/ 88 h 132"/>
              <a:gd name="T88" fmla="*/ 173 w 186"/>
              <a:gd name="T89" fmla="*/ 91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86" h="132">
                <a:moveTo>
                  <a:pt x="185" y="92"/>
                </a:moveTo>
                <a:lnTo>
                  <a:pt x="184" y="91"/>
                </a:lnTo>
                <a:lnTo>
                  <a:pt x="183" y="88"/>
                </a:lnTo>
                <a:lnTo>
                  <a:pt x="183" y="86"/>
                </a:lnTo>
                <a:lnTo>
                  <a:pt x="183" y="83"/>
                </a:lnTo>
                <a:lnTo>
                  <a:pt x="181" y="80"/>
                </a:lnTo>
                <a:lnTo>
                  <a:pt x="180" y="78"/>
                </a:lnTo>
                <a:lnTo>
                  <a:pt x="177" y="75"/>
                </a:lnTo>
                <a:lnTo>
                  <a:pt x="167" y="68"/>
                </a:lnTo>
                <a:lnTo>
                  <a:pt x="162" y="65"/>
                </a:lnTo>
                <a:lnTo>
                  <a:pt x="159" y="61"/>
                </a:lnTo>
                <a:lnTo>
                  <a:pt x="155" y="57"/>
                </a:lnTo>
                <a:lnTo>
                  <a:pt x="155" y="55"/>
                </a:lnTo>
                <a:lnTo>
                  <a:pt x="153" y="52"/>
                </a:lnTo>
                <a:lnTo>
                  <a:pt x="152" y="49"/>
                </a:lnTo>
                <a:lnTo>
                  <a:pt x="151" y="47"/>
                </a:lnTo>
                <a:lnTo>
                  <a:pt x="148" y="45"/>
                </a:lnTo>
                <a:lnTo>
                  <a:pt x="146" y="44"/>
                </a:lnTo>
                <a:lnTo>
                  <a:pt x="142" y="42"/>
                </a:lnTo>
                <a:lnTo>
                  <a:pt x="140" y="41"/>
                </a:lnTo>
                <a:lnTo>
                  <a:pt x="139" y="39"/>
                </a:lnTo>
                <a:lnTo>
                  <a:pt x="139" y="38"/>
                </a:lnTo>
                <a:lnTo>
                  <a:pt x="138" y="37"/>
                </a:lnTo>
                <a:lnTo>
                  <a:pt x="129" y="37"/>
                </a:lnTo>
                <a:lnTo>
                  <a:pt x="129" y="30"/>
                </a:lnTo>
                <a:lnTo>
                  <a:pt x="129" y="26"/>
                </a:lnTo>
                <a:lnTo>
                  <a:pt x="128" y="22"/>
                </a:lnTo>
                <a:lnTo>
                  <a:pt x="128" y="19"/>
                </a:lnTo>
                <a:lnTo>
                  <a:pt x="125" y="13"/>
                </a:lnTo>
                <a:lnTo>
                  <a:pt x="123" y="7"/>
                </a:lnTo>
                <a:lnTo>
                  <a:pt x="122" y="3"/>
                </a:lnTo>
                <a:lnTo>
                  <a:pt x="122" y="0"/>
                </a:lnTo>
                <a:lnTo>
                  <a:pt x="120" y="0"/>
                </a:lnTo>
                <a:lnTo>
                  <a:pt x="122" y="2"/>
                </a:lnTo>
                <a:lnTo>
                  <a:pt x="115" y="2"/>
                </a:lnTo>
                <a:lnTo>
                  <a:pt x="111" y="3"/>
                </a:lnTo>
                <a:lnTo>
                  <a:pt x="108" y="4"/>
                </a:lnTo>
                <a:lnTo>
                  <a:pt x="104" y="7"/>
                </a:lnTo>
                <a:lnTo>
                  <a:pt x="102" y="10"/>
                </a:lnTo>
                <a:lnTo>
                  <a:pt x="99" y="14"/>
                </a:lnTo>
                <a:lnTo>
                  <a:pt x="97" y="17"/>
                </a:lnTo>
                <a:lnTo>
                  <a:pt x="95" y="21"/>
                </a:lnTo>
                <a:lnTo>
                  <a:pt x="94" y="25"/>
                </a:lnTo>
                <a:lnTo>
                  <a:pt x="92" y="26"/>
                </a:lnTo>
                <a:lnTo>
                  <a:pt x="89" y="29"/>
                </a:lnTo>
                <a:lnTo>
                  <a:pt x="85" y="29"/>
                </a:lnTo>
                <a:lnTo>
                  <a:pt x="81" y="30"/>
                </a:lnTo>
                <a:lnTo>
                  <a:pt x="72" y="31"/>
                </a:lnTo>
                <a:lnTo>
                  <a:pt x="63" y="31"/>
                </a:lnTo>
                <a:lnTo>
                  <a:pt x="63" y="34"/>
                </a:lnTo>
                <a:lnTo>
                  <a:pt x="62" y="37"/>
                </a:lnTo>
                <a:lnTo>
                  <a:pt x="62" y="39"/>
                </a:lnTo>
                <a:lnTo>
                  <a:pt x="59" y="42"/>
                </a:lnTo>
                <a:lnTo>
                  <a:pt x="56" y="45"/>
                </a:lnTo>
                <a:lnTo>
                  <a:pt x="52" y="49"/>
                </a:lnTo>
                <a:lnTo>
                  <a:pt x="46" y="51"/>
                </a:lnTo>
                <a:lnTo>
                  <a:pt x="41" y="52"/>
                </a:lnTo>
                <a:lnTo>
                  <a:pt x="36" y="53"/>
                </a:lnTo>
                <a:lnTo>
                  <a:pt x="31" y="53"/>
                </a:lnTo>
                <a:lnTo>
                  <a:pt x="29" y="53"/>
                </a:lnTo>
                <a:lnTo>
                  <a:pt x="27" y="52"/>
                </a:lnTo>
                <a:lnTo>
                  <a:pt x="26" y="51"/>
                </a:lnTo>
                <a:lnTo>
                  <a:pt x="24" y="51"/>
                </a:lnTo>
                <a:lnTo>
                  <a:pt x="23" y="51"/>
                </a:lnTo>
                <a:lnTo>
                  <a:pt x="22" y="52"/>
                </a:lnTo>
                <a:lnTo>
                  <a:pt x="19" y="55"/>
                </a:lnTo>
                <a:lnTo>
                  <a:pt x="18" y="56"/>
                </a:lnTo>
                <a:lnTo>
                  <a:pt x="17" y="56"/>
                </a:lnTo>
                <a:lnTo>
                  <a:pt x="16" y="56"/>
                </a:lnTo>
                <a:lnTo>
                  <a:pt x="16" y="55"/>
                </a:lnTo>
                <a:lnTo>
                  <a:pt x="14" y="56"/>
                </a:lnTo>
                <a:lnTo>
                  <a:pt x="12" y="58"/>
                </a:lnTo>
                <a:lnTo>
                  <a:pt x="9" y="61"/>
                </a:lnTo>
                <a:lnTo>
                  <a:pt x="6" y="65"/>
                </a:lnTo>
                <a:lnTo>
                  <a:pt x="3" y="68"/>
                </a:lnTo>
                <a:lnTo>
                  <a:pt x="1" y="73"/>
                </a:lnTo>
                <a:lnTo>
                  <a:pt x="0" y="75"/>
                </a:lnTo>
                <a:lnTo>
                  <a:pt x="0" y="79"/>
                </a:lnTo>
                <a:lnTo>
                  <a:pt x="0" y="83"/>
                </a:lnTo>
                <a:lnTo>
                  <a:pt x="0" y="88"/>
                </a:lnTo>
                <a:lnTo>
                  <a:pt x="3" y="94"/>
                </a:lnTo>
                <a:lnTo>
                  <a:pt x="5" y="101"/>
                </a:lnTo>
                <a:lnTo>
                  <a:pt x="9" y="107"/>
                </a:lnTo>
                <a:lnTo>
                  <a:pt x="13" y="113"/>
                </a:lnTo>
                <a:lnTo>
                  <a:pt x="17" y="118"/>
                </a:lnTo>
                <a:lnTo>
                  <a:pt x="21" y="124"/>
                </a:lnTo>
                <a:lnTo>
                  <a:pt x="24" y="131"/>
                </a:lnTo>
                <a:lnTo>
                  <a:pt x="28" y="123"/>
                </a:lnTo>
                <a:lnTo>
                  <a:pt x="30" y="120"/>
                </a:lnTo>
                <a:lnTo>
                  <a:pt x="32" y="118"/>
                </a:lnTo>
                <a:lnTo>
                  <a:pt x="34" y="117"/>
                </a:lnTo>
                <a:lnTo>
                  <a:pt x="37" y="116"/>
                </a:lnTo>
                <a:lnTo>
                  <a:pt x="41" y="115"/>
                </a:lnTo>
                <a:lnTo>
                  <a:pt x="46" y="115"/>
                </a:lnTo>
                <a:lnTo>
                  <a:pt x="56" y="115"/>
                </a:lnTo>
                <a:lnTo>
                  <a:pt x="57" y="108"/>
                </a:lnTo>
                <a:lnTo>
                  <a:pt x="58" y="104"/>
                </a:lnTo>
                <a:lnTo>
                  <a:pt x="59" y="101"/>
                </a:lnTo>
                <a:lnTo>
                  <a:pt x="61" y="97"/>
                </a:lnTo>
                <a:lnTo>
                  <a:pt x="63" y="94"/>
                </a:lnTo>
                <a:lnTo>
                  <a:pt x="67" y="92"/>
                </a:lnTo>
                <a:lnTo>
                  <a:pt x="69" y="92"/>
                </a:lnTo>
                <a:lnTo>
                  <a:pt x="71" y="92"/>
                </a:lnTo>
                <a:lnTo>
                  <a:pt x="76" y="92"/>
                </a:lnTo>
                <a:lnTo>
                  <a:pt x="81" y="94"/>
                </a:lnTo>
                <a:lnTo>
                  <a:pt x="85" y="96"/>
                </a:lnTo>
                <a:lnTo>
                  <a:pt x="90" y="99"/>
                </a:lnTo>
                <a:lnTo>
                  <a:pt x="95" y="101"/>
                </a:lnTo>
                <a:lnTo>
                  <a:pt x="102" y="102"/>
                </a:lnTo>
                <a:lnTo>
                  <a:pt x="104" y="104"/>
                </a:lnTo>
                <a:lnTo>
                  <a:pt x="107" y="104"/>
                </a:lnTo>
                <a:lnTo>
                  <a:pt x="113" y="104"/>
                </a:lnTo>
                <a:lnTo>
                  <a:pt x="115" y="104"/>
                </a:lnTo>
                <a:lnTo>
                  <a:pt x="116" y="104"/>
                </a:lnTo>
                <a:lnTo>
                  <a:pt x="117" y="102"/>
                </a:lnTo>
                <a:lnTo>
                  <a:pt x="117" y="101"/>
                </a:lnTo>
                <a:lnTo>
                  <a:pt x="119" y="99"/>
                </a:lnTo>
                <a:lnTo>
                  <a:pt x="122" y="97"/>
                </a:lnTo>
                <a:lnTo>
                  <a:pt x="124" y="98"/>
                </a:lnTo>
                <a:lnTo>
                  <a:pt x="126" y="98"/>
                </a:lnTo>
                <a:lnTo>
                  <a:pt x="129" y="98"/>
                </a:lnTo>
                <a:lnTo>
                  <a:pt x="131" y="97"/>
                </a:lnTo>
                <a:lnTo>
                  <a:pt x="135" y="95"/>
                </a:lnTo>
                <a:lnTo>
                  <a:pt x="139" y="94"/>
                </a:lnTo>
                <a:lnTo>
                  <a:pt x="144" y="93"/>
                </a:lnTo>
                <a:lnTo>
                  <a:pt x="148" y="93"/>
                </a:lnTo>
                <a:lnTo>
                  <a:pt x="155" y="93"/>
                </a:lnTo>
                <a:lnTo>
                  <a:pt x="155" y="91"/>
                </a:lnTo>
                <a:lnTo>
                  <a:pt x="156" y="90"/>
                </a:lnTo>
                <a:lnTo>
                  <a:pt x="158" y="88"/>
                </a:lnTo>
                <a:lnTo>
                  <a:pt x="160" y="88"/>
                </a:lnTo>
                <a:lnTo>
                  <a:pt x="164" y="88"/>
                </a:lnTo>
                <a:lnTo>
                  <a:pt x="166" y="88"/>
                </a:lnTo>
                <a:lnTo>
                  <a:pt x="169" y="90"/>
                </a:lnTo>
                <a:lnTo>
                  <a:pt x="173" y="91"/>
                </a:lnTo>
                <a:lnTo>
                  <a:pt x="184" y="91"/>
                </a:lnTo>
                <a:lnTo>
                  <a:pt x="185" y="92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A0F39EFA-B9B5-44F8-FFA2-BF8554D990AB}"/>
              </a:ext>
            </a:extLst>
          </p:cNvPr>
          <p:cNvSpPr>
            <a:spLocks/>
          </p:cNvSpPr>
          <p:nvPr/>
        </p:nvSpPr>
        <p:spPr bwMode="auto">
          <a:xfrm>
            <a:off x="7000250" y="4711546"/>
            <a:ext cx="165100" cy="168275"/>
          </a:xfrm>
          <a:custGeom>
            <a:avLst/>
            <a:gdLst>
              <a:gd name="T0" fmla="*/ 67 w 81"/>
              <a:gd name="T1" fmla="*/ 0 h 90"/>
              <a:gd name="T2" fmla="*/ 66 w 81"/>
              <a:gd name="T3" fmla="*/ 2 h 90"/>
              <a:gd name="T4" fmla="*/ 63 w 81"/>
              <a:gd name="T5" fmla="*/ 4 h 90"/>
              <a:gd name="T6" fmla="*/ 64 w 81"/>
              <a:gd name="T7" fmla="*/ 8 h 90"/>
              <a:gd name="T8" fmla="*/ 66 w 81"/>
              <a:gd name="T9" fmla="*/ 11 h 90"/>
              <a:gd name="T10" fmla="*/ 70 w 81"/>
              <a:gd name="T11" fmla="*/ 17 h 90"/>
              <a:gd name="T12" fmla="*/ 74 w 81"/>
              <a:gd name="T13" fmla="*/ 22 h 90"/>
              <a:gd name="T14" fmla="*/ 77 w 81"/>
              <a:gd name="T15" fmla="*/ 27 h 90"/>
              <a:gd name="T16" fmla="*/ 79 w 81"/>
              <a:gd name="T17" fmla="*/ 31 h 90"/>
              <a:gd name="T18" fmla="*/ 79 w 81"/>
              <a:gd name="T19" fmla="*/ 35 h 90"/>
              <a:gd name="T20" fmla="*/ 79 w 81"/>
              <a:gd name="T21" fmla="*/ 39 h 90"/>
              <a:gd name="T22" fmla="*/ 80 w 81"/>
              <a:gd name="T23" fmla="*/ 44 h 90"/>
              <a:gd name="T24" fmla="*/ 63 w 81"/>
              <a:gd name="T25" fmla="*/ 63 h 90"/>
              <a:gd name="T26" fmla="*/ 63 w 81"/>
              <a:gd name="T27" fmla="*/ 82 h 90"/>
              <a:gd name="T28" fmla="*/ 15 w 81"/>
              <a:gd name="T29" fmla="*/ 82 h 90"/>
              <a:gd name="T30" fmla="*/ 10 w 81"/>
              <a:gd name="T31" fmla="*/ 85 h 90"/>
              <a:gd name="T32" fmla="*/ 9 w 81"/>
              <a:gd name="T33" fmla="*/ 86 h 90"/>
              <a:gd name="T34" fmla="*/ 8 w 81"/>
              <a:gd name="T35" fmla="*/ 89 h 90"/>
              <a:gd name="T36" fmla="*/ 0 w 81"/>
              <a:gd name="T37" fmla="*/ 89 h 90"/>
              <a:gd name="T38" fmla="*/ 0 w 81"/>
              <a:gd name="T39" fmla="*/ 71 h 90"/>
              <a:gd name="T40" fmla="*/ 3 w 81"/>
              <a:gd name="T41" fmla="*/ 66 h 90"/>
              <a:gd name="T42" fmla="*/ 5 w 81"/>
              <a:gd name="T43" fmla="*/ 63 h 90"/>
              <a:gd name="T44" fmla="*/ 10 w 81"/>
              <a:gd name="T45" fmla="*/ 54 h 90"/>
              <a:gd name="T46" fmla="*/ 14 w 81"/>
              <a:gd name="T47" fmla="*/ 46 h 90"/>
              <a:gd name="T48" fmla="*/ 18 w 81"/>
              <a:gd name="T49" fmla="*/ 42 h 90"/>
              <a:gd name="T50" fmla="*/ 22 w 81"/>
              <a:gd name="T51" fmla="*/ 39 h 90"/>
              <a:gd name="T52" fmla="*/ 22 w 81"/>
              <a:gd name="T53" fmla="*/ 32 h 90"/>
              <a:gd name="T54" fmla="*/ 20 w 81"/>
              <a:gd name="T55" fmla="*/ 31 h 90"/>
              <a:gd name="T56" fmla="*/ 19 w 81"/>
              <a:gd name="T57" fmla="*/ 28 h 90"/>
              <a:gd name="T58" fmla="*/ 18 w 81"/>
              <a:gd name="T59" fmla="*/ 26 h 90"/>
              <a:gd name="T60" fmla="*/ 17 w 81"/>
              <a:gd name="T61" fmla="*/ 23 h 90"/>
              <a:gd name="T62" fmla="*/ 17 w 81"/>
              <a:gd name="T63" fmla="*/ 18 h 90"/>
              <a:gd name="T64" fmla="*/ 15 w 81"/>
              <a:gd name="T65" fmla="*/ 13 h 90"/>
              <a:gd name="T66" fmla="*/ 17 w 81"/>
              <a:gd name="T67" fmla="*/ 12 h 90"/>
              <a:gd name="T68" fmla="*/ 20 w 81"/>
              <a:gd name="T69" fmla="*/ 11 h 90"/>
              <a:gd name="T70" fmla="*/ 23 w 81"/>
              <a:gd name="T71" fmla="*/ 10 h 90"/>
              <a:gd name="T72" fmla="*/ 26 w 81"/>
              <a:gd name="T73" fmla="*/ 10 h 90"/>
              <a:gd name="T74" fmla="*/ 46 w 81"/>
              <a:gd name="T75" fmla="*/ 10 h 90"/>
              <a:gd name="T76" fmla="*/ 52 w 81"/>
              <a:gd name="T77" fmla="*/ 9 h 90"/>
              <a:gd name="T78" fmla="*/ 56 w 81"/>
              <a:gd name="T79" fmla="*/ 9 h 90"/>
              <a:gd name="T80" fmla="*/ 60 w 81"/>
              <a:gd name="T81" fmla="*/ 6 h 90"/>
              <a:gd name="T82" fmla="*/ 63 w 81"/>
              <a:gd name="T83" fmla="*/ 4 h 90"/>
              <a:gd name="T84" fmla="*/ 67 w 81"/>
              <a:gd name="T85" fmla="*/ 0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81" h="90">
                <a:moveTo>
                  <a:pt x="67" y="0"/>
                </a:moveTo>
                <a:lnTo>
                  <a:pt x="66" y="2"/>
                </a:lnTo>
                <a:lnTo>
                  <a:pt x="63" y="4"/>
                </a:lnTo>
                <a:lnTo>
                  <a:pt x="64" y="8"/>
                </a:lnTo>
                <a:lnTo>
                  <a:pt x="66" y="11"/>
                </a:lnTo>
                <a:lnTo>
                  <a:pt x="70" y="17"/>
                </a:lnTo>
                <a:lnTo>
                  <a:pt x="74" y="22"/>
                </a:lnTo>
                <a:lnTo>
                  <a:pt x="77" y="27"/>
                </a:lnTo>
                <a:lnTo>
                  <a:pt x="79" y="31"/>
                </a:lnTo>
                <a:lnTo>
                  <a:pt x="79" y="35"/>
                </a:lnTo>
                <a:lnTo>
                  <a:pt x="79" y="39"/>
                </a:lnTo>
                <a:lnTo>
                  <a:pt x="80" y="44"/>
                </a:lnTo>
                <a:lnTo>
                  <a:pt x="63" y="63"/>
                </a:lnTo>
                <a:lnTo>
                  <a:pt x="63" y="82"/>
                </a:lnTo>
                <a:lnTo>
                  <a:pt x="15" y="82"/>
                </a:lnTo>
                <a:lnTo>
                  <a:pt x="10" y="85"/>
                </a:lnTo>
                <a:lnTo>
                  <a:pt x="9" y="86"/>
                </a:lnTo>
                <a:lnTo>
                  <a:pt x="8" y="89"/>
                </a:lnTo>
                <a:lnTo>
                  <a:pt x="0" y="89"/>
                </a:lnTo>
                <a:lnTo>
                  <a:pt x="0" y="71"/>
                </a:lnTo>
                <a:lnTo>
                  <a:pt x="3" y="66"/>
                </a:lnTo>
                <a:lnTo>
                  <a:pt x="5" y="63"/>
                </a:lnTo>
                <a:lnTo>
                  <a:pt x="10" y="54"/>
                </a:lnTo>
                <a:lnTo>
                  <a:pt x="14" y="46"/>
                </a:lnTo>
                <a:lnTo>
                  <a:pt x="18" y="42"/>
                </a:lnTo>
                <a:lnTo>
                  <a:pt x="22" y="39"/>
                </a:lnTo>
                <a:lnTo>
                  <a:pt x="22" y="32"/>
                </a:lnTo>
                <a:lnTo>
                  <a:pt x="20" y="31"/>
                </a:lnTo>
                <a:lnTo>
                  <a:pt x="19" y="28"/>
                </a:lnTo>
                <a:lnTo>
                  <a:pt x="18" y="26"/>
                </a:lnTo>
                <a:lnTo>
                  <a:pt x="17" y="23"/>
                </a:lnTo>
                <a:lnTo>
                  <a:pt x="17" y="18"/>
                </a:lnTo>
                <a:lnTo>
                  <a:pt x="15" y="13"/>
                </a:lnTo>
                <a:lnTo>
                  <a:pt x="17" y="12"/>
                </a:lnTo>
                <a:lnTo>
                  <a:pt x="20" y="11"/>
                </a:lnTo>
                <a:lnTo>
                  <a:pt x="23" y="10"/>
                </a:lnTo>
                <a:lnTo>
                  <a:pt x="26" y="10"/>
                </a:lnTo>
                <a:lnTo>
                  <a:pt x="46" y="10"/>
                </a:lnTo>
                <a:lnTo>
                  <a:pt x="52" y="9"/>
                </a:lnTo>
                <a:lnTo>
                  <a:pt x="56" y="9"/>
                </a:lnTo>
                <a:lnTo>
                  <a:pt x="60" y="6"/>
                </a:lnTo>
                <a:lnTo>
                  <a:pt x="63" y="4"/>
                </a:lnTo>
                <a:lnTo>
                  <a:pt x="67" y="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5" name="Freeform 24">
            <a:extLst>
              <a:ext uri="{FF2B5EF4-FFF2-40B4-BE49-F238E27FC236}">
                <a16:creationId xmlns:a16="http://schemas.microsoft.com/office/drawing/2014/main" id="{6CD754DF-EFE6-4DA2-5D94-2B0586F3E93D}"/>
              </a:ext>
            </a:extLst>
          </p:cNvPr>
          <p:cNvSpPr>
            <a:spLocks/>
          </p:cNvSpPr>
          <p:nvPr/>
        </p:nvSpPr>
        <p:spPr bwMode="auto">
          <a:xfrm>
            <a:off x="6995488" y="4865534"/>
            <a:ext cx="334963" cy="311150"/>
          </a:xfrm>
          <a:custGeom>
            <a:avLst/>
            <a:gdLst>
              <a:gd name="T0" fmla="*/ 67 w 166"/>
              <a:gd name="T1" fmla="*/ 0 h 167"/>
              <a:gd name="T2" fmla="*/ 122 w 166"/>
              <a:gd name="T3" fmla="*/ 40 h 167"/>
              <a:gd name="T4" fmla="*/ 144 w 166"/>
              <a:gd name="T5" fmla="*/ 60 h 167"/>
              <a:gd name="T6" fmla="*/ 142 w 166"/>
              <a:gd name="T7" fmla="*/ 64 h 167"/>
              <a:gd name="T8" fmla="*/ 142 w 166"/>
              <a:gd name="T9" fmla="*/ 67 h 167"/>
              <a:gd name="T10" fmla="*/ 140 w 166"/>
              <a:gd name="T11" fmla="*/ 73 h 167"/>
              <a:gd name="T12" fmla="*/ 137 w 166"/>
              <a:gd name="T13" fmla="*/ 78 h 167"/>
              <a:gd name="T14" fmla="*/ 137 w 166"/>
              <a:gd name="T15" fmla="*/ 83 h 167"/>
              <a:gd name="T16" fmla="*/ 140 w 166"/>
              <a:gd name="T17" fmla="*/ 86 h 167"/>
              <a:gd name="T18" fmla="*/ 145 w 166"/>
              <a:gd name="T19" fmla="*/ 91 h 167"/>
              <a:gd name="T20" fmla="*/ 147 w 166"/>
              <a:gd name="T21" fmla="*/ 96 h 167"/>
              <a:gd name="T22" fmla="*/ 147 w 166"/>
              <a:gd name="T23" fmla="*/ 111 h 167"/>
              <a:gd name="T24" fmla="*/ 148 w 166"/>
              <a:gd name="T25" fmla="*/ 123 h 167"/>
              <a:gd name="T26" fmla="*/ 152 w 166"/>
              <a:gd name="T27" fmla="*/ 134 h 167"/>
              <a:gd name="T28" fmla="*/ 156 w 166"/>
              <a:gd name="T29" fmla="*/ 142 h 167"/>
              <a:gd name="T30" fmla="*/ 165 w 166"/>
              <a:gd name="T31" fmla="*/ 146 h 167"/>
              <a:gd name="T32" fmla="*/ 156 w 166"/>
              <a:gd name="T33" fmla="*/ 148 h 167"/>
              <a:gd name="T34" fmla="*/ 145 w 166"/>
              <a:gd name="T35" fmla="*/ 154 h 167"/>
              <a:gd name="T36" fmla="*/ 126 w 166"/>
              <a:gd name="T37" fmla="*/ 159 h 167"/>
              <a:gd name="T38" fmla="*/ 118 w 166"/>
              <a:gd name="T39" fmla="*/ 163 h 167"/>
              <a:gd name="T40" fmla="*/ 118 w 166"/>
              <a:gd name="T41" fmla="*/ 165 h 167"/>
              <a:gd name="T42" fmla="*/ 113 w 166"/>
              <a:gd name="T43" fmla="*/ 164 h 167"/>
              <a:gd name="T44" fmla="*/ 110 w 166"/>
              <a:gd name="T45" fmla="*/ 163 h 167"/>
              <a:gd name="T46" fmla="*/ 105 w 166"/>
              <a:gd name="T47" fmla="*/ 163 h 167"/>
              <a:gd name="T48" fmla="*/ 102 w 166"/>
              <a:gd name="T49" fmla="*/ 165 h 167"/>
              <a:gd name="T50" fmla="*/ 93 w 166"/>
              <a:gd name="T51" fmla="*/ 165 h 167"/>
              <a:gd name="T52" fmla="*/ 80 w 166"/>
              <a:gd name="T53" fmla="*/ 164 h 167"/>
              <a:gd name="T54" fmla="*/ 74 w 166"/>
              <a:gd name="T55" fmla="*/ 142 h 167"/>
              <a:gd name="T56" fmla="*/ 71 w 166"/>
              <a:gd name="T57" fmla="*/ 141 h 167"/>
              <a:gd name="T58" fmla="*/ 70 w 166"/>
              <a:gd name="T59" fmla="*/ 136 h 167"/>
              <a:gd name="T60" fmla="*/ 54 w 166"/>
              <a:gd name="T61" fmla="*/ 133 h 167"/>
              <a:gd name="T62" fmla="*/ 42 w 166"/>
              <a:gd name="T63" fmla="*/ 124 h 167"/>
              <a:gd name="T64" fmla="*/ 36 w 166"/>
              <a:gd name="T65" fmla="*/ 120 h 167"/>
              <a:gd name="T66" fmla="*/ 29 w 166"/>
              <a:gd name="T67" fmla="*/ 116 h 167"/>
              <a:gd name="T68" fmla="*/ 24 w 166"/>
              <a:gd name="T69" fmla="*/ 116 h 167"/>
              <a:gd name="T70" fmla="*/ 22 w 166"/>
              <a:gd name="T71" fmla="*/ 115 h 167"/>
              <a:gd name="T72" fmla="*/ 20 w 166"/>
              <a:gd name="T73" fmla="*/ 113 h 167"/>
              <a:gd name="T74" fmla="*/ 17 w 166"/>
              <a:gd name="T75" fmla="*/ 107 h 167"/>
              <a:gd name="T76" fmla="*/ 16 w 166"/>
              <a:gd name="T77" fmla="*/ 99 h 167"/>
              <a:gd name="T78" fmla="*/ 14 w 166"/>
              <a:gd name="T79" fmla="*/ 94 h 167"/>
              <a:gd name="T80" fmla="*/ 11 w 166"/>
              <a:gd name="T81" fmla="*/ 91 h 167"/>
              <a:gd name="T82" fmla="*/ 4 w 166"/>
              <a:gd name="T83" fmla="*/ 85 h 167"/>
              <a:gd name="T84" fmla="*/ 2 w 166"/>
              <a:gd name="T85" fmla="*/ 79 h 167"/>
              <a:gd name="T86" fmla="*/ 2 w 166"/>
              <a:gd name="T87" fmla="*/ 76 h 167"/>
              <a:gd name="T88" fmla="*/ 3 w 166"/>
              <a:gd name="T89" fmla="*/ 74 h 167"/>
              <a:gd name="T90" fmla="*/ 3 w 166"/>
              <a:gd name="T91" fmla="*/ 71 h 167"/>
              <a:gd name="T92" fmla="*/ 0 w 166"/>
              <a:gd name="T93" fmla="*/ 66 h 167"/>
              <a:gd name="T94" fmla="*/ 0 w 166"/>
              <a:gd name="T95" fmla="*/ 62 h 167"/>
              <a:gd name="T96" fmla="*/ 2 w 166"/>
              <a:gd name="T97" fmla="*/ 56 h 167"/>
              <a:gd name="T98" fmla="*/ 5 w 166"/>
              <a:gd name="T99" fmla="*/ 53 h 167"/>
              <a:gd name="T100" fmla="*/ 11 w 166"/>
              <a:gd name="T101" fmla="*/ 48 h 167"/>
              <a:gd name="T102" fmla="*/ 18 w 166"/>
              <a:gd name="T103" fmla="*/ 42 h 167"/>
              <a:gd name="T104" fmla="*/ 20 w 166"/>
              <a:gd name="T105" fmla="*/ 38 h 167"/>
              <a:gd name="T106" fmla="*/ 21 w 166"/>
              <a:gd name="T107" fmla="*/ 33 h 167"/>
              <a:gd name="T108" fmla="*/ 18 w 166"/>
              <a:gd name="T109" fmla="*/ 30 h 167"/>
              <a:gd name="T110" fmla="*/ 16 w 166"/>
              <a:gd name="T111" fmla="*/ 28 h 167"/>
              <a:gd name="T112" fmla="*/ 16 w 166"/>
              <a:gd name="T113" fmla="*/ 25 h 167"/>
              <a:gd name="T114" fmla="*/ 20 w 166"/>
              <a:gd name="T115" fmla="*/ 20 h 167"/>
              <a:gd name="T116" fmla="*/ 21 w 166"/>
              <a:gd name="T117" fmla="*/ 17 h 167"/>
              <a:gd name="T118" fmla="*/ 22 w 166"/>
              <a:gd name="T119" fmla="*/ 15 h 167"/>
              <a:gd name="T120" fmla="*/ 20 w 166"/>
              <a:gd name="T121" fmla="*/ 8 h 167"/>
              <a:gd name="T122" fmla="*/ 18 w 166"/>
              <a:gd name="T123" fmla="*/ 2 h 167"/>
              <a:gd name="T124" fmla="*/ 19 w 166"/>
              <a:gd name="T125" fmla="*/ 0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6" h="167">
                <a:moveTo>
                  <a:pt x="19" y="0"/>
                </a:moveTo>
                <a:lnTo>
                  <a:pt x="67" y="0"/>
                </a:lnTo>
                <a:lnTo>
                  <a:pt x="122" y="33"/>
                </a:lnTo>
                <a:lnTo>
                  <a:pt x="122" y="40"/>
                </a:lnTo>
                <a:lnTo>
                  <a:pt x="145" y="58"/>
                </a:lnTo>
                <a:lnTo>
                  <a:pt x="144" y="60"/>
                </a:lnTo>
                <a:lnTo>
                  <a:pt x="142" y="62"/>
                </a:lnTo>
                <a:lnTo>
                  <a:pt x="142" y="64"/>
                </a:lnTo>
                <a:lnTo>
                  <a:pt x="142" y="66"/>
                </a:lnTo>
                <a:lnTo>
                  <a:pt x="142" y="67"/>
                </a:lnTo>
                <a:lnTo>
                  <a:pt x="141" y="69"/>
                </a:lnTo>
                <a:lnTo>
                  <a:pt x="140" y="73"/>
                </a:lnTo>
                <a:lnTo>
                  <a:pt x="138" y="76"/>
                </a:lnTo>
                <a:lnTo>
                  <a:pt x="137" y="78"/>
                </a:lnTo>
                <a:lnTo>
                  <a:pt x="137" y="79"/>
                </a:lnTo>
                <a:lnTo>
                  <a:pt x="137" y="83"/>
                </a:lnTo>
                <a:lnTo>
                  <a:pt x="138" y="84"/>
                </a:lnTo>
                <a:lnTo>
                  <a:pt x="140" y="86"/>
                </a:lnTo>
                <a:lnTo>
                  <a:pt x="142" y="88"/>
                </a:lnTo>
                <a:lnTo>
                  <a:pt x="145" y="91"/>
                </a:lnTo>
                <a:lnTo>
                  <a:pt x="146" y="92"/>
                </a:lnTo>
                <a:lnTo>
                  <a:pt x="147" y="96"/>
                </a:lnTo>
                <a:lnTo>
                  <a:pt x="147" y="105"/>
                </a:lnTo>
                <a:lnTo>
                  <a:pt x="147" y="111"/>
                </a:lnTo>
                <a:lnTo>
                  <a:pt x="147" y="118"/>
                </a:lnTo>
                <a:lnTo>
                  <a:pt x="148" y="123"/>
                </a:lnTo>
                <a:lnTo>
                  <a:pt x="149" y="129"/>
                </a:lnTo>
                <a:lnTo>
                  <a:pt x="152" y="134"/>
                </a:lnTo>
                <a:lnTo>
                  <a:pt x="155" y="139"/>
                </a:lnTo>
                <a:lnTo>
                  <a:pt x="156" y="142"/>
                </a:lnTo>
                <a:lnTo>
                  <a:pt x="159" y="143"/>
                </a:lnTo>
                <a:lnTo>
                  <a:pt x="165" y="146"/>
                </a:lnTo>
                <a:lnTo>
                  <a:pt x="160" y="147"/>
                </a:lnTo>
                <a:lnTo>
                  <a:pt x="156" y="148"/>
                </a:lnTo>
                <a:lnTo>
                  <a:pt x="151" y="151"/>
                </a:lnTo>
                <a:lnTo>
                  <a:pt x="145" y="154"/>
                </a:lnTo>
                <a:lnTo>
                  <a:pt x="138" y="156"/>
                </a:lnTo>
                <a:lnTo>
                  <a:pt x="126" y="159"/>
                </a:lnTo>
                <a:lnTo>
                  <a:pt x="119" y="161"/>
                </a:lnTo>
                <a:lnTo>
                  <a:pt x="118" y="163"/>
                </a:lnTo>
                <a:lnTo>
                  <a:pt x="118" y="164"/>
                </a:lnTo>
                <a:lnTo>
                  <a:pt x="118" y="165"/>
                </a:lnTo>
                <a:lnTo>
                  <a:pt x="114" y="165"/>
                </a:lnTo>
                <a:lnTo>
                  <a:pt x="113" y="164"/>
                </a:lnTo>
                <a:lnTo>
                  <a:pt x="111" y="164"/>
                </a:lnTo>
                <a:lnTo>
                  <a:pt x="110" y="163"/>
                </a:lnTo>
                <a:lnTo>
                  <a:pt x="107" y="163"/>
                </a:lnTo>
                <a:lnTo>
                  <a:pt x="105" y="163"/>
                </a:lnTo>
                <a:lnTo>
                  <a:pt x="104" y="164"/>
                </a:lnTo>
                <a:lnTo>
                  <a:pt x="102" y="165"/>
                </a:lnTo>
                <a:lnTo>
                  <a:pt x="100" y="166"/>
                </a:lnTo>
                <a:lnTo>
                  <a:pt x="93" y="165"/>
                </a:lnTo>
                <a:lnTo>
                  <a:pt x="87" y="165"/>
                </a:lnTo>
                <a:lnTo>
                  <a:pt x="80" y="164"/>
                </a:lnTo>
                <a:lnTo>
                  <a:pt x="74" y="164"/>
                </a:lnTo>
                <a:lnTo>
                  <a:pt x="74" y="142"/>
                </a:lnTo>
                <a:lnTo>
                  <a:pt x="73" y="142"/>
                </a:lnTo>
                <a:lnTo>
                  <a:pt x="71" y="141"/>
                </a:lnTo>
                <a:lnTo>
                  <a:pt x="71" y="138"/>
                </a:lnTo>
                <a:lnTo>
                  <a:pt x="70" y="136"/>
                </a:lnTo>
                <a:lnTo>
                  <a:pt x="67" y="133"/>
                </a:lnTo>
                <a:lnTo>
                  <a:pt x="54" y="133"/>
                </a:lnTo>
                <a:lnTo>
                  <a:pt x="48" y="129"/>
                </a:lnTo>
                <a:lnTo>
                  <a:pt x="42" y="124"/>
                </a:lnTo>
                <a:lnTo>
                  <a:pt x="39" y="122"/>
                </a:lnTo>
                <a:lnTo>
                  <a:pt x="36" y="120"/>
                </a:lnTo>
                <a:lnTo>
                  <a:pt x="33" y="119"/>
                </a:lnTo>
                <a:lnTo>
                  <a:pt x="29" y="116"/>
                </a:lnTo>
                <a:lnTo>
                  <a:pt x="25" y="116"/>
                </a:lnTo>
                <a:lnTo>
                  <a:pt x="24" y="116"/>
                </a:lnTo>
                <a:lnTo>
                  <a:pt x="22" y="116"/>
                </a:lnTo>
                <a:lnTo>
                  <a:pt x="22" y="115"/>
                </a:lnTo>
                <a:lnTo>
                  <a:pt x="22" y="114"/>
                </a:lnTo>
                <a:lnTo>
                  <a:pt x="20" y="113"/>
                </a:lnTo>
                <a:lnTo>
                  <a:pt x="18" y="110"/>
                </a:lnTo>
                <a:lnTo>
                  <a:pt x="17" y="107"/>
                </a:lnTo>
                <a:lnTo>
                  <a:pt x="17" y="105"/>
                </a:lnTo>
                <a:lnTo>
                  <a:pt x="16" y="99"/>
                </a:lnTo>
                <a:lnTo>
                  <a:pt x="16" y="96"/>
                </a:lnTo>
                <a:lnTo>
                  <a:pt x="14" y="94"/>
                </a:lnTo>
                <a:lnTo>
                  <a:pt x="12" y="92"/>
                </a:lnTo>
                <a:lnTo>
                  <a:pt x="11" y="91"/>
                </a:lnTo>
                <a:lnTo>
                  <a:pt x="6" y="87"/>
                </a:lnTo>
                <a:lnTo>
                  <a:pt x="4" y="85"/>
                </a:lnTo>
                <a:lnTo>
                  <a:pt x="3" y="83"/>
                </a:lnTo>
                <a:lnTo>
                  <a:pt x="2" y="79"/>
                </a:lnTo>
                <a:lnTo>
                  <a:pt x="0" y="77"/>
                </a:lnTo>
                <a:lnTo>
                  <a:pt x="2" y="76"/>
                </a:lnTo>
                <a:lnTo>
                  <a:pt x="3" y="75"/>
                </a:lnTo>
                <a:lnTo>
                  <a:pt x="3" y="74"/>
                </a:lnTo>
                <a:lnTo>
                  <a:pt x="3" y="73"/>
                </a:lnTo>
                <a:lnTo>
                  <a:pt x="3" y="71"/>
                </a:lnTo>
                <a:lnTo>
                  <a:pt x="2" y="69"/>
                </a:lnTo>
                <a:lnTo>
                  <a:pt x="0" y="66"/>
                </a:lnTo>
                <a:lnTo>
                  <a:pt x="0" y="65"/>
                </a:lnTo>
                <a:lnTo>
                  <a:pt x="0" y="62"/>
                </a:lnTo>
                <a:lnTo>
                  <a:pt x="0" y="59"/>
                </a:lnTo>
                <a:lnTo>
                  <a:pt x="2" y="56"/>
                </a:lnTo>
                <a:lnTo>
                  <a:pt x="3" y="55"/>
                </a:lnTo>
                <a:lnTo>
                  <a:pt x="5" y="53"/>
                </a:lnTo>
                <a:lnTo>
                  <a:pt x="7" y="51"/>
                </a:lnTo>
                <a:lnTo>
                  <a:pt x="11" y="48"/>
                </a:lnTo>
                <a:lnTo>
                  <a:pt x="14" y="45"/>
                </a:lnTo>
                <a:lnTo>
                  <a:pt x="18" y="42"/>
                </a:lnTo>
                <a:lnTo>
                  <a:pt x="19" y="39"/>
                </a:lnTo>
                <a:lnTo>
                  <a:pt x="20" y="38"/>
                </a:lnTo>
                <a:lnTo>
                  <a:pt x="21" y="35"/>
                </a:lnTo>
                <a:lnTo>
                  <a:pt x="21" y="33"/>
                </a:lnTo>
                <a:lnTo>
                  <a:pt x="20" y="31"/>
                </a:lnTo>
                <a:lnTo>
                  <a:pt x="18" y="30"/>
                </a:lnTo>
                <a:lnTo>
                  <a:pt x="17" y="29"/>
                </a:lnTo>
                <a:lnTo>
                  <a:pt x="16" y="28"/>
                </a:lnTo>
                <a:lnTo>
                  <a:pt x="16" y="26"/>
                </a:lnTo>
                <a:lnTo>
                  <a:pt x="16" y="25"/>
                </a:lnTo>
                <a:lnTo>
                  <a:pt x="18" y="22"/>
                </a:lnTo>
                <a:lnTo>
                  <a:pt x="20" y="20"/>
                </a:lnTo>
                <a:lnTo>
                  <a:pt x="21" y="19"/>
                </a:lnTo>
                <a:lnTo>
                  <a:pt x="21" y="17"/>
                </a:lnTo>
                <a:lnTo>
                  <a:pt x="22" y="17"/>
                </a:lnTo>
                <a:lnTo>
                  <a:pt x="22" y="15"/>
                </a:lnTo>
                <a:lnTo>
                  <a:pt x="21" y="13"/>
                </a:lnTo>
                <a:lnTo>
                  <a:pt x="20" y="8"/>
                </a:lnTo>
                <a:lnTo>
                  <a:pt x="19" y="4"/>
                </a:lnTo>
                <a:lnTo>
                  <a:pt x="18" y="2"/>
                </a:lnTo>
                <a:lnTo>
                  <a:pt x="18" y="0"/>
                </a:lnTo>
                <a:lnTo>
                  <a:pt x="19" y="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89D99181-B2BA-C2EA-8688-0C237F0554DB}"/>
              </a:ext>
            </a:extLst>
          </p:cNvPr>
          <p:cNvSpPr>
            <a:spLocks/>
          </p:cNvSpPr>
          <p:nvPr/>
        </p:nvSpPr>
        <p:spPr bwMode="auto">
          <a:xfrm>
            <a:off x="6984375" y="4865534"/>
            <a:ext cx="55563" cy="53975"/>
          </a:xfrm>
          <a:custGeom>
            <a:avLst/>
            <a:gdLst>
              <a:gd name="T0" fmla="*/ 23 w 28"/>
              <a:gd name="T1" fmla="*/ 21 h 29"/>
              <a:gd name="T2" fmla="*/ 25 w 28"/>
              <a:gd name="T3" fmla="*/ 20 h 29"/>
              <a:gd name="T4" fmla="*/ 26 w 28"/>
              <a:gd name="T5" fmla="*/ 19 h 29"/>
              <a:gd name="T6" fmla="*/ 26 w 28"/>
              <a:gd name="T7" fmla="*/ 17 h 29"/>
              <a:gd name="T8" fmla="*/ 27 w 28"/>
              <a:gd name="T9" fmla="*/ 17 h 29"/>
              <a:gd name="T10" fmla="*/ 27 w 28"/>
              <a:gd name="T11" fmla="*/ 15 h 29"/>
              <a:gd name="T12" fmla="*/ 26 w 28"/>
              <a:gd name="T13" fmla="*/ 12 h 29"/>
              <a:gd name="T14" fmla="*/ 25 w 28"/>
              <a:gd name="T15" fmla="*/ 8 h 29"/>
              <a:gd name="T16" fmla="*/ 24 w 28"/>
              <a:gd name="T17" fmla="*/ 4 h 29"/>
              <a:gd name="T18" fmla="*/ 23 w 28"/>
              <a:gd name="T19" fmla="*/ 2 h 29"/>
              <a:gd name="T20" fmla="*/ 23 w 28"/>
              <a:gd name="T21" fmla="*/ 0 h 29"/>
              <a:gd name="T22" fmla="*/ 24 w 28"/>
              <a:gd name="T23" fmla="*/ 0 h 29"/>
              <a:gd name="T24" fmla="*/ 19 w 28"/>
              <a:gd name="T25" fmla="*/ 3 h 29"/>
              <a:gd name="T26" fmla="*/ 18 w 28"/>
              <a:gd name="T27" fmla="*/ 4 h 29"/>
              <a:gd name="T28" fmla="*/ 17 w 28"/>
              <a:gd name="T29" fmla="*/ 6 h 29"/>
              <a:gd name="T30" fmla="*/ 9 w 28"/>
              <a:gd name="T31" fmla="*/ 6 h 29"/>
              <a:gd name="T32" fmla="*/ 5 w 28"/>
              <a:gd name="T33" fmla="*/ 10 h 29"/>
              <a:gd name="T34" fmla="*/ 2 w 28"/>
              <a:gd name="T35" fmla="*/ 13 h 29"/>
              <a:gd name="T36" fmla="*/ 0 w 28"/>
              <a:gd name="T37" fmla="*/ 18 h 29"/>
              <a:gd name="T38" fmla="*/ 0 w 28"/>
              <a:gd name="T39" fmla="*/ 21 h 29"/>
              <a:gd name="T40" fmla="*/ 0 w 28"/>
              <a:gd name="T41" fmla="*/ 23 h 29"/>
              <a:gd name="T42" fmla="*/ 0 w 28"/>
              <a:gd name="T43" fmla="*/ 25 h 29"/>
              <a:gd name="T44" fmla="*/ 0 w 28"/>
              <a:gd name="T45" fmla="*/ 26 h 29"/>
              <a:gd name="T46" fmla="*/ 0 w 28"/>
              <a:gd name="T47" fmla="*/ 28 h 29"/>
              <a:gd name="T48" fmla="*/ 12 w 28"/>
              <a:gd name="T49" fmla="*/ 28 h 29"/>
              <a:gd name="T50" fmla="*/ 13 w 28"/>
              <a:gd name="T51" fmla="*/ 24 h 29"/>
              <a:gd name="T52" fmla="*/ 14 w 28"/>
              <a:gd name="T53" fmla="*/ 21 h 29"/>
              <a:gd name="T54" fmla="*/ 16 w 28"/>
              <a:gd name="T55" fmla="*/ 21 h 29"/>
              <a:gd name="T56" fmla="*/ 23 w 28"/>
              <a:gd name="T57" fmla="*/ 21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8" h="29">
                <a:moveTo>
                  <a:pt x="23" y="21"/>
                </a:moveTo>
                <a:lnTo>
                  <a:pt x="25" y="20"/>
                </a:lnTo>
                <a:lnTo>
                  <a:pt x="26" y="19"/>
                </a:lnTo>
                <a:lnTo>
                  <a:pt x="26" y="17"/>
                </a:lnTo>
                <a:lnTo>
                  <a:pt x="27" y="17"/>
                </a:lnTo>
                <a:lnTo>
                  <a:pt x="27" y="15"/>
                </a:lnTo>
                <a:lnTo>
                  <a:pt x="26" y="12"/>
                </a:lnTo>
                <a:lnTo>
                  <a:pt x="25" y="8"/>
                </a:lnTo>
                <a:lnTo>
                  <a:pt x="24" y="4"/>
                </a:lnTo>
                <a:lnTo>
                  <a:pt x="23" y="2"/>
                </a:lnTo>
                <a:lnTo>
                  <a:pt x="23" y="0"/>
                </a:lnTo>
                <a:lnTo>
                  <a:pt x="24" y="0"/>
                </a:lnTo>
                <a:lnTo>
                  <a:pt x="19" y="3"/>
                </a:lnTo>
                <a:lnTo>
                  <a:pt x="18" y="4"/>
                </a:lnTo>
                <a:lnTo>
                  <a:pt x="17" y="6"/>
                </a:lnTo>
                <a:lnTo>
                  <a:pt x="9" y="6"/>
                </a:lnTo>
                <a:lnTo>
                  <a:pt x="5" y="10"/>
                </a:lnTo>
                <a:lnTo>
                  <a:pt x="2" y="13"/>
                </a:lnTo>
                <a:lnTo>
                  <a:pt x="0" y="18"/>
                </a:lnTo>
                <a:lnTo>
                  <a:pt x="0" y="21"/>
                </a:lnTo>
                <a:lnTo>
                  <a:pt x="0" y="23"/>
                </a:lnTo>
                <a:lnTo>
                  <a:pt x="0" y="25"/>
                </a:lnTo>
                <a:lnTo>
                  <a:pt x="0" y="26"/>
                </a:lnTo>
                <a:lnTo>
                  <a:pt x="0" y="28"/>
                </a:lnTo>
                <a:lnTo>
                  <a:pt x="12" y="28"/>
                </a:lnTo>
                <a:lnTo>
                  <a:pt x="13" y="24"/>
                </a:lnTo>
                <a:lnTo>
                  <a:pt x="14" y="21"/>
                </a:lnTo>
                <a:lnTo>
                  <a:pt x="16" y="21"/>
                </a:lnTo>
                <a:lnTo>
                  <a:pt x="23" y="21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7" name="Freeform 26">
            <a:extLst>
              <a:ext uri="{FF2B5EF4-FFF2-40B4-BE49-F238E27FC236}">
                <a16:creationId xmlns:a16="http://schemas.microsoft.com/office/drawing/2014/main" id="{02E1402A-8B14-29E4-82D0-49CF3B3E8534}"/>
              </a:ext>
            </a:extLst>
          </p:cNvPr>
          <p:cNvSpPr>
            <a:spLocks/>
          </p:cNvSpPr>
          <p:nvPr/>
        </p:nvSpPr>
        <p:spPr bwMode="auto">
          <a:xfrm>
            <a:off x="6984375" y="4906809"/>
            <a:ext cx="55563" cy="65088"/>
          </a:xfrm>
          <a:custGeom>
            <a:avLst/>
            <a:gdLst>
              <a:gd name="T0" fmla="*/ 0 w 28"/>
              <a:gd name="T1" fmla="*/ 5 h 35"/>
              <a:gd name="T2" fmla="*/ 1 w 28"/>
              <a:gd name="T3" fmla="*/ 7 h 35"/>
              <a:gd name="T4" fmla="*/ 2 w 28"/>
              <a:gd name="T5" fmla="*/ 8 h 35"/>
              <a:gd name="T6" fmla="*/ 4 w 28"/>
              <a:gd name="T7" fmla="*/ 9 h 35"/>
              <a:gd name="T8" fmla="*/ 5 w 28"/>
              <a:gd name="T9" fmla="*/ 10 h 35"/>
              <a:gd name="T10" fmla="*/ 5 w 28"/>
              <a:gd name="T11" fmla="*/ 12 h 35"/>
              <a:gd name="T12" fmla="*/ 5 w 28"/>
              <a:gd name="T13" fmla="*/ 13 h 35"/>
              <a:gd name="T14" fmla="*/ 4 w 28"/>
              <a:gd name="T15" fmla="*/ 17 h 35"/>
              <a:gd name="T16" fmla="*/ 3 w 28"/>
              <a:gd name="T17" fmla="*/ 20 h 35"/>
              <a:gd name="T18" fmla="*/ 3 w 28"/>
              <a:gd name="T19" fmla="*/ 21 h 35"/>
              <a:gd name="T20" fmla="*/ 4 w 28"/>
              <a:gd name="T21" fmla="*/ 23 h 35"/>
              <a:gd name="T22" fmla="*/ 6 w 28"/>
              <a:gd name="T23" fmla="*/ 27 h 35"/>
              <a:gd name="T24" fmla="*/ 8 w 28"/>
              <a:gd name="T25" fmla="*/ 30 h 35"/>
              <a:gd name="T26" fmla="*/ 9 w 28"/>
              <a:gd name="T27" fmla="*/ 34 h 35"/>
              <a:gd name="T28" fmla="*/ 12 w 28"/>
              <a:gd name="T29" fmla="*/ 30 h 35"/>
              <a:gd name="T30" fmla="*/ 14 w 28"/>
              <a:gd name="T31" fmla="*/ 29 h 35"/>
              <a:gd name="T32" fmla="*/ 20 w 28"/>
              <a:gd name="T33" fmla="*/ 23 h 35"/>
              <a:gd name="T34" fmla="*/ 23 w 28"/>
              <a:gd name="T35" fmla="*/ 21 h 35"/>
              <a:gd name="T36" fmla="*/ 24 w 28"/>
              <a:gd name="T37" fmla="*/ 18 h 35"/>
              <a:gd name="T38" fmla="*/ 26 w 28"/>
              <a:gd name="T39" fmla="*/ 17 h 35"/>
              <a:gd name="T40" fmla="*/ 27 w 28"/>
              <a:gd name="T41" fmla="*/ 16 h 35"/>
              <a:gd name="T42" fmla="*/ 27 w 28"/>
              <a:gd name="T43" fmla="*/ 11 h 35"/>
              <a:gd name="T44" fmla="*/ 26 w 28"/>
              <a:gd name="T45" fmla="*/ 10 h 35"/>
              <a:gd name="T46" fmla="*/ 23 w 28"/>
              <a:gd name="T47" fmla="*/ 9 h 35"/>
              <a:gd name="T48" fmla="*/ 23 w 28"/>
              <a:gd name="T49" fmla="*/ 8 h 35"/>
              <a:gd name="T50" fmla="*/ 22 w 28"/>
              <a:gd name="T51" fmla="*/ 6 h 35"/>
              <a:gd name="T52" fmla="*/ 22 w 28"/>
              <a:gd name="T53" fmla="*/ 4 h 35"/>
              <a:gd name="T54" fmla="*/ 22 w 28"/>
              <a:gd name="T55" fmla="*/ 3 h 35"/>
              <a:gd name="T56" fmla="*/ 23 w 28"/>
              <a:gd name="T57" fmla="*/ 0 h 35"/>
              <a:gd name="T58" fmla="*/ 20 w 28"/>
              <a:gd name="T59" fmla="*/ 0 h 35"/>
              <a:gd name="T60" fmla="*/ 16 w 28"/>
              <a:gd name="T61" fmla="*/ 0 h 35"/>
              <a:gd name="T62" fmla="*/ 14 w 28"/>
              <a:gd name="T63" fmla="*/ 0 h 35"/>
              <a:gd name="T64" fmla="*/ 13 w 28"/>
              <a:gd name="T65" fmla="*/ 3 h 35"/>
              <a:gd name="T66" fmla="*/ 13 w 28"/>
              <a:gd name="T67" fmla="*/ 4 h 35"/>
              <a:gd name="T68" fmla="*/ 13 w 28"/>
              <a:gd name="T69" fmla="*/ 6 h 35"/>
              <a:gd name="T70" fmla="*/ 0 w 28"/>
              <a:gd name="T71" fmla="*/ 6 h 35"/>
              <a:gd name="T72" fmla="*/ 0 w 28"/>
              <a:gd name="T73" fmla="*/ 5 h 35"/>
              <a:gd name="T74" fmla="*/ 0 w 28"/>
              <a:gd name="T75" fmla="*/ 4 h 35"/>
              <a:gd name="T76" fmla="*/ 0 w 28"/>
              <a:gd name="T77" fmla="*/ 2 h 35"/>
              <a:gd name="T78" fmla="*/ 0 w 28"/>
              <a:gd name="T79" fmla="*/ 5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8" h="35">
                <a:moveTo>
                  <a:pt x="0" y="5"/>
                </a:moveTo>
                <a:lnTo>
                  <a:pt x="1" y="7"/>
                </a:lnTo>
                <a:lnTo>
                  <a:pt x="2" y="8"/>
                </a:lnTo>
                <a:lnTo>
                  <a:pt x="4" y="9"/>
                </a:lnTo>
                <a:lnTo>
                  <a:pt x="5" y="10"/>
                </a:lnTo>
                <a:lnTo>
                  <a:pt x="5" y="12"/>
                </a:lnTo>
                <a:lnTo>
                  <a:pt x="5" y="13"/>
                </a:lnTo>
                <a:lnTo>
                  <a:pt x="4" y="17"/>
                </a:lnTo>
                <a:lnTo>
                  <a:pt x="3" y="20"/>
                </a:lnTo>
                <a:lnTo>
                  <a:pt x="3" y="21"/>
                </a:lnTo>
                <a:lnTo>
                  <a:pt x="4" y="23"/>
                </a:lnTo>
                <a:lnTo>
                  <a:pt x="6" y="27"/>
                </a:lnTo>
                <a:lnTo>
                  <a:pt x="8" y="30"/>
                </a:lnTo>
                <a:lnTo>
                  <a:pt x="9" y="34"/>
                </a:lnTo>
                <a:lnTo>
                  <a:pt x="12" y="30"/>
                </a:lnTo>
                <a:lnTo>
                  <a:pt x="14" y="29"/>
                </a:lnTo>
                <a:lnTo>
                  <a:pt x="20" y="23"/>
                </a:lnTo>
                <a:lnTo>
                  <a:pt x="23" y="21"/>
                </a:lnTo>
                <a:lnTo>
                  <a:pt x="24" y="18"/>
                </a:lnTo>
                <a:lnTo>
                  <a:pt x="26" y="17"/>
                </a:lnTo>
                <a:lnTo>
                  <a:pt x="27" y="16"/>
                </a:lnTo>
                <a:lnTo>
                  <a:pt x="27" y="11"/>
                </a:lnTo>
                <a:lnTo>
                  <a:pt x="26" y="10"/>
                </a:lnTo>
                <a:lnTo>
                  <a:pt x="23" y="9"/>
                </a:lnTo>
                <a:lnTo>
                  <a:pt x="23" y="8"/>
                </a:lnTo>
                <a:lnTo>
                  <a:pt x="22" y="6"/>
                </a:lnTo>
                <a:lnTo>
                  <a:pt x="22" y="4"/>
                </a:lnTo>
                <a:lnTo>
                  <a:pt x="22" y="3"/>
                </a:lnTo>
                <a:lnTo>
                  <a:pt x="23" y="0"/>
                </a:lnTo>
                <a:lnTo>
                  <a:pt x="20" y="0"/>
                </a:lnTo>
                <a:lnTo>
                  <a:pt x="16" y="0"/>
                </a:lnTo>
                <a:lnTo>
                  <a:pt x="14" y="0"/>
                </a:lnTo>
                <a:lnTo>
                  <a:pt x="13" y="3"/>
                </a:lnTo>
                <a:lnTo>
                  <a:pt x="13" y="4"/>
                </a:lnTo>
                <a:lnTo>
                  <a:pt x="13" y="6"/>
                </a:lnTo>
                <a:lnTo>
                  <a:pt x="0" y="6"/>
                </a:lnTo>
                <a:lnTo>
                  <a:pt x="0" y="5"/>
                </a:lnTo>
                <a:lnTo>
                  <a:pt x="0" y="4"/>
                </a:lnTo>
                <a:lnTo>
                  <a:pt x="0" y="2"/>
                </a:lnTo>
                <a:lnTo>
                  <a:pt x="0" y="5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4A69220E-3CEC-4913-1A28-C92BD8CEA0E1}"/>
              </a:ext>
            </a:extLst>
          </p:cNvPr>
          <p:cNvSpPr>
            <a:spLocks/>
          </p:cNvSpPr>
          <p:nvPr/>
        </p:nvSpPr>
        <p:spPr bwMode="auto">
          <a:xfrm>
            <a:off x="6503363" y="4684559"/>
            <a:ext cx="547688" cy="542925"/>
          </a:xfrm>
          <a:custGeom>
            <a:avLst/>
            <a:gdLst>
              <a:gd name="T0" fmla="*/ 237 w 271"/>
              <a:gd name="T1" fmla="*/ 215 h 290"/>
              <a:gd name="T2" fmla="*/ 230 w 271"/>
              <a:gd name="T3" fmla="*/ 228 h 290"/>
              <a:gd name="T4" fmla="*/ 234 w 271"/>
              <a:gd name="T5" fmla="*/ 268 h 290"/>
              <a:gd name="T6" fmla="*/ 248 w 271"/>
              <a:gd name="T7" fmla="*/ 280 h 290"/>
              <a:gd name="T8" fmla="*/ 240 w 271"/>
              <a:gd name="T9" fmla="*/ 289 h 290"/>
              <a:gd name="T10" fmla="*/ 234 w 271"/>
              <a:gd name="T11" fmla="*/ 280 h 290"/>
              <a:gd name="T12" fmla="*/ 217 w 271"/>
              <a:gd name="T13" fmla="*/ 266 h 290"/>
              <a:gd name="T14" fmla="*/ 207 w 271"/>
              <a:gd name="T15" fmla="*/ 264 h 290"/>
              <a:gd name="T16" fmla="*/ 190 w 271"/>
              <a:gd name="T17" fmla="*/ 263 h 290"/>
              <a:gd name="T18" fmla="*/ 179 w 271"/>
              <a:gd name="T19" fmla="*/ 255 h 290"/>
              <a:gd name="T20" fmla="*/ 154 w 271"/>
              <a:gd name="T21" fmla="*/ 251 h 290"/>
              <a:gd name="T22" fmla="*/ 141 w 271"/>
              <a:gd name="T23" fmla="*/ 251 h 290"/>
              <a:gd name="T24" fmla="*/ 140 w 271"/>
              <a:gd name="T25" fmla="*/ 236 h 290"/>
              <a:gd name="T26" fmla="*/ 138 w 271"/>
              <a:gd name="T27" fmla="*/ 211 h 290"/>
              <a:gd name="T28" fmla="*/ 122 w 271"/>
              <a:gd name="T29" fmla="*/ 194 h 290"/>
              <a:gd name="T30" fmla="*/ 100 w 271"/>
              <a:gd name="T31" fmla="*/ 193 h 290"/>
              <a:gd name="T32" fmla="*/ 95 w 271"/>
              <a:gd name="T33" fmla="*/ 202 h 290"/>
              <a:gd name="T34" fmla="*/ 71 w 271"/>
              <a:gd name="T35" fmla="*/ 201 h 290"/>
              <a:gd name="T36" fmla="*/ 59 w 271"/>
              <a:gd name="T37" fmla="*/ 178 h 290"/>
              <a:gd name="T38" fmla="*/ 2 w 271"/>
              <a:gd name="T39" fmla="*/ 162 h 290"/>
              <a:gd name="T40" fmla="*/ 7 w 271"/>
              <a:gd name="T41" fmla="*/ 154 h 290"/>
              <a:gd name="T42" fmla="*/ 16 w 271"/>
              <a:gd name="T43" fmla="*/ 153 h 290"/>
              <a:gd name="T44" fmla="*/ 26 w 271"/>
              <a:gd name="T45" fmla="*/ 151 h 290"/>
              <a:gd name="T46" fmla="*/ 32 w 271"/>
              <a:gd name="T47" fmla="*/ 155 h 290"/>
              <a:gd name="T48" fmla="*/ 44 w 271"/>
              <a:gd name="T49" fmla="*/ 146 h 290"/>
              <a:gd name="T50" fmla="*/ 51 w 271"/>
              <a:gd name="T51" fmla="*/ 119 h 290"/>
              <a:gd name="T52" fmla="*/ 61 w 271"/>
              <a:gd name="T53" fmla="*/ 102 h 290"/>
              <a:gd name="T54" fmla="*/ 73 w 271"/>
              <a:gd name="T55" fmla="*/ 93 h 290"/>
              <a:gd name="T56" fmla="*/ 73 w 271"/>
              <a:gd name="T57" fmla="*/ 81 h 290"/>
              <a:gd name="T58" fmla="*/ 87 w 271"/>
              <a:gd name="T59" fmla="*/ 39 h 290"/>
              <a:gd name="T60" fmla="*/ 85 w 271"/>
              <a:gd name="T61" fmla="*/ 30 h 290"/>
              <a:gd name="T62" fmla="*/ 88 w 271"/>
              <a:gd name="T63" fmla="*/ 13 h 290"/>
              <a:gd name="T64" fmla="*/ 100 w 271"/>
              <a:gd name="T65" fmla="*/ 4 h 290"/>
              <a:gd name="T66" fmla="*/ 125 w 271"/>
              <a:gd name="T67" fmla="*/ 13 h 290"/>
              <a:gd name="T68" fmla="*/ 144 w 271"/>
              <a:gd name="T69" fmla="*/ 16 h 290"/>
              <a:gd name="T70" fmla="*/ 151 w 271"/>
              <a:gd name="T71" fmla="*/ 9 h 290"/>
              <a:gd name="T72" fmla="*/ 164 w 271"/>
              <a:gd name="T73" fmla="*/ 7 h 290"/>
              <a:gd name="T74" fmla="*/ 184 w 271"/>
              <a:gd name="T75" fmla="*/ 3 h 290"/>
              <a:gd name="T76" fmla="*/ 195 w 271"/>
              <a:gd name="T77" fmla="*/ 0 h 290"/>
              <a:gd name="T78" fmla="*/ 222 w 271"/>
              <a:gd name="T79" fmla="*/ 10 h 290"/>
              <a:gd name="T80" fmla="*/ 237 w 271"/>
              <a:gd name="T81" fmla="*/ 11 h 290"/>
              <a:gd name="T82" fmla="*/ 253 w 271"/>
              <a:gd name="T83" fmla="*/ 13 h 290"/>
              <a:gd name="T84" fmla="*/ 263 w 271"/>
              <a:gd name="T85" fmla="*/ 26 h 290"/>
              <a:gd name="T86" fmla="*/ 268 w 271"/>
              <a:gd name="T87" fmla="*/ 43 h 290"/>
              <a:gd name="T88" fmla="*/ 257 w 271"/>
              <a:gd name="T89" fmla="*/ 67 h 290"/>
              <a:gd name="T90" fmla="*/ 243 w 271"/>
              <a:gd name="T91" fmla="*/ 106 h 290"/>
              <a:gd name="T92" fmla="*/ 239 w 271"/>
              <a:gd name="T93" fmla="*/ 122 h 290"/>
              <a:gd name="T94" fmla="*/ 243 w 271"/>
              <a:gd name="T95" fmla="*/ 129 h 290"/>
              <a:gd name="T96" fmla="*/ 243 w 271"/>
              <a:gd name="T97" fmla="*/ 140 h 290"/>
              <a:gd name="T98" fmla="*/ 244 w 271"/>
              <a:gd name="T99" fmla="*/ 155 h 290"/>
              <a:gd name="T100" fmla="*/ 247 w 271"/>
              <a:gd name="T101" fmla="*/ 167 h 290"/>
              <a:gd name="T102" fmla="*/ 246 w 271"/>
              <a:gd name="T103" fmla="*/ 175 h 290"/>
              <a:gd name="T104" fmla="*/ 256 w 271"/>
              <a:gd name="T105" fmla="*/ 188 h 290"/>
              <a:gd name="T106" fmla="*/ 261 w 271"/>
              <a:gd name="T107" fmla="*/ 203 h 2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71" h="290">
                <a:moveTo>
                  <a:pt x="263" y="207"/>
                </a:moveTo>
                <a:lnTo>
                  <a:pt x="252" y="209"/>
                </a:lnTo>
                <a:lnTo>
                  <a:pt x="246" y="211"/>
                </a:lnTo>
                <a:lnTo>
                  <a:pt x="242" y="212"/>
                </a:lnTo>
                <a:lnTo>
                  <a:pt x="237" y="215"/>
                </a:lnTo>
                <a:lnTo>
                  <a:pt x="235" y="217"/>
                </a:lnTo>
                <a:lnTo>
                  <a:pt x="234" y="219"/>
                </a:lnTo>
                <a:lnTo>
                  <a:pt x="231" y="223"/>
                </a:lnTo>
                <a:lnTo>
                  <a:pt x="230" y="225"/>
                </a:lnTo>
                <a:lnTo>
                  <a:pt x="230" y="228"/>
                </a:lnTo>
                <a:lnTo>
                  <a:pt x="230" y="259"/>
                </a:lnTo>
                <a:lnTo>
                  <a:pt x="230" y="262"/>
                </a:lnTo>
                <a:lnTo>
                  <a:pt x="231" y="265"/>
                </a:lnTo>
                <a:lnTo>
                  <a:pt x="233" y="266"/>
                </a:lnTo>
                <a:lnTo>
                  <a:pt x="234" y="268"/>
                </a:lnTo>
                <a:lnTo>
                  <a:pt x="236" y="270"/>
                </a:lnTo>
                <a:lnTo>
                  <a:pt x="239" y="270"/>
                </a:lnTo>
                <a:lnTo>
                  <a:pt x="243" y="271"/>
                </a:lnTo>
                <a:lnTo>
                  <a:pt x="248" y="270"/>
                </a:lnTo>
                <a:lnTo>
                  <a:pt x="248" y="280"/>
                </a:lnTo>
                <a:lnTo>
                  <a:pt x="248" y="282"/>
                </a:lnTo>
                <a:lnTo>
                  <a:pt x="247" y="284"/>
                </a:lnTo>
                <a:lnTo>
                  <a:pt x="243" y="287"/>
                </a:lnTo>
                <a:lnTo>
                  <a:pt x="242" y="289"/>
                </a:lnTo>
                <a:lnTo>
                  <a:pt x="240" y="289"/>
                </a:lnTo>
                <a:lnTo>
                  <a:pt x="239" y="289"/>
                </a:lnTo>
                <a:lnTo>
                  <a:pt x="238" y="288"/>
                </a:lnTo>
                <a:lnTo>
                  <a:pt x="237" y="285"/>
                </a:lnTo>
                <a:lnTo>
                  <a:pt x="236" y="282"/>
                </a:lnTo>
                <a:lnTo>
                  <a:pt x="234" y="280"/>
                </a:lnTo>
                <a:lnTo>
                  <a:pt x="233" y="278"/>
                </a:lnTo>
                <a:lnTo>
                  <a:pt x="230" y="277"/>
                </a:lnTo>
                <a:lnTo>
                  <a:pt x="229" y="275"/>
                </a:lnTo>
                <a:lnTo>
                  <a:pt x="224" y="272"/>
                </a:lnTo>
                <a:lnTo>
                  <a:pt x="217" y="266"/>
                </a:lnTo>
                <a:lnTo>
                  <a:pt x="215" y="265"/>
                </a:lnTo>
                <a:lnTo>
                  <a:pt x="214" y="264"/>
                </a:lnTo>
                <a:lnTo>
                  <a:pt x="213" y="262"/>
                </a:lnTo>
                <a:lnTo>
                  <a:pt x="209" y="263"/>
                </a:lnTo>
                <a:lnTo>
                  <a:pt x="207" y="264"/>
                </a:lnTo>
                <a:lnTo>
                  <a:pt x="206" y="265"/>
                </a:lnTo>
                <a:lnTo>
                  <a:pt x="202" y="265"/>
                </a:lnTo>
                <a:lnTo>
                  <a:pt x="196" y="265"/>
                </a:lnTo>
                <a:lnTo>
                  <a:pt x="190" y="264"/>
                </a:lnTo>
                <a:lnTo>
                  <a:pt x="190" y="263"/>
                </a:lnTo>
                <a:lnTo>
                  <a:pt x="189" y="262"/>
                </a:lnTo>
                <a:lnTo>
                  <a:pt x="187" y="261"/>
                </a:lnTo>
                <a:lnTo>
                  <a:pt x="186" y="259"/>
                </a:lnTo>
                <a:lnTo>
                  <a:pt x="185" y="256"/>
                </a:lnTo>
                <a:lnTo>
                  <a:pt x="179" y="255"/>
                </a:lnTo>
                <a:lnTo>
                  <a:pt x="172" y="252"/>
                </a:lnTo>
                <a:lnTo>
                  <a:pt x="167" y="251"/>
                </a:lnTo>
                <a:lnTo>
                  <a:pt x="160" y="251"/>
                </a:lnTo>
                <a:lnTo>
                  <a:pt x="157" y="251"/>
                </a:lnTo>
                <a:lnTo>
                  <a:pt x="154" y="251"/>
                </a:lnTo>
                <a:lnTo>
                  <a:pt x="150" y="252"/>
                </a:lnTo>
                <a:lnTo>
                  <a:pt x="148" y="252"/>
                </a:lnTo>
                <a:lnTo>
                  <a:pt x="146" y="252"/>
                </a:lnTo>
                <a:lnTo>
                  <a:pt x="144" y="252"/>
                </a:lnTo>
                <a:lnTo>
                  <a:pt x="141" y="251"/>
                </a:lnTo>
                <a:lnTo>
                  <a:pt x="141" y="245"/>
                </a:lnTo>
                <a:lnTo>
                  <a:pt x="141" y="241"/>
                </a:lnTo>
                <a:lnTo>
                  <a:pt x="141" y="239"/>
                </a:lnTo>
                <a:lnTo>
                  <a:pt x="141" y="238"/>
                </a:lnTo>
                <a:lnTo>
                  <a:pt x="140" y="236"/>
                </a:lnTo>
                <a:lnTo>
                  <a:pt x="137" y="233"/>
                </a:lnTo>
                <a:lnTo>
                  <a:pt x="136" y="231"/>
                </a:lnTo>
                <a:lnTo>
                  <a:pt x="136" y="230"/>
                </a:lnTo>
                <a:lnTo>
                  <a:pt x="137" y="220"/>
                </a:lnTo>
                <a:lnTo>
                  <a:pt x="138" y="211"/>
                </a:lnTo>
                <a:lnTo>
                  <a:pt x="138" y="203"/>
                </a:lnTo>
                <a:lnTo>
                  <a:pt x="137" y="193"/>
                </a:lnTo>
                <a:lnTo>
                  <a:pt x="131" y="194"/>
                </a:lnTo>
                <a:lnTo>
                  <a:pt x="125" y="194"/>
                </a:lnTo>
                <a:lnTo>
                  <a:pt x="122" y="194"/>
                </a:lnTo>
                <a:lnTo>
                  <a:pt x="119" y="193"/>
                </a:lnTo>
                <a:lnTo>
                  <a:pt x="118" y="191"/>
                </a:lnTo>
                <a:lnTo>
                  <a:pt x="117" y="189"/>
                </a:lnTo>
                <a:lnTo>
                  <a:pt x="100" y="189"/>
                </a:lnTo>
                <a:lnTo>
                  <a:pt x="100" y="193"/>
                </a:lnTo>
                <a:lnTo>
                  <a:pt x="100" y="196"/>
                </a:lnTo>
                <a:lnTo>
                  <a:pt x="99" y="198"/>
                </a:lnTo>
                <a:lnTo>
                  <a:pt x="98" y="201"/>
                </a:lnTo>
                <a:lnTo>
                  <a:pt x="97" y="201"/>
                </a:lnTo>
                <a:lnTo>
                  <a:pt x="95" y="202"/>
                </a:lnTo>
                <a:lnTo>
                  <a:pt x="92" y="202"/>
                </a:lnTo>
                <a:lnTo>
                  <a:pt x="88" y="202"/>
                </a:lnTo>
                <a:lnTo>
                  <a:pt x="79" y="202"/>
                </a:lnTo>
                <a:lnTo>
                  <a:pt x="75" y="202"/>
                </a:lnTo>
                <a:lnTo>
                  <a:pt x="71" y="201"/>
                </a:lnTo>
                <a:lnTo>
                  <a:pt x="68" y="198"/>
                </a:lnTo>
                <a:lnTo>
                  <a:pt x="65" y="193"/>
                </a:lnTo>
                <a:lnTo>
                  <a:pt x="62" y="189"/>
                </a:lnTo>
                <a:lnTo>
                  <a:pt x="60" y="184"/>
                </a:lnTo>
                <a:lnTo>
                  <a:pt x="59" y="178"/>
                </a:lnTo>
                <a:lnTo>
                  <a:pt x="59" y="173"/>
                </a:lnTo>
                <a:lnTo>
                  <a:pt x="3" y="174"/>
                </a:lnTo>
                <a:lnTo>
                  <a:pt x="1" y="170"/>
                </a:lnTo>
                <a:lnTo>
                  <a:pt x="0" y="166"/>
                </a:lnTo>
                <a:lnTo>
                  <a:pt x="2" y="162"/>
                </a:lnTo>
                <a:lnTo>
                  <a:pt x="3" y="158"/>
                </a:lnTo>
                <a:lnTo>
                  <a:pt x="3" y="157"/>
                </a:lnTo>
                <a:lnTo>
                  <a:pt x="4" y="155"/>
                </a:lnTo>
                <a:lnTo>
                  <a:pt x="6" y="154"/>
                </a:lnTo>
                <a:lnTo>
                  <a:pt x="7" y="154"/>
                </a:lnTo>
                <a:lnTo>
                  <a:pt x="10" y="154"/>
                </a:lnTo>
                <a:lnTo>
                  <a:pt x="12" y="155"/>
                </a:lnTo>
                <a:lnTo>
                  <a:pt x="13" y="155"/>
                </a:lnTo>
                <a:lnTo>
                  <a:pt x="15" y="154"/>
                </a:lnTo>
                <a:lnTo>
                  <a:pt x="16" y="153"/>
                </a:lnTo>
                <a:lnTo>
                  <a:pt x="19" y="151"/>
                </a:lnTo>
                <a:lnTo>
                  <a:pt x="20" y="149"/>
                </a:lnTo>
                <a:lnTo>
                  <a:pt x="23" y="149"/>
                </a:lnTo>
                <a:lnTo>
                  <a:pt x="26" y="149"/>
                </a:lnTo>
                <a:lnTo>
                  <a:pt x="26" y="151"/>
                </a:lnTo>
                <a:lnTo>
                  <a:pt x="28" y="151"/>
                </a:lnTo>
                <a:lnTo>
                  <a:pt x="29" y="152"/>
                </a:lnTo>
                <a:lnTo>
                  <a:pt x="29" y="154"/>
                </a:lnTo>
                <a:lnTo>
                  <a:pt x="30" y="154"/>
                </a:lnTo>
                <a:lnTo>
                  <a:pt x="32" y="155"/>
                </a:lnTo>
                <a:lnTo>
                  <a:pt x="35" y="154"/>
                </a:lnTo>
                <a:lnTo>
                  <a:pt x="37" y="153"/>
                </a:lnTo>
                <a:lnTo>
                  <a:pt x="39" y="152"/>
                </a:lnTo>
                <a:lnTo>
                  <a:pt x="41" y="151"/>
                </a:lnTo>
                <a:lnTo>
                  <a:pt x="44" y="146"/>
                </a:lnTo>
                <a:lnTo>
                  <a:pt x="47" y="141"/>
                </a:lnTo>
                <a:lnTo>
                  <a:pt x="49" y="134"/>
                </a:lnTo>
                <a:lnTo>
                  <a:pt x="51" y="129"/>
                </a:lnTo>
                <a:lnTo>
                  <a:pt x="51" y="124"/>
                </a:lnTo>
                <a:lnTo>
                  <a:pt x="51" y="119"/>
                </a:lnTo>
                <a:lnTo>
                  <a:pt x="53" y="117"/>
                </a:lnTo>
                <a:lnTo>
                  <a:pt x="55" y="116"/>
                </a:lnTo>
                <a:lnTo>
                  <a:pt x="57" y="113"/>
                </a:lnTo>
                <a:lnTo>
                  <a:pt x="60" y="104"/>
                </a:lnTo>
                <a:lnTo>
                  <a:pt x="61" y="102"/>
                </a:lnTo>
                <a:lnTo>
                  <a:pt x="63" y="100"/>
                </a:lnTo>
                <a:lnTo>
                  <a:pt x="66" y="97"/>
                </a:lnTo>
                <a:lnTo>
                  <a:pt x="69" y="95"/>
                </a:lnTo>
                <a:lnTo>
                  <a:pt x="71" y="94"/>
                </a:lnTo>
                <a:lnTo>
                  <a:pt x="73" y="93"/>
                </a:lnTo>
                <a:lnTo>
                  <a:pt x="73" y="92"/>
                </a:lnTo>
                <a:lnTo>
                  <a:pt x="74" y="90"/>
                </a:lnTo>
                <a:lnTo>
                  <a:pt x="73" y="87"/>
                </a:lnTo>
                <a:lnTo>
                  <a:pt x="73" y="84"/>
                </a:lnTo>
                <a:lnTo>
                  <a:pt x="73" y="81"/>
                </a:lnTo>
                <a:lnTo>
                  <a:pt x="74" y="80"/>
                </a:lnTo>
                <a:lnTo>
                  <a:pt x="78" y="68"/>
                </a:lnTo>
                <a:lnTo>
                  <a:pt x="82" y="57"/>
                </a:lnTo>
                <a:lnTo>
                  <a:pt x="86" y="44"/>
                </a:lnTo>
                <a:lnTo>
                  <a:pt x="87" y="39"/>
                </a:lnTo>
                <a:lnTo>
                  <a:pt x="88" y="34"/>
                </a:lnTo>
                <a:lnTo>
                  <a:pt x="88" y="33"/>
                </a:lnTo>
                <a:lnTo>
                  <a:pt x="87" y="32"/>
                </a:lnTo>
                <a:lnTo>
                  <a:pt x="86" y="30"/>
                </a:lnTo>
                <a:lnTo>
                  <a:pt x="85" y="30"/>
                </a:lnTo>
                <a:lnTo>
                  <a:pt x="85" y="28"/>
                </a:lnTo>
                <a:lnTo>
                  <a:pt x="85" y="27"/>
                </a:lnTo>
                <a:lnTo>
                  <a:pt x="86" y="20"/>
                </a:lnTo>
                <a:lnTo>
                  <a:pt x="87" y="16"/>
                </a:lnTo>
                <a:lnTo>
                  <a:pt x="88" y="13"/>
                </a:lnTo>
                <a:lnTo>
                  <a:pt x="90" y="9"/>
                </a:lnTo>
                <a:lnTo>
                  <a:pt x="92" y="6"/>
                </a:lnTo>
                <a:lnTo>
                  <a:pt x="96" y="4"/>
                </a:lnTo>
                <a:lnTo>
                  <a:pt x="98" y="4"/>
                </a:lnTo>
                <a:lnTo>
                  <a:pt x="100" y="4"/>
                </a:lnTo>
                <a:lnTo>
                  <a:pt x="105" y="4"/>
                </a:lnTo>
                <a:lnTo>
                  <a:pt x="110" y="6"/>
                </a:lnTo>
                <a:lnTo>
                  <a:pt x="115" y="8"/>
                </a:lnTo>
                <a:lnTo>
                  <a:pt x="119" y="11"/>
                </a:lnTo>
                <a:lnTo>
                  <a:pt x="125" y="13"/>
                </a:lnTo>
                <a:lnTo>
                  <a:pt x="131" y="14"/>
                </a:lnTo>
                <a:lnTo>
                  <a:pt x="133" y="16"/>
                </a:lnTo>
                <a:lnTo>
                  <a:pt x="136" y="16"/>
                </a:lnTo>
                <a:lnTo>
                  <a:pt x="142" y="16"/>
                </a:lnTo>
                <a:lnTo>
                  <a:pt x="144" y="16"/>
                </a:lnTo>
                <a:lnTo>
                  <a:pt x="145" y="16"/>
                </a:lnTo>
                <a:lnTo>
                  <a:pt x="146" y="14"/>
                </a:lnTo>
                <a:lnTo>
                  <a:pt x="146" y="13"/>
                </a:lnTo>
                <a:lnTo>
                  <a:pt x="148" y="11"/>
                </a:lnTo>
                <a:lnTo>
                  <a:pt x="151" y="9"/>
                </a:lnTo>
                <a:lnTo>
                  <a:pt x="153" y="10"/>
                </a:lnTo>
                <a:lnTo>
                  <a:pt x="155" y="10"/>
                </a:lnTo>
                <a:lnTo>
                  <a:pt x="158" y="10"/>
                </a:lnTo>
                <a:lnTo>
                  <a:pt x="160" y="9"/>
                </a:lnTo>
                <a:lnTo>
                  <a:pt x="164" y="7"/>
                </a:lnTo>
                <a:lnTo>
                  <a:pt x="168" y="6"/>
                </a:lnTo>
                <a:lnTo>
                  <a:pt x="173" y="5"/>
                </a:lnTo>
                <a:lnTo>
                  <a:pt x="177" y="5"/>
                </a:lnTo>
                <a:lnTo>
                  <a:pt x="184" y="5"/>
                </a:lnTo>
                <a:lnTo>
                  <a:pt x="184" y="3"/>
                </a:lnTo>
                <a:lnTo>
                  <a:pt x="185" y="2"/>
                </a:lnTo>
                <a:lnTo>
                  <a:pt x="187" y="0"/>
                </a:lnTo>
                <a:lnTo>
                  <a:pt x="189" y="0"/>
                </a:lnTo>
                <a:lnTo>
                  <a:pt x="193" y="0"/>
                </a:lnTo>
                <a:lnTo>
                  <a:pt x="195" y="0"/>
                </a:lnTo>
                <a:lnTo>
                  <a:pt x="198" y="2"/>
                </a:lnTo>
                <a:lnTo>
                  <a:pt x="202" y="3"/>
                </a:lnTo>
                <a:lnTo>
                  <a:pt x="213" y="3"/>
                </a:lnTo>
                <a:lnTo>
                  <a:pt x="217" y="6"/>
                </a:lnTo>
                <a:lnTo>
                  <a:pt x="222" y="10"/>
                </a:lnTo>
                <a:lnTo>
                  <a:pt x="227" y="13"/>
                </a:lnTo>
                <a:lnTo>
                  <a:pt x="230" y="13"/>
                </a:lnTo>
                <a:lnTo>
                  <a:pt x="233" y="14"/>
                </a:lnTo>
                <a:lnTo>
                  <a:pt x="234" y="13"/>
                </a:lnTo>
                <a:lnTo>
                  <a:pt x="237" y="11"/>
                </a:lnTo>
                <a:lnTo>
                  <a:pt x="240" y="14"/>
                </a:lnTo>
                <a:lnTo>
                  <a:pt x="243" y="13"/>
                </a:lnTo>
                <a:lnTo>
                  <a:pt x="246" y="13"/>
                </a:lnTo>
                <a:lnTo>
                  <a:pt x="253" y="11"/>
                </a:lnTo>
                <a:lnTo>
                  <a:pt x="253" y="13"/>
                </a:lnTo>
                <a:lnTo>
                  <a:pt x="253" y="16"/>
                </a:lnTo>
                <a:lnTo>
                  <a:pt x="255" y="17"/>
                </a:lnTo>
                <a:lnTo>
                  <a:pt x="256" y="19"/>
                </a:lnTo>
                <a:lnTo>
                  <a:pt x="260" y="23"/>
                </a:lnTo>
                <a:lnTo>
                  <a:pt x="263" y="26"/>
                </a:lnTo>
                <a:lnTo>
                  <a:pt x="265" y="30"/>
                </a:lnTo>
                <a:lnTo>
                  <a:pt x="265" y="36"/>
                </a:lnTo>
                <a:lnTo>
                  <a:pt x="266" y="39"/>
                </a:lnTo>
                <a:lnTo>
                  <a:pt x="266" y="40"/>
                </a:lnTo>
                <a:lnTo>
                  <a:pt x="268" y="43"/>
                </a:lnTo>
                <a:lnTo>
                  <a:pt x="270" y="45"/>
                </a:lnTo>
                <a:lnTo>
                  <a:pt x="270" y="52"/>
                </a:lnTo>
                <a:lnTo>
                  <a:pt x="266" y="55"/>
                </a:lnTo>
                <a:lnTo>
                  <a:pt x="262" y="59"/>
                </a:lnTo>
                <a:lnTo>
                  <a:pt x="257" y="67"/>
                </a:lnTo>
                <a:lnTo>
                  <a:pt x="253" y="76"/>
                </a:lnTo>
                <a:lnTo>
                  <a:pt x="250" y="80"/>
                </a:lnTo>
                <a:lnTo>
                  <a:pt x="247" y="84"/>
                </a:lnTo>
                <a:lnTo>
                  <a:pt x="247" y="102"/>
                </a:lnTo>
                <a:lnTo>
                  <a:pt x="243" y="106"/>
                </a:lnTo>
                <a:lnTo>
                  <a:pt x="240" y="110"/>
                </a:lnTo>
                <a:lnTo>
                  <a:pt x="239" y="113"/>
                </a:lnTo>
                <a:lnTo>
                  <a:pt x="239" y="116"/>
                </a:lnTo>
                <a:lnTo>
                  <a:pt x="239" y="119"/>
                </a:lnTo>
                <a:lnTo>
                  <a:pt x="239" y="122"/>
                </a:lnTo>
                <a:lnTo>
                  <a:pt x="240" y="124"/>
                </a:lnTo>
                <a:lnTo>
                  <a:pt x="240" y="125"/>
                </a:lnTo>
                <a:lnTo>
                  <a:pt x="243" y="126"/>
                </a:lnTo>
                <a:lnTo>
                  <a:pt x="243" y="127"/>
                </a:lnTo>
                <a:lnTo>
                  <a:pt x="243" y="129"/>
                </a:lnTo>
                <a:lnTo>
                  <a:pt x="243" y="131"/>
                </a:lnTo>
                <a:lnTo>
                  <a:pt x="243" y="134"/>
                </a:lnTo>
                <a:lnTo>
                  <a:pt x="242" y="137"/>
                </a:lnTo>
                <a:lnTo>
                  <a:pt x="242" y="138"/>
                </a:lnTo>
                <a:lnTo>
                  <a:pt x="243" y="140"/>
                </a:lnTo>
                <a:lnTo>
                  <a:pt x="244" y="144"/>
                </a:lnTo>
                <a:lnTo>
                  <a:pt x="246" y="147"/>
                </a:lnTo>
                <a:lnTo>
                  <a:pt x="247" y="151"/>
                </a:lnTo>
                <a:lnTo>
                  <a:pt x="246" y="152"/>
                </a:lnTo>
                <a:lnTo>
                  <a:pt x="244" y="155"/>
                </a:lnTo>
                <a:lnTo>
                  <a:pt x="244" y="157"/>
                </a:lnTo>
                <a:lnTo>
                  <a:pt x="243" y="161"/>
                </a:lnTo>
                <a:lnTo>
                  <a:pt x="244" y="162"/>
                </a:lnTo>
                <a:lnTo>
                  <a:pt x="246" y="165"/>
                </a:lnTo>
                <a:lnTo>
                  <a:pt x="247" y="167"/>
                </a:lnTo>
                <a:lnTo>
                  <a:pt x="247" y="169"/>
                </a:lnTo>
                <a:lnTo>
                  <a:pt x="247" y="170"/>
                </a:lnTo>
                <a:lnTo>
                  <a:pt x="246" y="171"/>
                </a:lnTo>
                <a:lnTo>
                  <a:pt x="244" y="173"/>
                </a:lnTo>
                <a:lnTo>
                  <a:pt x="246" y="175"/>
                </a:lnTo>
                <a:lnTo>
                  <a:pt x="246" y="178"/>
                </a:lnTo>
                <a:lnTo>
                  <a:pt x="248" y="181"/>
                </a:lnTo>
                <a:lnTo>
                  <a:pt x="250" y="183"/>
                </a:lnTo>
                <a:lnTo>
                  <a:pt x="255" y="187"/>
                </a:lnTo>
                <a:lnTo>
                  <a:pt x="256" y="188"/>
                </a:lnTo>
                <a:lnTo>
                  <a:pt x="258" y="190"/>
                </a:lnTo>
                <a:lnTo>
                  <a:pt x="260" y="192"/>
                </a:lnTo>
                <a:lnTo>
                  <a:pt x="260" y="194"/>
                </a:lnTo>
                <a:lnTo>
                  <a:pt x="261" y="201"/>
                </a:lnTo>
                <a:lnTo>
                  <a:pt x="261" y="203"/>
                </a:lnTo>
                <a:lnTo>
                  <a:pt x="262" y="206"/>
                </a:lnTo>
                <a:lnTo>
                  <a:pt x="264" y="209"/>
                </a:lnTo>
                <a:lnTo>
                  <a:pt x="266" y="210"/>
                </a:lnTo>
                <a:lnTo>
                  <a:pt x="263" y="207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09685771-5C51-F485-3F50-A5BC45EC7DB0}"/>
              </a:ext>
            </a:extLst>
          </p:cNvPr>
          <p:cNvSpPr>
            <a:spLocks/>
          </p:cNvSpPr>
          <p:nvPr/>
        </p:nvSpPr>
        <p:spPr bwMode="auto">
          <a:xfrm>
            <a:off x="7011363" y="5138584"/>
            <a:ext cx="319088" cy="469900"/>
          </a:xfrm>
          <a:custGeom>
            <a:avLst/>
            <a:gdLst>
              <a:gd name="T0" fmla="*/ 27 w 158"/>
              <a:gd name="T1" fmla="*/ 236 h 251"/>
              <a:gd name="T2" fmla="*/ 31 w 158"/>
              <a:gd name="T3" fmla="*/ 228 h 251"/>
              <a:gd name="T4" fmla="*/ 39 w 158"/>
              <a:gd name="T5" fmla="*/ 223 h 251"/>
              <a:gd name="T6" fmla="*/ 58 w 158"/>
              <a:gd name="T7" fmla="*/ 216 h 251"/>
              <a:gd name="T8" fmla="*/ 66 w 158"/>
              <a:gd name="T9" fmla="*/ 211 h 251"/>
              <a:gd name="T10" fmla="*/ 70 w 158"/>
              <a:gd name="T11" fmla="*/ 195 h 251"/>
              <a:gd name="T12" fmla="*/ 70 w 158"/>
              <a:gd name="T13" fmla="*/ 176 h 251"/>
              <a:gd name="T14" fmla="*/ 66 w 158"/>
              <a:gd name="T15" fmla="*/ 161 h 251"/>
              <a:gd name="T16" fmla="*/ 64 w 158"/>
              <a:gd name="T17" fmla="*/ 154 h 251"/>
              <a:gd name="T18" fmla="*/ 61 w 158"/>
              <a:gd name="T19" fmla="*/ 149 h 251"/>
              <a:gd name="T20" fmla="*/ 63 w 158"/>
              <a:gd name="T21" fmla="*/ 142 h 251"/>
              <a:gd name="T22" fmla="*/ 72 w 158"/>
              <a:gd name="T23" fmla="*/ 133 h 251"/>
              <a:gd name="T24" fmla="*/ 86 w 158"/>
              <a:gd name="T25" fmla="*/ 126 h 251"/>
              <a:gd name="T26" fmla="*/ 96 w 158"/>
              <a:gd name="T27" fmla="*/ 112 h 251"/>
              <a:gd name="T28" fmla="*/ 108 w 158"/>
              <a:gd name="T29" fmla="*/ 103 h 251"/>
              <a:gd name="T30" fmla="*/ 133 w 158"/>
              <a:gd name="T31" fmla="*/ 90 h 251"/>
              <a:gd name="T32" fmla="*/ 146 w 158"/>
              <a:gd name="T33" fmla="*/ 79 h 251"/>
              <a:gd name="T34" fmla="*/ 151 w 158"/>
              <a:gd name="T35" fmla="*/ 68 h 251"/>
              <a:gd name="T36" fmla="*/ 151 w 158"/>
              <a:gd name="T37" fmla="*/ 50 h 251"/>
              <a:gd name="T38" fmla="*/ 153 w 158"/>
              <a:gd name="T39" fmla="*/ 43 h 251"/>
              <a:gd name="T40" fmla="*/ 156 w 158"/>
              <a:gd name="T41" fmla="*/ 27 h 251"/>
              <a:gd name="T42" fmla="*/ 155 w 158"/>
              <a:gd name="T43" fmla="*/ 9 h 251"/>
              <a:gd name="T44" fmla="*/ 152 w 158"/>
              <a:gd name="T45" fmla="*/ 0 h 251"/>
              <a:gd name="T46" fmla="*/ 136 w 158"/>
              <a:gd name="T47" fmla="*/ 7 h 251"/>
              <a:gd name="T48" fmla="*/ 111 w 158"/>
              <a:gd name="T49" fmla="*/ 14 h 251"/>
              <a:gd name="T50" fmla="*/ 110 w 158"/>
              <a:gd name="T51" fmla="*/ 18 h 251"/>
              <a:gd name="T52" fmla="*/ 103 w 158"/>
              <a:gd name="T53" fmla="*/ 17 h 251"/>
              <a:gd name="T54" fmla="*/ 96 w 158"/>
              <a:gd name="T55" fmla="*/ 16 h 251"/>
              <a:gd name="T56" fmla="*/ 91 w 158"/>
              <a:gd name="T57" fmla="*/ 19 h 251"/>
              <a:gd name="T58" fmla="*/ 72 w 158"/>
              <a:gd name="T59" fmla="*/ 17 h 251"/>
              <a:gd name="T60" fmla="*/ 62 w 158"/>
              <a:gd name="T61" fmla="*/ 25 h 251"/>
              <a:gd name="T62" fmla="*/ 62 w 158"/>
              <a:gd name="T63" fmla="*/ 34 h 251"/>
              <a:gd name="T64" fmla="*/ 65 w 158"/>
              <a:gd name="T65" fmla="*/ 41 h 251"/>
              <a:gd name="T66" fmla="*/ 75 w 158"/>
              <a:gd name="T67" fmla="*/ 53 h 251"/>
              <a:gd name="T68" fmla="*/ 80 w 158"/>
              <a:gd name="T69" fmla="*/ 62 h 251"/>
              <a:gd name="T70" fmla="*/ 81 w 158"/>
              <a:gd name="T71" fmla="*/ 72 h 251"/>
              <a:gd name="T72" fmla="*/ 79 w 158"/>
              <a:gd name="T73" fmla="*/ 84 h 251"/>
              <a:gd name="T74" fmla="*/ 71 w 158"/>
              <a:gd name="T75" fmla="*/ 90 h 251"/>
              <a:gd name="T76" fmla="*/ 70 w 158"/>
              <a:gd name="T77" fmla="*/ 101 h 251"/>
              <a:gd name="T78" fmla="*/ 64 w 158"/>
              <a:gd name="T79" fmla="*/ 94 h 251"/>
              <a:gd name="T80" fmla="*/ 58 w 158"/>
              <a:gd name="T81" fmla="*/ 88 h 251"/>
              <a:gd name="T82" fmla="*/ 60 w 158"/>
              <a:gd name="T83" fmla="*/ 76 h 251"/>
              <a:gd name="T84" fmla="*/ 61 w 158"/>
              <a:gd name="T85" fmla="*/ 61 h 251"/>
              <a:gd name="T86" fmla="*/ 48 w 158"/>
              <a:gd name="T87" fmla="*/ 61 h 251"/>
              <a:gd name="T88" fmla="*/ 45 w 158"/>
              <a:gd name="T89" fmla="*/ 57 h 251"/>
              <a:gd name="T90" fmla="*/ 33 w 158"/>
              <a:gd name="T91" fmla="*/ 57 h 251"/>
              <a:gd name="T92" fmla="*/ 13 w 158"/>
              <a:gd name="T93" fmla="*/ 62 h 251"/>
              <a:gd name="T94" fmla="*/ 0 w 158"/>
              <a:gd name="T95" fmla="*/ 70 h 251"/>
              <a:gd name="T96" fmla="*/ 8 w 158"/>
              <a:gd name="T97" fmla="*/ 85 h 251"/>
              <a:gd name="T98" fmla="*/ 26 w 158"/>
              <a:gd name="T99" fmla="*/ 89 h 251"/>
              <a:gd name="T100" fmla="*/ 35 w 158"/>
              <a:gd name="T101" fmla="*/ 95 h 251"/>
              <a:gd name="T102" fmla="*/ 38 w 158"/>
              <a:gd name="T103" fmla="*/ 104 h 251"/>
              <a:gd name="T104" fmla="*/ 38 w 158"/>
              <a:gd name="T105" fmla="*/ 115 h 251"/>
              <a:gd name="T106" fmla="*/ 34 w 158"/>
              <a:gd name="T107" fmla="*/ 128 h 251"/>
              <a:gd name="T108" fmla="*/ 34 w 158"/>
              <a:gd name="T109" fmla="*/ 146 h 251"/>
              <a:gd name="T110" fmla="*/ 30 w 158"/>
              <a:gd name="T111" fmla="*/ 157 h 251"/>
              <a:gd name="T112" fmla="*/ 16 w 158"/>
              <a:gd name="T113" fmla="*/ 174 h 251"/>
              <a:gd name="T114" fmla="*/ 11 w 158"/>
              <a:gd name="T115" fmla="*/ 187 h 251"/>
              <a:gd name="T116" fmla="*/ 15 w 158"/>
              <a:gd name="T117" fmla="*/ 197 h 251"/>
              <a:gd name="T118" fmla="*/ 20 w 158"/>
              <a:gd name="T119" fmla="*/ 210 h 251"/>
              <a:gd name="T120" fmla="*/ 18 w 158"/>
              <a:gd name="T121" fmla="*/ 219 h 251"/>
              <a:gd name="T122" fmla="*/ 24 w 158"/>
              <a:gd name="T123" fmla="*/ 250 h 2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8" h="251">
                <a:moveTo>
                  <a:pt x="26" y="249"/>
                </a:moveTo>
                <a:lnTo>
                  <a:pt x="27" y="241"/>
                </a:lnTo>
                <a:lnTo>
                  <a:pt x="27" y="236"/>
                </a:lnTo>
                <a:lnTo>
                  <a:pt x="29" y="233"/>
                </a:lnTo>
                <a:lnTo>
                  <a:pt x="30" y="231"/>
                </a:lnTo>
                <a:lnTo>
                  <a:pt x="31" y="228"/>
                </a:lnTo>
                <a:lnTo>
                  <a:pt x="33" y="226"/>
                </a:lnTo>
                <a:lnTo>
                  <a:pt x="36" y="224"/>
                </a:lnTo>
                <a:lnTo>
                  <a:pt x="39" y="223"/>
                </a:lnTo>
                <a:lnTo>
                  <a:pt x="45" y="220"/>
                </a:lnTo>
                <a:lnTo>
                  <a:pt x="52" y="219"/>
                </a:lnTo>
                <a:lnTo>
                  <a:pt x="58" y="216"/>
                </a:lnTo>
                <a:lnTo>
                  <a:pt x="61" y="215"/>
                </a:lnTo>
                <a:lnTo>
                  <a:pt x="63" y="213"/>
                </a:lnTo>
                <a:lnTo>
                  <a:pt x="66" y="211"/>
                </a:lnTo>
                <a:lnTo>
                  <a:pt x="66" y="209"/>
                </a:lnTo>
                <a:lnTo>
                  <a:pt x="69" y="203"/>
                </a:lnTo>
                <a:lnTo>
                  <a:pt x="70" y="195"/>
                </a:lnTo>
                <a:lnTo>
                  <a:pt x="70" y="182"/>
                </a:lnTo>
                <a:lnTo>
                  <a:pt x="70" y="179"/>
                </a:lnTo>
                <a:lnTo>
                  <a:pt x="70" y="176"/>
                </a:lnTo>
                <a:lnTo>
                  <a:pt x="69" y="171"/>
                </a:lnTo>
                <a:lnTo>
                  <a:pt x="66" y="164"/>
                </a:lnTo>
                <a:lnTo>
                  <a:pt x="66" y="161"/>
                </a:lnTo>
                <a:lnTo>
                  <a:pt x="66" y="159"/>
                </a:lnTo>
                <a:lnTo>
                  <a:pt x="66" y="155"/>
                </a:lnTo>
                <a:lnTo>
                  <a:pt x="64" y="154"/>
                </a:lnTo>
                <a:lnTo>
                  <a:pt x="62" y="153"/>
                </a:lnTo>
                <a:lnTo>
                  <a:pt x="61" y="151"/>
                </a:lnTo>
                <a:lnTo>
                  <a:pt x="61" y="149"/>
                </a:lnTo>
                <a:lnTo>
                  <a:pt x="61" y="146"/>
                </a:lnTo>
                <a:lnTo>
                  <a:pt x="62" y="144"/>
                </a:lnTo>
                <a:lnTo>
                  <a:pt x="63" y="142"/>
                </a:lnTo>
                <a:lnTo>
                  <a:pt x="66" y="138"/>
                </a:lnTo>
                <a:lnTo>
                  <a:pt x="70" y="135"/>
                </a:lnTo>
                <a:lnTo>
                  <a:pt x="72" y="133"/>
                </a:lnTo>
                <a:lnTo>
                  <a:pt x="76" y="131"/>
                </a:lnTo>
                <a:lnTo>
                  <a:pt x="83" y="128"/>
                </a:lnTo>
                <a:lnTo>
                  <a:pt x="86" y="126"/>
                </a:lnTo>
                <a:lnTo>
                  <a:pt x="88" y="124"/>
                </a:lnTo>
                <a:lnTo>
                  <a:pt x="92" y="118"/>
                </a:lnTo>
                <a:lnTo>
                  <a:pt x="96" y="112"/>
                </a:lnTo>
                <a:lnTo>
                  <a:pt x="98" y="110"/>
                </a:lnTo>
                <a:lnTo>
                  <a:pt x="101" y="108"/>
                </a:lnTo>
                <a:lnTo>
                  <a:pt x="108" y="103"/>
                </a:lnTo>
                <a:lnTo>
                  <a:pt x="116" y="98"/>
                </a:lnTo>
                <a:lnTo>
                  <a:pt x="125" y="95"/>
                </a:lnTo>
                <a:lnTo>
                  <a:pt x="133" y="90"/>
                </a:lnTo>
                <a:lnTo>
                  <a:pt x="140" y="85"/>
                </a:lnTo>
                <a:lnTo>
                  <a:pt x="143" y="82"/>
                </a:lnTo>
                <a:lnTo>
                  <a:pt x="146" y="79"/>
                </a:lnTo>
                <a:lnTo>
                  <a:pt x="148" y="75"/>
                </a:lnTo>
                <a:lnTo>
                  <a:pt x="150" y="72"/>
                </a:lnTo>
                <a:lnTo>
                  <a:pt x="151" y="68"/>
                </a:lnTo>
                <a:lnTo>
                  <a:pt x="151" y="63"/>
                </a:lnTo>
                <a:lnTo>
                  <a:pt x="151" y="55"/>
                </a:lnTo>
                <a:lnTo>
                  <a:pt x="151" y="50"/>
                </a:lnTo>
                <a:lnTo>
                  <a:pt x="152" y="47"/>
                </a:lnTo>
                <a:lnTo>
                  <a:pt x="152" y="44"/>
                </a:lnTo>
                <a:lnTo>
                  <a:pt x="153" y="43"/>
                </a:lnTo>
                <a:lnTo>
                  <a:pt x="155" y="41"/>
                </a:lnTo>
                <a:lnTo>
                  <a:pt x="157" y="40"/>
                </a:lnTo>
                <a:lnTo>
                  <a:pt x="156" y="27"/>
                </a:lnTo>
                <a:lnTo>
                  <a:pt x="155" y="18"/>
                </a:lnTo>
                <a:lnTo>
                  <a:pt x="155" y="13"/>
                </a:lnTo>
                <a:lnTo>
                  <a:pt x="155" y="9"/>
                </a:lnTo>
                <a:lnTo>
                  <a:pt x="155" y="5"/>
                </a:lnTo>
                <a:lnTo>
                  <a:pt x="157" y="0"/>
                </a:lnTo>
                <a:lnTo>
                  <a:pt x="152" y="0"/>
                </a:lnTo>
                <a:lnTo>
                  <a:pt x="148" y="1"/>
                </a:lnTo>
                <a:lnTo>
                  <a:pt x="143" y="4"/>
                </a:lnTo>
                <a:lnTo>
                  <a:pt x="136" y="7"/>
                </a:lnTo>
                <a:lnTo>
                  <a:pt x="130" y="9"/>
                </a:lnTo>
                <a:lnTo>
                  <a:pt x="118" y="12"/>
                </a:lnTo>
                <a:lnTo>
                  <a:pt x="111" y="14"/>
                </a:lnTo>
                <a:lnTo>
                  <a:pt x="110" y="16"/>
                </a:lnTo>
                <a:lnTo>
                  <a:pt x="110" y="17"/>
                </a:lnTo>
                <a:lnTo>
                  <a:pt x="110" y="18"/>
                </a:lnTo>
                <a:lnTo>
                  <a:pt x="106" y="18"/>
                </a:lnTo>
                <a:lnTo>
                  <a:pt x="105" y="17"/>
                </a:lnTo>
                <a:lnTo>
                  <a:pt x="103" y="17"/>
                </a:lnTo>
                <a:lnTo>
                  <a:pt x="101" y="16"/>
                </a:lnTo>
                <a:lnTo>
                  <a:pt x="99" y="16"/>
                </a:lnTo>
                <a:lnTo>
                  <a:pt x="96" y="16"/>
                </a:lnTo>
                <a:lnTo>
                  <a:pt x="96" y="17"/>
                </a:lnTo>
                <a:lnTo>
                  <a:pt x="93" y="18"/>
                </a:lnTo>
                <a:lnTo>
                  <a:pt x="91" y="19"/>
                </a:lnTo>
                <a:lnTo>
                  <a:pt x="84" y="18"/>
                </a:lnTo>
                <a:lnTo>
                  <a:pt x="78" y="18"/>
                </a:lnTo>
                <a:lnTo>
                  <a:pt x="72" y="17"/>
                </a:lnTo>
                <a:lnTo>
                  <a:pt x="66" y="17"/>
                </a:lnTo>
                <a:lnTo>
                  <a:pt x="63" y="23"/>
                </a:lnTo>
                <a:lnTo>
                  <a:pt x="62" y="25"/>
                </a:lnTo>
                <a:lnTo>
                  <a:pt x="62" y="26"/>
                </a:lnTo>
                <a:lnTo>
                  <a:pt x="62" y="31"/>
                </a:lnTo>
                <a:lnTo>
                  <a:pt x="62" y="34"/>
                </a:lnTo>
                <a:lnTo>
                  <a:pt x="63" y="36"/>
                </a:lnTo>
                <a:lnTo>
                  <a:pt x="64" y="39"/>
                </a:lnTo>
                <a:lnTo>
                  <a:pt x="65" y="41"/>
                </a:lnTo>
                <a:lnTo>
                  <a:pt x="69" y="45"/>
                </a:lnTo>
                <a:lnTo>
                  <a:pt x="71" y="49"/>
                </a:lnTo>
                <a:lnTo>
                  <a:pt x="75" y="53"/>
                </a:lnTo>
                <a:lnTo>
                  <a:pt x="79" y="57"/>
                </a:lnTo>
                <a:lnTo>
                  <a:pt x="80" y="59"/>
                </a:lnTo>
                <a:lnTo>
                  <a:pt x="80" y="62"/>
                </a:lnTo>
                <a:lnTo>
                  <a:pt x="81" y="64"/>
                </a:lnTo>
                <a:lnTo>
                  <a:pt x="81" y="67"/>
                </a:lnTo>
                <a:lnTo>
                  <a:pt x="81" y="72"/>
                </a:lnTo>
                <a:lnTo>
                  <a:pt x="81" y="75"/>
                </a:lnTo>
                <a:lnTo>
                  <a:pt x="80" y="80"/>
                </a:lnTo>
                <a:lnTo>
                  <a:pt x="79" y="84"/>
                </a:lnTo>
                <a:lnTo>
                  <a:pt x="76" y="85"/>
                </a:lnTo>
                <a:lnTo>
                  <a:pt x="72" y="88"/>
                </a:lnTo>
                <a:lnTo>
                  <a:pt x="71" y="90"/>
                </a:lnTo>
                <a:lnTo>
                  <a:pt x="70" y="93"/>
                </a:lnTo>
                <a:lnTo>
                  <a:pt x="70" y="95"/>
                </a:lnTo>
                <a:lnTo>
                  <a:pt x="70" y="101"/>
                </a:lnTo>
                <a:lnTo>
                  <a:pt x="70" y="98"/>
                </a:lnTo>
                <a:lnTo>
                  <a:pt x="67" y="97"/>
                </a:lnTo>
                <a:lnTo>
                  <a:pt x="64" y="94"/>
                </a:lnTo>
                <a:lnTo>
                  <a:pt x="62" y="92"/>
                </a:lnTo>
                <a:lnTo>
                  <a:pt x="60" y="90"/>
                </a:lnTo>
                <a:lnTo>
                  <a:pt x="58" y="88"/>
                </a:lnTo>
                <a:lnTo>
                  <a:pt x="58" y="85"/>
                </a:lnTo>
                <a:lnTo>
                  <a:pt x="59" y="81"/>
                </a:lnTo>
                <a:lnTo>
                  <a:pt x="60" y="76"/>
                </a:lnTo>
                <a:lnTo>
                  <a:pt x="61" y="72"/>
                </a:lnTo>
                <a:lnTo>
                  <a:pt x="62" y="69"/>
                </a:lnTo>
                <a:lnTo>
                  <a:pt x="61" y="61"/>
                </a:lnTo>
                <a:lnTo>
                  <a:pt x="56" y="62"/>
                </a:lnTo>
                <a:lnTo>
                  <a:pt x="51" y="62"/>
                </a:lnTo>
                <a:lnTo>
                  <a:pt x="48" y="61"/>
                </a:lnTo>
                <a:lnTo>
                  <a:pt x="47" y="59"/>
                </a:lnTo>
                <a:lnTo>
                  <a:pt x="46" y="59"/>
                </a:lnTo>
                <a:lnTo>
                  <a:pt x="45" y="57"/>
                </a:lnTo>
                <a:lnTo>
                  <a:pt x="44" y="54"/>
                </a:lnTo>
                <a:lnTo>
                  <a:pt x="38" y="54"/>
                </a:lnTo>
                <a:lnTo>
                  <a:pt x="33" y="57"/>
                </a:lnTo>
                <a:lnTo>
                  <a:pt x="29" y="59"/>
                </a:lnTo>
                <a:lnTo>
                  <a:pt x="18" y="62"/>
                </a:lnTo>
                <a:lnTo>
                  <a:pt x="13" y="62"/>
                </a:lnTo>
                <a:lnTo>
                  <a:pt x="9" y="64"/>
                </a:lnTo>
                <a:lnTo>
                  <a:pt x="4" y="67"/>
                </a:lnTo>
                <a:lnTo>
                  <a:pt x="0" y="70"/>
                </a:lnTo>
                <a:lnTo>
                  <a:pt x="0" y="76"/>
                </a:lnTo>
                <a:lnTo>
                  <a:pt x="2" y="84"/>
                </a:lnTo>
                <a:lnTo>
                  <a:pt x="8" y="85"/>
                </a:lnTo>
                <a:lnTo>
                  <a:pt x="15" y="85"/>
                </a:lnTo>
                <a:lnTo>
                  <a:pt x="20" y="86"/>
                </a:lnTo>
                <a:lnTo>
                  <a:pt x="26" y="89"/>
                </a:lnTo>
                <a:lnTo>
                  <a:pt x="31" y="92"/>
                </a:lnTo>
                <a:lnTo>
                  <a:pt x="33" y="94"/>
                </a:lnTo>
                <a:lnTo>
                  <a:pt x="35" y="95"/>
                </a:lnTo>
                <a:lnTo>
                  <a:pt x="36" y="98"/>
                </a:lnTo>
                <a:lnTo>
                  <a:pt x="36" y="101"/>
                </a:lnTo>
                <a:lnTo>
                  <a:pt x="38" y="104"/>
                </a:lnTo>
                <a:lnTo>
                  <a:pt x="38" y="108"/>
                </a:lnTo>
                <a:lnTo>
                  <a:pt x="38" y="111"/>
                </a:lnTo>
                <a:lnTo>
                  <a:pt x="38" y="115"/>
                </a:lnTo>
                <a:lnTo>
                  <a:pt x="36" y="120"/>
                </a:lnTo>
                <a:lnTo>
                  <a:pt x="35" y="125"/>
                </a:lnTo>
                <a:lnTo>
                  <a:pt x="34" y="128"/>
                </a:lnTo>
                <a:lnTo>
                  <a:pt x="34" y="132"/>
                </a:lnTo>
                <a:lnTo>
                  <a:pt x="34" y="141"/>
                </a:lnTo>
                <a:lnTo>
                  <a:pt x="34" y="146"/>
                </a:lnTo>
                <a:lnTo>
                  <a:pt x="33" y="149"/>
                </a:lnTo>
                <a:lnTo>
                  <a:pt x="32" y="154"/>
                </a:lnTo>
                <a:lnTo>
                  <a:pt x="30" y="157"/>
                </a:lnTo>
                <a:lnTo>
                  <a:pt x="29" y="161"/>
                </a:lnTo>
                <a:lnTo>
                  <a:pt x="26" y="164"/>
                </a:lnTo>
                <a:lnTo>
                  <a:pt x="16" y="174"/>
                </a:lnTo>
                <a:lnTo>
                  <a:pt x="12" y="179"/>
                </a:lnTo>
                <a:lnTo>
                  <a:pt x="10" y="182"/>
                </a:lnTo>
                <a:lnTo>
                  <a:pt x="11" y="187"/>
                </a:lnTo>
                <a:lnTo>
                  <a:pt x="12" y="190"/>
                </a:lnTo>
                <a:lnTo>
                  <a:pt x="13" y="193"/>
                </a:lnTo>
                <a:lnTo>
                  <a:pt x="15" y="197"/>
                </a:lnTo>
                <a:lnTo>
                  <a:pt x="17" y="202"/>
                </a:lnTo>
                <a:lnTo>
                  <a:pt x="18" y="206"/>
                </a:lnTo>
                <a:lnTo>
                  <a:pt x="20" y="210"/>
                </a:lnTo>
                <a:lnTo>
                  <a:pt x="20" y="213"/>
                </a:lnTo>
                <a:lnTo>
                  <a:pt x="18" y="216"/>
                </a:lnTo>
                <a:lnTo>
                  <a:pt x="18" y="219"/>
                </a:lnTo>
                <a:lnTo>
                  <a:pt x="16" y="222"/>
                </a:lnTo>
                <a:lnTo>
                  <a:pt x="16" y="250"/>
                </a:lnTo>
                <a:lnTo>
                  <a:pt x="24" y="250"/>
                </a:lnTo>
                <a:lnTo>
                  <a:pt x="26" y="249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30" name="Freeform 29">
            <a:extLst>
              <a:ext uri="{FF2B5EF4-FFF2-40B4-BE49-F238E27FC236}">
                <a16:creationId xmlns:a16="http://schemas.microsoft.com/office/drawing/2014/main" id="{4D4FE7E1-EAD8-532D-ED4A-5BA39FFC274D}"/>
              </a:ext>
            </a:extLst>
          </p:cNvPr>
          <p:cNvSpPr>
            <a:spLocks/>
          </p:cNvSpPr>
          <p:nvPr/>
        </p:nvSpPr>
        <p:spPr bwMode="auto">
          <a:xfrm>
            <a:off x="6606550" y="5468784"/>
            <a:ext cx="463550" cy="368300"/>
          </a:xfrm>
          <a:custGeom>
            <a:avLst/>
            <a:gdLst>
              <a:gd name="T0" fmla="*/ 225 w 230"/>
              <a:gd name="T1" fmla="*/ 79 h 197"/>
              <a:gd name="T2" fmla="*/ 229 w 230"/>
              <a:gd name="T3" fmla="*/ 83 h 197"/>
              <a:gd name="T4" fmla="*/ 229 w 230"/>
              <a:gd name="T5" fmla="*/ 91 h 197"/>
              <a:gd name="T6" fmla="*/ 225 w 230"/>
              <a:gd name="T7" fmla="*/ 96 h 197"/>
              <a:gd name="T8" fmla="*/ 216 w 230"/>
              <a:gd name="T9" fmla="*/ 102 h 197"/>
              <a:gd name="T10" fmla="*/ 208 w 230"/>
              <a:gd name="T11" fmla="*/ 107 h 197"/>
              <a:gd name="T12" fmla="*/ 196 w 230"/>
              <a:gd name="T13" fmla="*/ 123 h 197"/>
              <a:gd name="T14" fmla="*/ 177 w 230"/>
              <a:gd name="T15" fmla="*/ 149 h 197"/>
              <a:gd name="T16" fmla="*/ 166 w 230"/>
              <a:gd name="T17" fmla="*/ 161 h 197"/>
              <a:gd name="T18" fmla="*/ 154 w 230"/>
              <a:gd name="T19" fmla="*/ 169 h 197"/>
              <a:gd name="T20" fmla="*/ 138 w 230"/>
              <a:gd name="T21" fmla="*/ 174 h 197"/>
              <a:gd name="T22" fmla="*/ 126 w 230"/>
              <a:gd name="T23" fmla="*/ 178 h 197"/>
              <a:gd name="T24" fmla="*/ 112 w 230"/>
              <a:gd name="T25" fmla="*/ 185 h 197"/>
              <a:gd name="T26" fmla="*/ 88 w 230"/>
              <a:gd name="T27" fmla="*/ 183 h 197"/>
              <a:gd name="T28" fmla="*/ 72 w 230"/>
              <a:gd name="T29" fmla="*/ 185 h 197"/>
              <a:gd name="T30" fmla="*/ 68 w 230"/>
              <a:gd name="T31" fmla="*/ 190 h 197"/>
              <a:gd name="T32" fmla="*/ 55 w 230"/>
              <a:gd name="T33" fmla="*/ 189 h 197"/>
              <a:gd name="T34" fmla="*/ 49 w 230"/>
              <a:gd name="T35" fmla="*/ 191 h 197"/>
              <a:gd name="T36" fmla="*/ 32 w 230"/>
              <a:gd name="T37" fmla="*/ 190 h 197"/>
              <a:gd name="T38" fmla="*/ 19 w 230"/>
              <a:gd name="T39" fmla="*/ 176 h 197"/>
              <a:gd name="T40" fmla="*/ 17 w 230"/>
              <a:gd name="T41" fmla="*/ 167 h 197"/>
              <a:gd name="T42" fmla="*/ 19 w 230"/>
              <a:gd name="T43" fmla="*/ 164 h 197"/>
              <a:gd name="T44" fmla="*/ 22 w 230"/>
              <a:gd name="T45" fmla="*/ 154 h 197"/>
              <a:gd name="T46" fmla="*/ 17 w 230"/>
              <a:gd name="T47" fmla="*/ 145 h 197"/>
              <a:gd name="T48" fmla="*/ 13 w 230"/>
              <a:gd name="T49" fmla="*/ 137 h 197"/>
              <a:gd name="T50" fmla="*/ 9 w 230"/>
              <a:gd name="T51" fmla="*/ 122 h 197"/>
              <a:gd name="T52" fmla="*/ 4 w 230"/>
              <a:gd name="T53" fmla="*/ 109 h 197"/>
              <a:gd name="T54" fmla="*/ 1 w 230"/>
              <a:gd name="T55" fmla="*/ 100 h 197"/>
              <a:gd name="T56" fmla="*/ 5 w 230"/>
              <a:gd name="T57" fmla="*/ 96 h 197"/>
              <a:gd name="T58" fmla="*/ 10 w 230"/>
              <a:gd name="T59" fmla="*/ 97 h 197"/>
              <a:gd name="T60" fmla="*/ 15 w 230"/>
              <a:gd name="T61" fmla="*/ 102 h 197"/>
              <a:gd name="T62" fmla="*/ 22 w 230"/>
              <a:gd name="T63" fmla="*/ 106 h 197"/>
              <a:gd name="T64" fmla="*/ 36 w 230"/>
              <a:gd name="T65" fmla="*/ 105 h 197"/>
              <a:gd name="T66" fmla="*/ 45 w 230"/>
              <a:gd name="T67" fmla="*/ 98 h 197"/>
              <a:gd name="T68" fmla="*/ 54 w 230"/>
              <a:gd name="T69" fmla="*/ 46 h 197"/>
              <a:gd name="T70" fmla="*/ 62 w 230"/>
              <a:gd name="T71" fmla="*/ 57 h 197"/>
              <a:gd name="T72" fmla="*/ 62 w 230"/>
              <a:gd name="T73" fmla="*/ 65 h 197"/>
              <a:gd name="T74" fmla="*/ 58 w 230"/>
              <a:gd name="T75" fmla="*/ 74 h 197"/>
              <a:gd name="T76" fmla="*/ 80 w 230"/>
              <a:gd name="T77" fmla="*/ 69 h 197"/>
              <a:gd name="T78" fmla="*/ 94 w 230"/>
              <a:gd name="T79" fmla="*/ 53 h 197"/>
              <a:gd name="T80" fmla="*/ 99 w 230"/>
              <a:gd name="T81" fmla="*/ 50 h 197"/>
              <a:gd name="T82" fmla="*/ 107 w 230"/>
              <a:gd name="T83" fmla="*/ 53 h 197"/>
              <a:gd name="T84" fmla="*/ 114 w 230"/>
              <a:gd name="T85" fmla="*/ 57 h 197"/>
              <a:gd name="T86" fmla="*/ 124 w 230"/>
              <a:gd name="T87" fmla="*/ 57 h 197"/>
              <a:gd name="T88" fmla="*/ 130 w 230"/>
              <a:gd name="T89" fmla="*/ 49 h 197"/>
              <a:gd name="T90" fmla="*/ 134 w 230"/>
              <a:gd name="T91" fmla="*/ 42 h 197"/>
              <a:gd name="T92" fmla="*/ 141 w 230"/>
              <a:gd name="T93" fmla="*/ 39 h 197"/>
              <a:gd name="T94" fmla="*/ 153 w 230"/>
              <a:gd name="T95" fmla="*/ 26 h 197"/>
              <a:gd name="T96" fmla="*/ 174 w 230"/>
              <a:gd name="T97" fmla="*/ 5 h 197"/>
              <a:gd name="T98" fmla="*/ 184 w 230"/>
              <a:gd name="T99" fmla="*/ 0 h 197"/>
              <a:gd name="T100" fmla="*/ 194 w 230"/>
              <a:gd name="T101" fmla="*/ 1 h 197"/>
              <a:gd name="T102" fmla="*/ 208 w 230"/>
              <a:gd name="T103" fmla="*/ 6 h 197"/>
              <a:gd name="T104" fmla="*/ 213 w 230"/>
              <a:gd name="T105" fmla="*/ 14 h 197"/>
              <a:gd name="T106" fmla="*/ 219 w 230"/>
              <a:gd name="T107" fmla="*/ 26 h 197"/>
              <a:gd name="T108" fmla="*/ 221 w 230"/>
              <a:gd name="T109" fmla="*/ 37 h 197"/>
              <a:gd name="T110" fmla="*/ 218 w 230"/>
              <a:gd name="T111" fmla="*/ 46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30" h="197">
                <a:moveTo>
                  <a:pt x="227" y="73"/>
                </a:moveTo>
                <a:lnTo>
                  <a:pt x="225" y="78"/>
                </a:lnTo>
                <a:lnTo>
                  <a:pt x="225" y="79"/>
                </a:lnTo>
                <a:lnTo>
                  <a:pt x="226" y="79"/>
                </a:lnTo>
                <a:lnTo>
                  <a:pt x="227" y="82"/>
                </a:lnTo>
                <a:lnTo>
                  <a:pt x="229" y="83"/>
                </a:lnTo>
                <a:lnTo>
                  <a:pt x="229" y="85"/>
                </a:lnTo>
                <a:lnTo>
                  <a:pt x="229" y="86"/>
                </a:lnTo>
                <a:lnTo>
                  <a:pt x="229" y="91"/>
                </a:lnTo>
                <a:lnTo>
                  <a:pt x="228" y="93"/>
                </a:lnTo>
                <a:lnTo>
                  <a:pt x="227" y="93"/>
                </a:lnTo>
                <a:lnTo>
                  <a:pt x="225" y="96"/>
                </a:lnTo>
                <a:lnTo>
                  <a:pt x="222" y="99"/>
                </a:lnTo>
                <a:lnTo>
                  <a:pt x="219" y="101"/>
                </a:lnTo>
                <a:lnTo>
                  <a:pt x="216" y="102"/>
                </a:lnTo>
                <a:lnTo>
                  <a:pt x="213" y="104"/>
                </a:lnTo>
                <a:lnTo>
                  <a:pt x="210" y="106"/>
                </a:lnTo>
                <a:lnTo>
                  <a:pt x="208" y="107"/>
                </a:lnTo>
                <a:lnTo>
                  <a:pt x="206" y="109"/>
                </a:lnTo>
                <a:lnTo>
                  <a:pt x="202" y="114"/>
                </a:lnTo>
                <a:lnTo>
                  <a:pt x="196" y="123"/>
                </a:lnTo>
                <a:lnTo>
                  <a:pt x="190" y="132"/>
                </a:lnTo>
                <a:lnTo>
                  <a:pt x="184" y="141"/>
                </a:lnTo>
                <a:lnTo>
                  <a:pt x="177" y="149"/>
                </a:lnTo>
                <a:lnTo>
                  <a:pt x="170" y="158"/>
                </a:lnTo>
                <a:lnTo>
                  <a:pt x="169" y="159"/>
                </a:lnTo>
                <a:lnTo>
                  <a:pt x="166" y="161"/>
                </a:lnTo>
                <a:lnTo>
                  <a:pt x="162" y="164"/>
                </a:lnTo>
                <a:lnTo>
                  <a:pt x="159" y="167"/>
                </a:lnTo>
                <a:lnTo>
                  <a:pt x="154" y="169"/>
                </a:lnTo>
                <a:lnTo>
                  <a:pt x="150" y="172"/>
                </a:lnTo>
                <a:lnTo>
                  <a:pt x="146" y="173"/>
                </a:lnTo>
                <a:lnTo>
                  <a:pt x="138" y="174"/>
                </a:lnTo>
                <a:lnTo>
                  <a:pt x="134" y="176"/>
                </a:lnTo>
                <a:lnTo>
                  <a:pt x="130" y="176"/>
                </a:lnTo>
                <a:lnTo>
                  <a:pt x="126" y="178"/>
                </a:lnTo>
                <a:lnTo>
                  <a:pt x="123" y="181"/>
                </a:lnTo>
                <a:lnTo>
                  <a:pt x="117" y="183"/>
                </a:lnTo>
                <a:lnTo>
                  <a:pt x="112" y="185"/>
                </a:lnTo>
                <a:lnTo>
                  <a:pt x="107" y="186"/>
                </a:lnTo>
                <a:lnTo>
                  <a:pt x="101" y="186"/>
                </a:lnTo>
                <a:lnTo>
                  <a:pt x="88" y="183"/>
                </a:lnTo>
                <a:lnTo>
                  <a:pt x="81" y="182"/>
                </a:lnTo>
                <a:lnTo>
                  <a:pt x="73" y="182"/>
                </a:lnTo>
                <a:lnTo>
                  <a:pt x="72" y="185"/>
                </a:lnTo>
                <a:lnTo>
                  <a:pt x="71" y="186"/>
                </a:lnTo>
                <a:lnTo>
                  <a:pt x="70" y="187"/>
                </a:lnTo>
                <a:lnTo>
                  <a:pt x="68" y="190"/>
                </a:lnTo>
                <a:lnTo>
                  <a:pt x="63" y="189"/>
                </a:lnTo>
                <a:lnTo>
                  <a:pt x="59" y="189"/>
                </a:lnTo>
                <a:lnTo>
                  <a:pt x="55" y="189"/>
                </a:lnTo>
                <a:lnTo>
                  <a:pt x="53" y="190"/>
                </a:lnTo>
                <a:lnTo>
                  <a:pt x="52" y="190"/>
                </a:lnTo>
                <a:lnTo>
                  <a:pt x="49" y="191"/>
                </a:lnTo>
                <a:lnTo>
                  <a:pt x="45" y="192"/>
                </a:lnTo>
                <a:lnTo>
                  <a:pt x="40" y="196"/>
                </a:lnTo>
                <a:lnTo>
                  <a:pt x="32" y="190"/>
                </a:lnTo>
                <a:lnTo>
                  <a:pt x="24" y="182"/>
                </a:lnTo>
                <a:lnTo>
                  <a:pt x="22" y="179"/>
                </a:lnTo>
                <a:lnTo>
                  <a:pt x="19" y="176"/>
                </a:lnTo>
                <a:lnTo>
                  <a:pt x="17" y="172"/>
                </a:lnTo>
                <a:lnTo>
                  <a:pt x="17" y="168"/>
                </a:lnTo>
                <a:lnTo>
                  <a:pt x="17" y="167"/>
                </a:lnTo>
                <a:lnTo>
                  <a:pt x="17" y="166"/>
                </a:lnTo>
                <a:lnTo>
                  <a:pt x="17" y="168"/>
                </a:lnTo>
                <a:lnTo>
                  <a:pt x="19" y="164"/>
                </a:lnTo>
                <a:lnTo>
                  <a:pt x="19" y="161"/>
                </a:lnTo>
                <a:lnTo>
                  <a:pt x="21" y="158"/>
                </a:lnTo>
                <a:lnTo>
                  <a:pt x="22" y="154"/>
                </a:lnTo>
                <a:lnTo>
                  <a:pt x="21" y="151"/>
                </a:lnTo>
                <a:lnTo>
                  <a:pt x="19" y="149"/>
                </a:lnTo>
                <a:lnTo>
                  <a:pt x="17" y="145"/>
                </a:lnTo>
                <a:lnTo>
                  <a:pt x="13" y="141"/>
                </a:lnTo>
                <a:lnTo>
                  <a:pt x="13" y="139"/>
                </a:lnTo>
                <a:lnTo>
                  <a:pt x="13" y="137"/>
                </a:lnTo>
                <a:lnTo>
                  <a:pt x="13" y="132"/>
                </a:lnTo>
                <a:lnTo>
                  <a:pt x="12" y="126"/>
                </a:lnTo>
                <a:lnTo>
                  <a:pt x="9" y="122"/>
                </a:lnTo>
                <a:lnTo>
                  <a:pt x="9" y="116"/>
                </a:lnTo>
                <a:lnTo>
                  <a:pt x="6" y="113"/>
                </a:lnTo>
                <a:lnTo>
                  <a:pt x="4" y="109"/>
                </a:lnTo>
                <a:lnTo>
                  <a:pt x="1" y="106"/>
                </a:lnTo>
                <a:lnTo>
                  <a:pt x="0" y="102"/>
                </a:lnTo>
                <a:lnTo>
                  <a:pt x="1" y="100"/>
                </a:lnTo>
                <a:lnTo>
                  <a:pt x="3" y="97"/>
                </a:lnTo>
                <a:lnTo>
                  <a:pt x="4" y="96"/>
                </a:lnTo>
                <a:lnTo>
                  <a:pt x="5" y="96"/>
                </a:lnTo>
                <a:lnTo>
                  <a:pt x="7" y="95"/>
                </a:lnTo>
                <a:lnTo>
                  <a:pt x="9" y="95"/>
                </a:lnTo>
                <a:lnTo>
                  <a:pt x="10" y="97"/>
                </a:lnTo>
                <a:lnTo>
                  <a:pt x="13" y="100"/>
                </a:lnTo>
                <a:lnTo>
                  <a:pt x="14" y="102"/>
                </a:lnTo>
                <a:lnTo>
                  <a:pt x="15" y="102"/>
                </a:lnTo>
                <a:lnTo>
                  <a:pt x="16" y="104"/>
                </a:lnTo>
                <a:lnTo>
                  <a:pt x="19" y="105"/>
                </a:lnTo>
                <a:lnTo>
                  <a:pt x="22" y="106"/>
                </a:lnTo>
                <a:lnTo>
                  <a:pt x="29" y="106"/>
                </a:lnTo>
                <a:lnTo>
                  <a:pt x="32" y="106"/>
                </a:lnTo>
                <a:lnTo>
                  <a:pt x="36" y="105"/>
                </a:lnTo>
                <a:lnTo>
                  <a:pt x="39" y="104"/>
                </a:lnTo>
                <a:lnTo>
                  <a:pt x="41" y="102"/>
                </a:lnTo>
                <a:lnTo>
                  <a:pt x="45" y="98"/>
                </a:lnTo>
                <a:lnTo>
                  <a:pt x="49" y="96"/>
                </a:lnTo>
                <a:lnTo>
                  <a:pt x="49" y="44"/>
                </a:lnTo>
                <a:lnTo>
                  <a:pt x="54" y="46"/>
                </a:lnTo>
                <a:lnTo>
                  <a:pt x="59" y="53"/>
                </a:lnTo>
                <a:lnTo>
                  <a:pt x="61" y="56"/>
                </a:lnTo>
                <a:lnTo>
                  <a:pt x="62" y="57"/>
                </a:lnTo>
                <a:lnTo>
                  <a:pt x="62" y="59"/>
                </a:lnTo>
                <a:lnTo>
                  <a:pt x="62" y="61"/>
                </a:lnTo>
                <a:lnTo>
                  <a:pt x="62" y="65"/>
                </a:lnTo>
                <a:lnTo>
                  <a:pt x="61" y="68"/>
                </a:lnTo>
                <a:lnTo>
                  <a:pt x="59" y="71"/>
                </a:lnTo>
                <a:lnTo>
                  <a:pt x="58" y="74"/>
                </a:lnTo>
                <a:lnTo>
                  <a:pt x="73" y="74"/>
                </a:lnTo>
                <a:lnTo>
                  <a:pt x="76" y="73"/>
                </a:lnTo>
                <a:lnTo>
                  <a:pt x="80" y="69"/>
                </a:lnTo>
                <a:lnTo>
                  <a:pt x="88" y="60"/>
                </a:lnTo>
                <a:lnTo>
                  <a:pt x="91" y="56"/>
                </a:lnTo>
                <a:lnTo>
                  <a:pt x="94" y="53"/>
                </a:lnTo>
                <a:lnTo>
                  <a:pt x="97" y="51"/>
                </a:lnTo>
                <a:lnTo>
                  <a:pt x="98" y="50"/>
                </a:lnTo>
                <a:lnTo>
                  <a:pt x="99" y="50"/>
                </a:lnTo>
                <a:lnTo>
                  <a:pt x="101" y="50"/>
                </a:lnTo>
                <a:lnTo>
                  <a:pt x="104" y="51"/>
                </a:lnTo>
                <a:lnTo>
                  <a:pt x="107" y="53"/>
                </a:lnTo>
                <a:lnTo>
                  <a:pt x="110" y="56"/>
                </a:lnTo>
                <a:lnTo>
                  <a:pt x="111" y="56"/>
                </a:lnTo>
                <a:lnTo>
                  <a:pt x="114" y="57"/>
                </a:lnTo>
                <a:lnTo>
                  <a:pt x="116" y="58"/>
                </a:lnTo>
                <a:lnTo>
                  <a:pt x="120" y="58"/>
                </a:lnTo>
                <a:lnTo>
                  <a:pt x="124" y="57"/>
                </a:lnTo>
                <a:lnTo>
                  <a:pt x="125" y="56"/>
                </a:lnTo>
                <a:lnTo>
                  <a:pt x="127" y="53"/>
                </a:lnTo>
                <a:lnTo>
                  <a:pt x="130" y="49"/>
                </a:lnTo>
                <a:lnTo>
                  <a:pt x="133" y="44"/>
                </a:lnTo>
                <a:lnTo>
                  <a:pt x="134" y="43"/>
                </a:lnTo>
                <a:lnTo>
                  <a:pt x="134" y="42"/>
                </a:lnTo>
                <a:lnTo>
                  <a:pt x="137" y="41"/>
                </a:lnTo>
                <a:lnTo>
                  <a:pt x="137" y="39"/>
                </a:lnTo>
                <a:lnTo>
                  <a:pt x="141" y="39"/>
                </a:lnTo>
                <a:lnTo>
                  <a:pt x="143" y="37"/>
                </a:lnTo>
                <a:lnTo>
                  <a:pt x="148" y="33"/>
                </a:lnTo>
                <a:lnTo>
                  <a:pt x="153" y="26"/>
                </a:lnTo>
                <a:lnTo>
                  <a:pt x="163" y="15"/>
                </a:lnTo>
                <a:lnTo>
                  <a:pt x="169" y="9"/>
                </a:lnTo>
                <a:lnTo>
                  <a:pt x="174" y="5"/>
                </a:lnTo>
                <a:lnTo>
                  <a:pt x="177" y="3"/>
                </a:lnTo>
                <a:lnTo>
                  <a:pt x="181" y="1"/>
                </a:lnTo>
                <a:lnTo>
                  <a:pt x="184" y="0"/>
                </a:lnTo>
                <a:lnTo>
                  <a:pt x="187" y="0"/>
                </a:lnTo>
                <a:lnTo>
                  <a:pt x="191" y="0"/>
                </a:lnTo>
                <a:lnTo>
                  <a:pt x="194" y="1"/>
                </a:lnTo>
                <a:lnTo>
                  <a:pt x="199" y="3"/>
                </a:lnTo>
                <a:lnTo>
                  <a:pt x="205" y="5"/>
                </a:lnTo>
                <a:lnTo>
                  <a:pt x="208" y="6"/>
                </a:lnTo>
                <a:lnTo>
                  <a:pt x="211" y="6"/>
                </a:lnTo>
                <a:lnTo>
                  <a:pt x="212" y="10"/>
                </a:lnTo>
                <a:lnTo>
                  <a:pt x="213" y="14"/>
                </a:lnTo>
                <a:lnTo>
                  <a:pt x="214" y="16"/>
                </a:lnTo>
                <a:lnTo>
                  <a:pt x="216" y="20"/>
                </a:lnTo>
                <a:lnTo>
                  <a:pt x="219" y="26"/>
                </a:lnTo>
                <a:lnTo>
                  <a:pt x="219" y="29"/>
                </a:lnTo>
                <a:lnTo>
                  <a:pt x="221" y="33"/>
                </a:lnTo>
                <a:lnTo>
                  <a:pt x="221" y="37"/>
                </a:lnTo>
                <a:lnTo>
                  <a:pt x="219" y="39"/>
                </a:lnTo>
                <a:lnTo>
                  <a:pt x="219" y="43"/>
                </a:lnTo>
                <a:lnTo>
                  <a:pt x="218" y="46"/>
                </a:lnTo>
                <a:lnTo>
                  <a:pt x="218" y="73"/>
                </a:lnTo>
                <a:lnTo>
                  <a:pt x="227" y="73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31" name="Freeform 30">
            <a:extLst>
              <a:ext uri="{FF2B5EF4-FFF2-40B4-BE49-F238E27FC236}">
                <a16:creationId xmlns:a16="http://schemas.microsoft.com/office/drawing/2014/main" id="{E386509A-2995-584C-7A10-3DB44CA15D42}"/>
              </a:ext>
            </a:extLst>
          </p:cNvPr>
          <p:cNvSpPr>
            <a:spLocks/>
          </p:cNvSpPr>
          <p:nvPr/>
        </p:nvSpPr>
        <p:spPr bwMode="auto">
          <a:xfrm>
            <a:off x="6901825" y="5659284"/>
            <a:ext cx="66675" cy="57150"/>
          </a:xfrm>
          <a:custGeom>
            <a:avLst/>
            <a:gdLst>
              <a:gd name="T0" fmla="*/ 26 w 33"/>
              <a:gd name="T1" fmla="*/ 0 h 31"/>
              <a:gd name="T2" fmla="*/ 18 w 33"/>
              <a:gd name="T3" fmla="*/ 0 h 31"/>
              <a:gd name="T4" fmla="*/ 13 w 33"/>
              <a:gd name="T5" fmla="*/ 3 h 31"/>
              <a:gd name="T6" fmla="*/ 7 w 33"/>
              <a:gd name="T7" fmla="*/ 8 h 31"/>
              <a:gd name="T8" fmla="*/ 4 w 33"/>
              <a:gd name="T9" fmla="*/ 10 h 31"/>
              <a:gd name="T10" fmla="*/ 1 w 33"/>
              <a:gd name="T11" fmla="*/ 13 h 31"/>
              <a:gd name="T12" fmla="*/ 0 w 33"/>
              <a:gd name="T13" fmla="*/ 14 h 31"/>
              <a:gd name="T14" fmla="*/ 0 w 33"/>
              <a:gd name="T15" fmla="*/ 16 h 31"/>
              <a:gd name="T16" fmla="*/ 0 w 33"/>
              <a:gd name="T17" fmla="*/ 18 h 31"/>
              <a:gd name="T18" fmla="*/ 0 w 33"/>
              <a:gd name="T19" fmla="*/ 20 h 31"/>
              <a:gd name="T20" fmla="*/ 0 w 33"/>
              <a:gd name="T21" fmla="*/ 23 h 31"/>
              <a:gd name="T22" fmla="*/ 3 w 33"/>
              <a:gd name="T23" fmla="*/ 26 h 31"/>
              <a:gd name="T24" fmla="*/ 5 w 33"/>
              <a:gd name="T25" fmla="*/ 28 h 31"/>
              <a:gd name="T26" fmla="*/ 7 w 33"/>
              <a:gd name="T27" fmla="*/ 28 h 31"/>
              <a:gd name="T28" fmla="*/ 8 w 33"/>
              <a:gd name="T29" fmla="*/ 30 h 31"/>
              <a:gd name="T30" fmla="*/ 12 w 33"/>
              <a:gd name="T31" fmla="*/ 28 h 31"/>
              <a:gd name="T32" fmla="*/ 15 w 33"/>
              <a:gd name="T33" fmla="*/ 26 h 31"/>
              <a:gd name="T34" fmla="*/ 19 w 33"/>
              <a:gd name="T35" fmla="*/ 23 h 31"/>
              <a:gd name="T36" fmla="*/ 22 w 33"/>
              <a:gd name="T37" fmla="*/ 21 h 31"/>
              <a:gd name="T38" fmla="*/ 26 w 33"/>
              <a:gd name="T39" fmla="*/ 17 h 31"/>
              <a:gd name="T40" fmla="*/ 28 w 33"/>
              <a:gd name="T41" fmla="*/ 13 h 31"/>
              <a:gd name="T42" fmla="*/ 31 w 33"/>
              <a:gd name="T43" fmla="*/ 10 h 31"/>
              <a:gd name="T44" fmla="*/ 32 w 33"/>
              <a:gd name="T45" fmla="*/ 7 h 31"/>
              <a:gd name="T46" fmla="*/ 28 w 33"/>
              <a:gd name="T47" fmla="*/ 5 h 31"/>
              <a:gd name="T48" fmla="*/ 27 w 33"/>
              <a:gd name="T49" fmla="*/ 4 h 31"/>
              <a:gd name="T50" fmla="*/ 26 w 33"/>
              <a:gd name="T51" fmla="*/ 3 h 31"/>
              <a:gd name="T52" fmla="*/ 26 w 33"/>
              <a:gd name="T53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33" h="31">
                <a:moveTo>
                  <a:pt x="26" y="0"/>
                </a:moveTo>
                <a:lnTo>
                  <a:pt x="18" y="0"/>
                </a:lnTo>
                <a:lnTo>
                  <a:pt x="13" y="3"/>
                </a:lnTo>
                <a:lnTo>
                  <a:pt x="7" y="8"/>
                </a:lnTo>
                <a:lnTo>
                  <a:pt x="4" y="10"/>
                </a:lnTo>
                <a:lnTo>
                  <a:pt x="1" y="13"/>
                </a:lnTo>
                <a:lnTo>
                  <a:pt x="0" y="14"/>
                </a:lnTo>
                <a:lnTo>
                  <a:pt x="0" y="16"/>
                </a:lnTo>
                <a:lnTo>
                  <a:pt x="0" y="18"/>
                </a:lnTo>
                <a:lnTo>
                  <a:pt x="0" y="20"/>
                </a:lnTo>
                <a:lnTo>
                  <a:pt x="0" y="23"/>
                </a:lnTo>
                <a:lnTo>
                  <a:pt x="3" y="26"/>
                </a:lnTo>
                <a:lnTo>
                  <a:pt x="5" y="28"/>
                </a:lnTo>
                <a:lnTo>
                  <a:pt x="7" y="28"/>
                </a:lnTo>
                <a:lnTo>
                  <a:pt x="8" y="30"/>
                </a:lnTo>
                <a:lnTo>
                  <a:pt x="12" y="28"/>
                </a:lnTo>
                <a:lnTo>
                  <a:pt x="15" y="26"/>
                </a:lnTo>
                <a:lnTo>
                  <a:pt x="19" y="23"/>
                </a:lnTo>
                <a:lnTo>
                  <a:pt x="22" y="21"/>
                </a:lnTo>
                <a:lnTo>
                  <a:pt x="26" y="17"/>
                </a:lnTo>
                <a:lnTo>
                  <a:pt x="28" y="13"/>
                </a:lnTo>
                <a:lnTo>
                  <a:pt x="31" y="10"/>
                </a:lnTo>
                <a:lnTo>
                  <a:pt x="32" y="7"/>
                </a:lnTo>
                <a:lnTo>
                  <a:pt x="28" y="5"/>
                </a:lnTo>
                <a:lnTo>
                  <a:pt x="27" y="4"/>
                </a:lnTo>
                <a:lnTo>
                  <a:pt x="26" y="3"/>
                </a:lnTo>
                <a:lnTo>
                  <a:pt x="26" y="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F338D5A0-9BD5-A299-0D3D-BB9B9285D028}"/>
              </a:ext>
            </a:extLst>
          </p:cNvPr>
          <p:cNvSpPr>
            <a:spLocks/>
          </p:cNvSpPr>
          <p:nvPr/>
        </p:nvSpPr>
        <p:spPr bwMode="auto">
          <a:xfrm>
            <a:off x="7009775" y="5578321"/>
            <a:ext cx="41275" cy="38100"/>
          </a:xfrm>
          <a:custGeom>
            <a:avLst/>
            <a:gdLst>
              <a:gd name="T0" fmla="*/ 18 w 20"/>
              <a:gd name="T1" fmla="*/ 14 h 20"/>
              <a:gd name="T2" fmla="*/ 17 w 20"/>
              <a:gd name="T3" fmla="*/ 15 h 20"/>
              <a:gd name="T4" fmla="*/ 15 w 20"/>
              <a:gd name="T5" fmla="*/ 18 h 20"/>
              <a:gd name="T6" fmla="*/ 13 w 20"/>
              <a:gd name="T7" fmla="*/ 19 h 20"/>
              <a:gd name="T8" fmla="*/ 11 w 20"/>
              <a:gd name="T9" fmla="*/ 19 h 20"/>
              <a:gd name="T10" fmla="*/ 8 w 20"/>
              <a:gd name="T11" fmla="*/ 19 h 20"/>
              <a:gd name="T12" fmla="*/ 5 w 20"/>
              <a:gd name="T13" fmla="*/ 19 h 20"/>
              <a:gd name="T14" fmla="*/ 3 w 20"/>
              <a:gd name="T15" fmla="*/ 18 h 20"/>
              <a:gd name="T16" fmla="*/ 1 w 20"/>
              <a:gd name="T17" fmla="*/ 17 h 20"/>
              <a:gd name="T18" fmla="*/ 0 w 20"/>
              <a:gd name="T19" fmla="*/ 15 h 20"/>
              <a:gd name="T20" fmla="*/ 0 w 20"/>
              <a:gd name="T21" fmla="*/ 14 h 20"/>
              <a:gd name="T22" fmla="*/ 0 w 20"/>
              <a:gd name="T23" fmla="*/ 9 h 20"/>
              <a:gd name="T24" fmla="*/ 0 w 20"/>
              <a:gd name="T25" fmla="*/ 6 h 20"/>
              <a:gd name="T26" fmla="*/ 1 w 20"/>
              <a:gd name="T27" fmla="*/ 4 h 20"/>
              <a:gd name="T28" fmla="*/ 3 w 20"/>
              <a:gd name="T29" fmla="*/ 2 h 20"/>
              <a:gd name="T30" fmla="*/ 5 w 20"/>
              <a:gd name="T31" fmla="*/ 1 h 20"/>
              <a:gd name="T32" fmla="*/ 9 w 20"/>
              <a:gd name="T33" fmla="*/ 1 h 20"/>
              <a:gd name="T34" fmla="*/ 11 w 20"/>
              <a:gd name="T35" fmla="*/ 0 h 20"/>
              <a:gd name="T36" fmla="*/ 19 w 20"/>
              <a:gd name="T37" fmla="*/ 1 h 20"/>
              <a:gd name="T38" fmla="*/ 19 w 20"/>
              <a:gd name="T39" fmla="*/ 14 h 20"/>
              <a:gd name="T40" fmla="*/ 18 w 20"/>
              <a:gd name="T41" fmla="*/ 14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0" h="20">
                <a:moveTo>
                  <a:pt x="18" y="14"/>
                </a:moveTo>
                <a:lnTo>
                  <a:pt x="17" y="15"/>
                </a:lnTo>
                <a:lnTo>
                  <a:pt x="15" y="18"/>
                </a:lnTo>
                <a:lnTo>
                  <a:pt x="13" y="19"/>
                </a:lnTo>
                <a:lnTo>
                  <a:pt x="11" y="19"/>
                </a:lnTo>
                <a:lnTo>
                  <a:pt x="8" y="19"/>
                </a:lnTo>
                <a:lnTo>
                  <a:pt x="5" y="19"/>
                </a:lnTo>
                <a:lnTo>
                  <a:pt x="3" y="18"/>
                </a:lnTo>
                <a:lnTo>
                  <a:pt x="1" y="17"/>
                </a:lnTo>
                <a:lnTo>
                  <a:pt x="0" y="15"/>
                </a:lnTo>
                <a:lnTo>
                  <a:pt x="0" y="14"/>
                </a:lnTo>
                <a:lnTo>
                  <a:pt x="0" y="9"/>
                </a:lnTo>
                <a:lnTo>
                  <a:pt x="0" y="6"/>
                </a:lnTo>
                <a:lnTo>
                  <a:pt x="1" y="4"/>
                </a:lnTo>
                <a:lnTo>
                  <a:pt x="3" y="2"/>
                </a:lnTo>
                <a:lnTo>
                  <a:pt x="5" y="1"/>
                </a:lnTo>
                <a:lnTo>
                  <a:pt x="9" y="1"/>
                </a:lnTo>
                <a:lnTo>
                  <a:pt x="11" y="0"/>
                </a:lnTo>
                <a:lnTo>
                  <a:pt x="19" y="1"/>
                </a:lnTo>
                <a:lnTo>
                  <a:pt x="19" y="14"/>
                </a:lnTo>
                <a:lnTo>
                  <a:pt x="18" y="14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7CF93B6D-D136-64EC-4AEC-3FFB568BA0A5}"/>
              </a:ext>
            </a:extLst>
          </p:cNvPr>
          <p:cNvSpPr>
            <a:spLocks/>
          </p:cNvSpPr>
          <p:nvPr/>
        </p:nvSpPr>
        <p:spPr bwMode="auto">
          <a:xfrm>
            <a:off x="6871663" y="5284634"/>
            <a:ext cx="222250" cy="198438"/>
          </a:xfrm>
          <a:custGeom>
            <a:avLst/>
            <a:gdLst>
              <a:gd name="T0" fmla="*/ 72 w 110"/>
              <a:gd name="T1" fmla="*/ 6 h 107"/>
              <a:gd name="T2" fmla="*/ 85 w 110"/>
              <a:gd name="T3" fmla="*/ 8 h 107"/>
              <a:gd name="T4" fmla="*/ 96 w 110"/>
              <a:gd name="T5" fmla="*/ 12 h 107"/>
              <a:gd name="T6" fmla="*/ 104 w 110"/>
              <a:gd name="T7" fmla="*/ 17 h 107"/>
              <a:gd name="T8" fmla="*/ 106 w 110"/>
              <a:gd name="T9" fmla="*/ 21 h 107"/>
              <a:gd name="T10" fmla="*/ 109 w 110"/>
              <a:gd name="T11" fmla="*/ 27 h 107"/>
              <a:gd name="T12" fmla="*/ 109 w 110"/>
              <a:gd name="T13" fmla="*/ 34 h 107"/>
              <a:gd name="T14" fmla="*/ 106 w 110"/>
              <a:gd name="T15" fmla="*/ 43 h 107"/>
              <a:gd name="T16" fmla="*/ 105 w 110"/>
              <a:gd name="T17" fmla="*/ 51 h 107"/>
              <a:gd name="T18" fmla="*/ 105 w 110"/>
              <a:gd name="T19" fmla="*/ 64 h 107"/>
              <a:gd name="T20" fmla="*/ 104 w 110"/>
              <a:gd name="T21" fmla="*/ 72 h 107"/>
              <a:gd name="T22" fmla="*/ 101 w 110"/>
              <a:gd name="T23" fmla="*/ 81 h 107"/>
              <a:gd name="T24" fmla="*/ 96 w 110"/>
              <a:gd name="T25" fmla="*/ 88 h 107"/>
              <a:gd name="T26" fmla="*/ 82 w 110"/>
              <a:gd name="T27" fmla="*/ 102 h 107"/>
              <a:gd name="T28" fmla="*/ 77 w 110"/>
              <a:gd name="T29" fmla="*/ 106 h 107"/>
              <a:gd name="T30" fmla="*/ 68 w 110"/>
              <a:gd name="T31" fmla="*/ 102 h 107"/>
              <a:gd name="T32" fmla="*/ 59 w 110"/>
              <a:gd name="T33" fmla="*/ 99 h 107"/>
              <a:gd name="T34" fmla="*/ 52 w 110"/>
              <a:gd name="T35" fmla="*/ 99 h 107"/>
              <a:gd name="T36" fmla="*/ 47 w 110"/>
              <a:gd name="T37" fmla="*/ 99 h 107"/>
              <a:gd name="T38" fmla="*/ 45 w 110"/>
              <a:gd name="T39" fmla="*/ 96 h 107"/>
              <a:gd name="T40" fmla="*/ 38 w 110"/>
              <a:gd name="T41" fmla="*/ 95 h 107"/>
              <a:gd name="T42" fmla="*/ 33 w 110"/>
              <a:gd name="T43" fmla="*/ 94 h 107"/>
              <a:gd name="T44" fmla="*/ 31 w 110"/>
              <a:gd name="T45" fmla="*/ 92 h 107"/>
              <a:gd name="T46" fmla="*/ 28 w 110"/>
              <a:gd name="T47" fmla="*/ 78 h 107"/>
              <a:gd name="T48" fmla="*/ 25 w 110"/>
              <a:gd name="T49" fmla="*/ 74 h 107"/>
              <a:gd name="T50" fmla="*/ 20 w 110"/>
              <a:gd name="T51" fmla="*/ 67 h 107"/>
              <a:gd name="T52" fmla="*/ 12 w 110"/>
              <a:gd name="T53" fmla="*/ 62 h 107"/>
              <a:gd name="T54" fmla="*/ 7 w 110"/>
              <a:gd name="T55" fmla="*/ 56 h 107"/>
              <a:gd name="T56" fmla="*/ 5 w 110"/>
              <a:gd name="T57" fmla="*/ 51 h 107"/>
              <a:gd name="T58" fmla="*/ 6 w 110"/>
              <a:gd name="T59" fmla="*/ 49 h 107"/>
              <a:gd name="T60" fmla="*/ 0 w 110"/>
              <a:gd name="T61" fmla="*/ 41 h 107"/>
              <a:gd name="T62" fmla="*/ 0 w 110"/>
              <a:gd name="T63" fmla="*/ 37 h 107"/>
              <a:gd name="T64" fmla="*/ 3 w 110"/>
              <a:gd name="T65" fmla="*/ 36 h 107"/>
              <a:gd name="T66" fmla="*/ 15 w 110"/>
              <a:gd name="T67" fmla="*/ 38 h 107"/>
              <a:gd name="T68" fmla="*/ 19 w 110"/>
              <a:gd name="T69" fmla="*/ 37 h 107"/>
              <a:gd name="T70" fmla="*/ 38 w 110"/>
              <a:gd name="T71" fmla="*/ 21 h 107"/>
              <a:gd name="T72" fmla="*/ 52 w 110"/>
              <a:gd name="T73" fmla="*/ 11 h 107"/>
              <a:gd name="T74" fmla="*/ 51 w 110"/>
              <a:gd name="T75" fmla="*/ 8 h 107"/>
              <a:gd name="T76" fmla="*/ 50 w 110"/>
              <a:gd name="T77" fmla="*/ 4 h 107"/>
              <a:gd name="T78" fmla="*/ 52 w 110"/>
              <a:gd name="T79" fmla="*/ 3 h 107"/>
              <a:gd name="T80" fmla="*/ 63 w 110"/>
              <a:gd name="T81" fmla="*/ 1 h 107"/>
              <a:gd name="T82" fmla="*/ 70 w 110"/>
              <a:gd name="T83" fmla="*/ 1 h 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0" h="107">
                <a:moveTo>
                  <a:pt x="70" y="1"/>
                </a:moveTo>
                <a:lnTo>
                  <a:pt x="72" y="6"/>
                </a:lnTo>
                <a:lnTo>
                  <a:pt x="78" y="7"/>
                </a:lnTo>
                <a:lnTo>
                  <a:pt x="85" y="8"/>
                </a:lnTo>
                <a:lnTo>
                  <a:pt x="91" y="9"/>
                </a:lnTo>
                <a:lnTo>
                  <a:pt x="96" y="12"/>
                </a:lnTo>
                <a:lnTo>
                  <a:pt x="101" y="15"/>
                </a:lnTo>
                <a:lnTo>
                  <a:pt x="104" y="17"/>
                </a:lnTo>
                <a:lnTo>
                  <a:pt x="105" y="18"/>
                </a:lnTo>
                <a:lnTo>
                  <a:pt x="106" y="21"/>
                </a:lnTo>
                <a:lnTo>
                  <a:pt x="107" y="24"/>
                </a:lnTo>
                <a:lnTo>
                  <a:pt x="109" y="27"/>
                </a:lnTo>
                <a:lnTo>
                  <a:pt x="109" y="30"/>
                </a:lnTo>
                <a:lnTo>
                  <a:pt x="109" y="34"/>
                </a:lnTo>
                <a:lnTo>
                  <a:pt x="109" y="37"/>
                </a:lnTo>
                <a:lnTo>
                  <a:pt x="106" y="43"/>
                </a:lnTo>
                <a:lnTo>
                  <a:pt x="105" y="48"/>
                </a:lnTo>
                <a:lnTo>
                  <a:pt x="105" y="51"/>
                </a:lnTo>
                <a:lnTo>
                  <a:pt x="105" y="55"/>
                </a:lnTo>
                <a:lnTo>
                  <a:pt x="105" y="64"/>
                </a:lnTo>
                <a:lnTo>
                  <a:pt x="105" y="69"/>
                </a:lnTo>
                <a:lnTo>
                  <a:pt x="104" y="72"/>
                </a:lnTo>
                <a:lnTo>
                  <a:pt x="102" y="78"/>
                </a:lnTo>
                <a:lnTo>
                  <a:pt x="101" y="81"/>
                </a:lnTo>
                <a:lnTo>
                  <a:pt x="99" y="85"/>
                </a:lnTo>
                <a:lnTo>
                  <a:pt x="96" y="88"/>
                </a:lnTo>
                <a:lnTo>
                  <a:pt x="87" y="98"/>
                </a:lnTo>
                <a:lnTo>
                  <a:pt x="82" y="102"/>
                </a:lnTo>
                <a:lnTo>
                  <a:pt x="80" y="106"/>
                </a:lnTo>
                <a:lnTo>
                  <a:pt x="77" y="106"/>
                </a:lnTo>
                <a:lnTo>
                  <a:pt x="73" y="105"/>
                </a:lnTo>
                <a:lnTo>
                  <a:pt x="68" y="102"/>
                </a:lnTo>
                <a:lnTo>
                  <a:pt x="63" y="101"/>
                </a:lnTo>
                <a:lnTo>
                  <a:pt x="59" y="99"/>
                </a:lnTo>
                <a:lnTo>
                  <a:pt x="56" y="99"/>
                </a:lnTo>
                <a:lnTo>
                  <a:pt x="52" y="99"/>
                </a:lnTo>
                <a:lnTo>
                  <a:pt x="49" y="101"/>
                </a:lnTo>
                <a:lnTo>
                  <a:pt x="47" y="99"/>
                </a:lnTo>
                <a:lnTo>
                  <a:pt x="46" y="97"/>
                </a:lnTo>
                <a:lnTo>
                  <a:pt x="45" y="96"/>
                </a:lnTo>
                <a:lnTo>
                  <a:pt x="42" y="95"/>
                </a:lnTo>
                <a:lnTo>
                  <a:pt x="38" y="95"/>
                </a:lnTo>
                <a:lnTo>
                  <a:pt x="36" y="95"/>
                </a:lnTo>
                <a:lnTo>
                  <a:pt x="33" y="94"/>
                </a:lnTo>
                <a:lnTo>
                  <a:pt x="32" y="92"/>
                </a:lnTo>
                <a:lnTo>
                  <a:pt x="31" y="92"/>
                </a:lnTo>
                <a:lnTo>
                  <a:pt x="29" y="87"/>
                </a:lnTo>
                <a:lnTo>
                  <a:pt x="28" y="78"/>
                </a:lnTo>
                <a:lnTo>
                  <a:pt x="28" y="75"/>
                </a:lnTo>
                <a:lnTo>
                  <a:pt x="25" y="74"/>
                </a:lnTo>
                <a:lnTo>
                  <a:pt x="23" y="70"/>
                </a:lnTo>
                <a:lnTo>
                  <a:pt x="20" y="67"/>
                </a:lnTo>
                <a:lnTo>
                  <a:pt x="16" y="65"/>
                </a:lnTo>
                <a:lnTo>
                  <a:pt x="12" y="62"/>
                </a:lnTo>
                <a:lnTo>
                  <a:pt x="9" y="60"/>
                </a:lnTo>
                <a:lnTo>
                  <a:pt x="7" y="56"/>
                </a:lnTo>
                <a:lnTo>
                  <a:pt x="6" y="54"/>
                </a:lnTo>
                <a:lnTo>
                  <a:pt x="5" y="51"/>
                </a:lnTo>
                <a:lnTo>
                  <a:pt x="6" y="51"/>
                </a:lnTo>
                <a:lnTo>
                  <a:pt x="6" y="49"/>
                </a:lnTo>
                <a:lnTo>
                  <a:pt x="3" y="45"/>
                </a:lnTo>
                <a:lnTo>
                  <a:pt x="0" y="41"/>
                </a:lnTo>
                <a:lnTo>
                  <a:pt x="0" y="39"/>
                </a:lnTo>
                <a:lnTo>
                  <a:pt x="0" y="37"/>
                </a:lnTo>
                <a:lnTo>
                  <a:pt x="1" y="37"/>
                </a:lnTo>
                <a:lnTo>
                  <a:pt x="3" y="36"/>
                </a:lnTo>
                <a:lnTo>
                  <a:pt x="10" y="37"/>
                </a:lnTo>
                <a:lnTo>
                  <a:pt x="15" y="38"/>
                </a:lnTo>
                <a:lnTo>
                  <a:pt x="18" y="38"/>
                </a:lnTo>
                <a:lnTo>
                  <a:pt x="19" y="37"/>
                </a:lnTo>
                <a:lnTo>
                  <a:pt x="27" y="30"/>
                </a:lnTo>
                <a:lnTo>
                  <a:pt x="38" y="21"/>
                </a:lnTo>
                <a:lnTo>
                  <a:pt x="49" y="13"/>
                </a:lnTo>
                <a:lnTo>
                  <a:pt x="52" y="11"/>
                </a:lnTo>
                <a:lnTo>
                  <a:pt x="52" y="9"/>
                </a:lnTo>
                <a:lnTo>
                  <a:pt x="51" y="8"/>
                </a:lnTo>
                <a:lnTo>
                  <a:pt x="50" y="6"/>
                </a:lnTo>
                <a:lnTo>
                  <a:pt x="50" y="4"/>
                </a:lnTo>
                <a:lnTo>
                  <a:pt x="51" y="3"/>
                </a:lnTo>
                <a:lnTo>
                  <a:pt x="52" y="3"/>
                </a:lnTo>
                <a:lnTo>
                  <a:pt x="55" y="2"/>
                </a:lnTo>
                <a:lnTo>
                  <a:pt x="63" y="1"/>
                </a:lnTo>
                <a:lnTo>
                  <a:pt x="69" y="0"/>
                </a:lnTo>
                <a:lnTo>
                  <a:pt x="70" y="1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051A203E-2FEE-218C-FEB7-D98BC542D0E8}"/>
              </a:ext>
            </a:extLst>
          </p:cNvPr>
          <p:cNvSpPr>
            <a:spLocks/>
          </p:cNvSpPr>
          <p:nvPr/>
        </p:nvSpPr>
        <p:spPr bwMode="auto">
          <a:xfrm>
            <a:off x="6778000" y="5073496"/>
            <a:ext cx="341313" cy="284163"/>
          </a:xfrm>
          <a:custGeom>
            <a:avLst/>
            <a:gdLst>
              <a:gd name="T0" fmla="*/ 74 w 170"/>
              <a:gd name="T1" fmla="*/ 143 h 153"/>
              <a:gd name="T2" fmla="*/ 99 w 170"/>
              <a:gd name="T3" fmla="*/ 124 h 153"/>
              <a:gd name="T4" fmla="*/ 98 w 170"/>
              <a:gd name="T5" fmla="*/ 119 h 153"/>
              <a:gd name="T6" fmla="*/ 98 w 170"/>
              <a:gd name="T7" fmla="*/ 116 h 153"/>
              <a:gd name="T8" fmla="*/ 111 w 170"/>
              <a:gd name="T9" fmla="*/ 114 h 153"/>
              <a:gd name="T10" fmla="*/ 118 w 170"/>
              <a:gd name="T11" fmla="*/ 108 h 153"/>
              <a:gd name="T12" fmla="*/ 119 w 170"/>
              <a:gd name="T13" fmla="*/ 105 h 153"/>
              <a:gd name="T14" fmla="*/ 131 w 170"/>
              <a:gd name="T15" fmla="*/ 98 h 153"/>
              <a:gd name="T16" fmla="*/ 151 w 170"/>
              <a:gd name="T17" fmla="*/ 92 h 153"/>
              <a:gd name="T18" fmla="*/ 156 w 170"/>
              <a:gd name="T19" fmla="*/ 80 h 153"/>
              <a:gd name="T20" fmla="*/ 158 w 170"/>
              <a:gd name="T21" fmla="*/ 71 h 153"/>
              <a:gd name="T22" fmla="*/ 165 w 170"/>
              <a:gd name="T23" fmla="*/ 65 h 153"/>
              <a:gd name="T24" fmla="*/ 162 w 170"/>
              <a:gd name="T25" fmla="*/ 53 h 153"/>
              <a:gd name="T26" fmla="*/ 162 w 170"/>
              <a:gd name="T27" fmla="*/ 45 h 153"/>
              <a:gd name="T28" fmla="*/ 169 w 170"/>
              <a:gd name="T29" fmla="*/ 36 h 153"/>
              <a:gd name="T30" fmla="*/ 166 w 170"/>
              <a:gd name="T31" fmla="*/ 27 h 153"/>
              <a:gd name="T32" fmla="*/ 151 w 170"/>
              <a:gd name="T33" fmla="*/ 13 h 153"/>
              <a:gd name="T34" fmla="*/ 141 w 170"/>
              <a:gd name="T35" fmla="*/ 7 h 153"/>
              <a:gd name="T36" fmla="*/ 132 w 170"/>
              <a:gd name="T37" fmla="*/ 4 h 153"/>
              <a:gd name="T38" fmla="*/ 127 w 170"/>
              <a:gd name="T39" fmla="*/ 0 h 153"/>
              <a:gd name="T40" fmla="*/ 106 w 170"/>
              <a:gd name="T41" fmla="*/ 5 h 153"/>
              <a:gd name="T42" fmla="*/ 98 w 170"/>
              <a:gd name="T43" fmla="*/ 12 h 153"/>
              <a:gd name="T44" fmla="*/ 94 w 170"/>
              <a:gd name="T45" fmla="*/ 20 h 153"/>
              <a:gd name="T46" fmla="*/ 95 w 170"/>
              <a:gd name="T47" fmla="*/ 57 h 153"/>
              <a:gd name="T48" fmla="*/ 100 w 170"/>
              <a:gd name="T49" fmla="*/ 62 h 153"/>
              <a:gd name="T50" fmla="*/ 112 w 170"/>
              <a:gd name="T51" fmla="*/ 62 h 153"/>
              <a:gd name="T52" fmla="*/ 111 w 170"/>
              <a:gd name="T53" fmla="*/ 76 h 153"/>
              <a:gd name="T54" fmla="*/ 104 w 170"/>
              <a:gd name="T55" fmla="*/ 81 h 153"/>
              <a:gd name="T56" fmla="*/ 101 w 170"/>
              <a:gd name="T57" fmla="*/ 78 h 153"/>
              <a:gd name="T58" fmla="*/ 97 w 170"/>
              <a:gd name="T59" fmla="*/ 71 h 153"/>
              <a:gd name="T60" fmla="*/ 88 w 170"/>
              <a:gd name="T61" fmla="*/ 65 h 153"/>
              <a:gd name="T62" fmla="*/ 77 w 170"/>
              <a:gd name="T63" fmla="*/ 56 h 153"/>
              <a:gd name="T64" fmla="*/ 71 w 170"/>
              <a:gd name="T65" fmla="*/ 56 h 153"/>
              <a:gd name="T66" fmla="*/ 60 w 170"/>
              <a:gd name="T67" fmla="*/ 58 h 153"/>
              <a:gd name="T68" fmla="*/ 50 w 170"/>
              <a:gd name="T69" fmla="*/ 53 h 153"/>
              <a:gd name="T70" fmla="*/ 47 w 170"/>
              <a:gd name="T71" fmla="*/ 49 h 153"/>
              <a:gd name="T72" fmla="*/ 34 w 170"/>
              <a:gd name="T73" fmla="*/ 45 h 153"/>
              <a:gd name="T74" fmla="*/ 27 w 170"/>
              <a:gd name="T75" fmla="*/ 71 h 153"/>
              <a:gd name="T76" fmla="*/ 22 w 170"/>
              <a:gd name="T77" fmla="*/ 72 h 153"/>
              <a:gd name="T78" fmla="*/ 14 w 170"/>
              <a:gd name="T79" fmla="*/ 141 h 153"/>
              <a:gd name="T80" fmla="*/ 17 w 170"/>
              <a:gd name="T81" fmla="*/ 144 h 153"/>
              <a:gd name="T82" fmla="*/ 26 w 170"/>
              <a:gd name="T83" fmla="*/ 143 h 153"/>
              <a:gd name="T84" fmla="*/ 35 w 170"/>
              <a:gd name="T85" fmla="*/ 142 h 153"/>
              <a:gd name="T86" fmla="*/ 47 w 170"/>
              <a:gd name="T87" fmla="*/ 148 h 153"/>
              <a:gd name="T88" fmla="*/ 66 w 170"/>
              <a:gd name="T89" fmla="*/ 150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70" h="153">
                <a:moveTo>
                  <a:pt x="66" y="152"/>
                </a:moveTo>
                <a:lnTo>
                  <a:pt x="70" y="148"/>
                </a:lnTo>
                <a:lnTo>
                  <a:pt x="74" y="143"/>
                </a:lnTo>
                <a:lnTo>
                  <a:pt x="85" y="134"/>
                </a:lnTo>
                <a:lnTo>
                  <a:pt x="97" y="126"/>
                </a:lnTo>
                <a:lnTo>
                  <a:pt x="99" y="124"/>
                </a:lnTo>
                <a:lnTo>
                  <a:pt x="100" y="122"/>
                </a:lnTo>
                <a:lnTo>
                  <a:pt x="98" y="121"/>
                </a:lnTo>
                <a:lnTo>
                  <a:pt x="98" y="119"/>
                </a:lnTo>
                <a:lnTo>
                  <a:pt x="98" y="118"/>
                </a:lnTo>
                <a:lnTo>
                  <a:pt x="98" y="117"/>
                </a:lnTo>
                <a:lnTo>
                  <a:pt x="98" y="116"/>
                </a:lnTo>
                <a:lnTo>
                  <a:pt x="99" y="115"/>
                </a:lnTo>
                <a:lnTo>
                  <a:pt x="102" y="115"/>
                </a:lnTo>
                <a:lnTo>
                  <a:pt x="111" y="114"/>
                </a:lnTo>
                <a:lnTo>
                  <a:pt x="116" y="112"/>
                </a:lnTo>
                <a:lnTo>
                  <a:pt x="118" y="109"/>
                </a:lnTo>
                <a:lnTo>
                  <a:pt x="118" y="108"/>
                </a:lnTo>
                <a:lnTo>
                  <a:pt x="118" y="107"/>
                </a:lnTo>
                <a:lnTo>
                  <a:pt x="117" y="105"/>
                </a:lnTo>
                <a:lnTo>
                  <a:pt x="119" y="105"/>
                </a:lnTo>
                <a:lnTo>
                  <a:pt x="121" y="102"/>
                </a:lnTo>
                <a:lnTo>
                  <a:pt x="126" y="99"/>
                </a:lnTo>
                <a:lnTo>
                  <a:pt x="131" y="98"/>
                </a:lnTo>
                <a:lnTo>
                  <a:pt x="135" y="97"/>
                </a:lnTo>
                <a:lnTo>
                  <a:pt x="146" y="94"/>
                </a:lnTo>
                <a:lnTo>
                  <a:pt x="151" y="92"/>
                </a:lnTo>
                <a:lnTo>
                  <a:pt x="153" y="90"/>
                </a:lnTo>
                <a:lnTo>
                  <a:pt x="155" y="89"/>
                </a:lnTo>
                <a:lnTo>
                  <a:pt x="156" y="80"/>
                </a:lnTo>
                <a:lnTo>
                  <a:pt x="156" y="76"/>
                </a:lnTo>
                <a:lnTo>
                  <a:pt x="157" y="74"/>
                </a:lnTo>
                <a:lnTo>
                  <a:pt x="158" y="71"/>
                </a:lnTo>
                <a:lnTo>
                  <a:pt x="160" y="68"/>
                </a:lnTo>
                <a:lnTo>
                  <a:pt x="162" y="66"/>
                </a:lnTo>
                <a:lnTo>
                  <a:pt x="165" y="65"/>
                </a:lnTo>
                <a:lnTo>
                  <a:pt x="164" y="62"/>
                </a:lnTo>
                <a:lnTo>
                  <a:pt x="162" y="58"/>
                </a:lnTo>
                <a:lnTo>
                  <a:pt x="162" y="53"/>
                </a:lnTo>
                <a:lnTo>
                  <a:pt x="162" y="49"/>
                </a:lnTo>
                <a:lnTo>
                  <a:pt x="162" y="47"/>
                </a:lnTo>
                <a:lnTo>
                  <a:pt x="162" y="45"/>
                </a:lnTo>
                <a:lnTo>
                  <a:pt x="165" y="42"/>
                </a:lnTo>
                <a:lnTo>
                  <a:pt x="167" y="39"/>
                </a:lnTo>
                <a:lnTo>
                  <a:pt x="169" y="36"/>
                </a:lnTo>
                <a:lnTo>
                  <a:pt x="169" y="35"/>
                </a:lnTo>
                <a:lnTo>
                  <a:pt x="167" y="31"/>
                </a:lnTo>
                <a:lnTo>
                  <a:pt x="166" y="27"/>
                </a:lnTo>
                <a:lnTo>
                  <a:pt x="162" y="22"/>
                </a:lnTo>
                <a:lnTo>
                  <a:pt x="156" y="17"/>
                </a:lnTo>
                <a:lnTo>
                  <a:pt x="151" y="13"/>
                </a:lnTo>
                <a:lnTo>
                  <a:pt x="148" y="11"/>
                </a:lnTo>
                <a:lnTo>
                  <a:pt x="145" y="9"/>
                </a:lnTo>
                <a:lnTo>
                  <a:pt x="141" y="7"/>
                </a:lnTo>
                <a:lnTo>
                  <a:pt x="137" y="5"/>
                </a:lnTo>
                <a:lnTo>
                  <a:pt x="133" y="4"/>
                </a:lnTo>
                <a:lnTo>
                  <a:pt x="132" y="4"/>
                </a:lnTo>
                <a:lnTo>
                  <a:pt x="131" y="4"/>
                </a:lnTo>
                <a:lnTo>
                  <a:pt x="131" y="3"/>
                </a:lnTo>
                <a:lnTo>
                  <a:pt x="127" y="0"/>
                </a:lnTo>
                <a:lnTo>
                  <a:pt x="116" y="2"/>
                </a:lnTo>
                <a:lnTo>
                  <a:pt x="111" y="3"/>
                </a:lnTo>
                <a:lnTo>
                  <a:pt x="106" y="5"/>
                </a:lnTo>
                <a:lnTo>
                  <a:pt x="101" y="8"/>
                </a:lnTo>
                <a:lnTo>
                  <a:pt x="99" y="9"/>
                </a:lnTo>
                <a:lnTo>
                  <a:pt x="98" y="12"/>
                </a:lnTo>
                <a:lnTo>
                  <a:pt x="95" y="16"/>
                </a:lnTo>
                <a:lnTo>
                  <a:pt x="94" y="17"/>
                </a:lnTo>
                <a:lnTo>
                  <a:pt x="94" y="20"/>
                </a:lnTo>
                <a:lnTo>
                  <a:pt x="94" y="52"/>
                </a:lnTo>
                <a:lnTo>
                  <a:pt x="94" y="54"/>
                </a:lnTo>
                <a:lnTo>
                  <a:pt x="95" y="57"/>
                </a:lnTo>
                <a:lnTo>
                  <a:pt x="97" y="59"/>
                </a:lnTo>
                <a:lnTo>
                  <a:pt x="98" y="61"/>
                </a:lnTo>
                <a:lnTo>
                  <a:pt x="100" y="62"/>
                </a:lnTo>
                <a:lnTo>
                  <a:pt x="103" y="62"/>
                </a:lnTo>
                <a:lnTo>
                  <a:pt x="108" y="63"/>
                </a:lnTo>
                <a:lnTo>
                  <a:pt x="112" y="62"/>
                </a:lnTo>
                <a:lnTo>
                  <a:pt x="112" y="72"/>
                </a:lnTo>
                <a:lnTo>
                  <a:pt x="112" y="75"/>
                </a:lnTo>
                <a:lnTo>
                  <a:pt x="111" y="76"/>
                </a:lnTo>
                <a:lnTo>
                  <a:pt x="108" y="79"/>
                </a:lnTo>
                <a:lnTo>
                  <a:pt x="106" y="81"/>
                </a:lnTo>
                <a:lnTo>
                  <a:pt x="104" y="81"/>
                </a:lnTo>
                <a:lnTo>
                  <a:pt x="103" y="81"/>
                </a:lnTo>
                <a:lnTo>
                  <a:pt x="102" y="80"/>
                </a:lnTo>
                <a:lnTo>
                  <a:pt x="101" y="78"/>
                </a:lnTo>
                <a:lnTo>
                  <a:pt x="100" y="75"/>
                </a:lnTo>
                <a:lnTo>
                  <a:pt x="98" y="72"/>
                </a:lnTo>
                <a:lnTo>
                  <a:pt x="97" y="71"/>
                </a:lnTo>
                <a:lnTo>
                  <a:pt x="94" y="69"/>
                </a:lnTo>
                <a:lnTo>
                  <a:pt x="93" y="67"/>
                </a:lnTo>
                <a:lnTo>
                  <a:pt x="88" y="65"/>
                </a:lnTo>
                <a:lnTo>
                  <a:pt x="81" y="59"/>
                </a:lnTo>
                <a:lnTo>
                  <a:pt x="79" y="57"/>
                </a:lnTo>
                <a:lnTo>
                  <a:pt x="77" y="56"/>
                </a:lnTo>
                <a:lnTo>
                  <a:pt x="77" y="54"/>
                </a:lnTo>
                <a:lnTo>
                  <a:pt x="73" y="56"/>
                </a:lnTo>
                <a:lnTo>
                  <a:pt x="71" y="56"/>
                </a:lnTo>
                <a:lnTo>
                  <a:pt x="70" y="58"/>
                </a:lnTo>
                <a:lnTo>
                  <a:pt x="66" y="58"/>
                </a:lnTo>
                <a:lnTo>
                  <a:pt x="60" y="58"/>
                </a:lnTo>
                <a:lnTo>
                  <a:pt x="54" y="56"/>
                </a:lnTo>
                <a:lnTo>
                  <a:pt x="53" y="54"/>
                </a:lnTo>
                <a:lnTo>
                  <a:pt x="50" y="53"/>
                </a:lnTo>
                <a:lnTo>
                  <a:pt x="50" y="52"/>
                </a:lnTo>
                <a:lnTo>
                  <a:pt x="49" y="49"/>
                </a:lnTo>
                <a:lnTo>
                  <a:pt x="47" y="49"/>
                </a:lnTo>
                <a:lnTo>
                  <a:pt x="44" y="48"/>
                </a:lnTo>
                <a:lnTo>
                  <a:pt x="39" y="46"/>
                </a:lnTo>
                <a:lnTo>
                  <a:pt x="34" y="45"/>
                </a:lnTo>
                <a:lnTo>
                  <a:pt x="30" y="43"/>
                </a:lnTo>
                <a:lnTo>
                  <a:pt x="30" y="67"/>
                </a:lnTo>
                <a:lnTo>
                  <a:pt x="27" y="71"/>
                </a:lnTo>
                <a:lnTo>
                  <a:pt x="25" y="72"/>
                </a:lnTo>
                <a:lnTo>
                  <a:pt x="23" y="72"/>
                </a:lnTo>
                <a:lnTo>
                  <a:pt x="22" y="72"/>
                </a:lnTo>
                <a:lnTo>
                  <a:pt x="0" y="72"/>
                </a:lnTo>
                <a:lnTo>
                  <a:pt x="0" y="125"/>
                </a:lnTo>
                <a:lnTo>
                  <a:pt x="14" y="141"/>
                </a:lnTo>
                <a:lnTo>
                  <a:pt x="16" y="142"/>
                </a:lnTo>
                <a:lnTo>
                  <a:pt x="16" y="143"/>
                </a:lnTo>
                <a:lnTo>
                  <a:pt x="17" y="144"/>
                </a:lnTo>
                <a:lnTo>
                  <a:pt x="19" y="144"/>
                </a:lnTo>
                <a:lnTo>
                  <a:pt x="23" y="144"/>
                </a:lnTo>
                <a:lnTo>
                  <a:pt x="26" y="143"/>
                </a:lnTo>
                <a:lnTo>
                  <a:pt x="27" y="142"/>
                </a:lnTo>
                <a:lnTo>
                  <a:pt x="31" y="142"/>
                </a:lnTo>
                <a:lnTo>
                  <a:pt x="35" y="142"/>
                </a:lnTo>
                <a:lnTo>
                  <a:pt x="38" y="143"/>
                </a:lnTo>
                <a:lnTo>
                  <a:pt x="43" y="145"/>
                </a:lnTo>
                <a:lnTo>
                  <a:pt x="47" y="148"/>
                </a:lnTo>
                <a:lnTo>
                  <a:pt x="50" y="148"/>
                </a:lnTo>
                <a:lnTo>
                  <a:pt x="53" y="150"/>
                </a:lnTo>
                <a:lnTo>
                  <a:pt x="66" y="150"/>
                </a:lnTo>
                <a:lnTo>
                  <a:pt x="66" y="152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35" name="Freeform 34">
            <a:extLst>
              <a:ext uri="{FF2B5EF4-FFF2-40B4-BE49-F238E27FC236}">
                <a16:creationId xmlns:a16="http://schemas.microsoft.com/office/drawing/2014/main" id="{AB1A7099-544F-F676-87D1-37DE21605724}"/>
              </a:ext>
            </a:extLst>
          </p:cNvPr>
          <p:cNvSpPr>
            <a:spLocks/>
          </p:cNvSpPr>
          <p:nvPr/>
        </p:nvSpPr>
        <p:spPr bwMode="auto">
          <a:xfrm>
            <a:off x="6479550" y="5009996"/>
            <a:ext cx="360363" cy="342900"/>
          </a:xfrm>
          <a:custGeom>
            <a:avLst/>
            <a:gdLst>
              <a:gd name="T0" fmla="*/ 143 w 179"/>
              <a:gd name="T1" fmla="*/ 182 h 183"/>
              <a:gd name="T2" fmla="*/ 97 w 179"/>
              <a:gd name="T3" fmla="*/ 180 h 183"/>
              <a:gd name="T4" fmla="*/ 93 w 179"/>
              <a:gd name="T5" fmla="*/ 176 h 183"/>
              <a:gd name="T6" fmla="*/ 29 w 179"/>
              <a:gd name="T7" fmla="*/ 175 h 183"/>
              <a:gd name="T8" fmla="*/ 22 w 179"/>
              <a:gd name="T9" fmla="*/ 170 h 183"/>
              <a:gd name="T10" fmla="*/ 19 w 179"/>
              <a:gd name="T11" fmla="*/ 169 h 183"/>
              <a:gd name="T12" fmla="*/ 9 w 179"/>
              <a:gd name="T13" fmla="*/ 171 h 183"/>
              <a:gd name="T14" fmla="*/ 4 w 179"/>
              <a:gd name="T15" fmla="*/ 171 h 183"/>
              <a:gd name="T16" fmla="*/ 0 w 179"/>
              <a:gd name="T17" fmla="*/ 169 h 183"/>
              <a:gd name="T18" fmla="*/ 1 w 179"/>
              <a:gd name="T19" fmla="*/ 162 h 183"/>
              <a:gd name="T20" fmla="*/ 4 w 179"/>
              <a:gd name="T21" fmla="*/ 152 h 183"/>
              <a:gd name="T22" fmla="*/ 5 w 179"/>
              <a:gd name="T23" fmla="*/ 147 h 183"/>
              <a:gd name="T24" fmla="*/ 4 w 179"/>
              <a:gd name="T25" fmla="*/ 139 h 183"/>
              <a:gd name="T26" fmla="*/ 6 w 179"/>
              <a:gd name="T27" fmla="*/ 130 h 183"/>
              <a:gd name="T28" fmla="*/ 13 w 179"/>
              <a:gd name="T29" fmla="*/ 117 h 183"/>
              <a:gd name="T30" fmla="*/ 23 w 179"/>
              <a:gd name="T31" fmla="*/ 101 h 183"/>
              <a:gd name="T32" fmla="*/ 27 w 179"/>
              <a:gd name="T33" fmla="*/ 94 h 183"/>
              <a:gd name="T34" fmla="*/ 30 w 179"/>
              <a:gd name="T35" fmla="*/ 86 h 183"/>
              <a:gd name="T36" fmla="*/ 32 w 179"/>
              <a:gd name="T37" fmla="*/ 77 h 183"/>
              <a:gd name="T38" fmla="*/ 30 w 179"/>
              <a:gd name="T39" fmla="*/ 70 h 183"/>
              <a:gd name="T40" fmla="*/ 26 w 179"/>
              <a:gd name="T41" fmla="*/ 61 h 183"/>
              <a:gd name="T42" fmla="*/ 21 w 179"/>
              <a:gd name="T43" fmla="*/ 51 h 183"/>
              <a:gd name="T44" fmla="*/ 19 w 179"/>
              <a:gd name="T45" fmla="*/ 45 h 183"/>
              <a:gd name="T46" fmla="*/ 22 w 179"/>
              <a:gd name="T47" fmla="*/ 40 h 183"/>
              <a:gd name="T48" fmla="*/ 23 w 179"/>
              <a:gd name="T49" fmla="*/ 35 h 183"/>
              <a:gd name="T50" fmla="*/ 23 w 179"/>
              <a:gd name="T51" fmla="*/ 27 h 183"/>
              <a:gd name="T52" fmla="*/ 18 w 179"/>
              <a:gd name="T53" fmla="*/ 9 h 183"/>
              <a:gd name="T54" fmla="*/ 70 w 179"/>
              <a:gd name="T55" fmla="*/ 0 h 183"/>
              <a:gd name="T56" fmla="*/ 72 w 179"/>
              <a:gd name="T57" fmla="*/ 10 h 183"/>
              <a:gd name="T58" fmla="*/ 76 w 179"/>
              <a:gd name="T59" fmla="*/ 19 h 183"/>
              <a:gd name="T60" fmla="*/ 79 w 179"/>
              <a:gd name="T61" fmla="*/ 24 h 183"/>
              <a:gd name="T62" fmla="*/ 86 w 179"/>
              <a:gd name="T63" fmla="*/ 29 h 183"/>
              <a:gd name="T64" fmla="*/ 100 w 179"/>
              <a:gd name="T65" fmla="*/ 29 h 183"/>
              <a:gd name="T66" fmla="*/ 108 w 179"/>
              <a:gd name="T67" fmla="*/ 28 h 183"/>
              <a:gd name="T68" fmla="*/ 111 w 179"/>
              <a:gd name="T69" fmla="*/ 25 h 183"/>
              <a:gd name="T70" fmla="*/ 112 w 179"/>
              <a:gd name="T71" fmla="*/ 16 h 183"/>
              <a:gd name="T72" fmla="*/ 129 w 179"/>
              <a:gd name="T73" fmla="*/ 18 h 183"/>
              <a:gd name="T74" fmla="*/ 134 w 179"/>
              <a:gd name="T75" fmla="*/ 20 h 183"/>
              <a:gd name="T76" fmla="*/ 143 w 179"/>
              <a:gd name="T77" fmla="*/ 20 h 183"/>
              <a:gd name="T78" fmla="*/ 149 w 179"/>
              <a:gd name="T79" fmla="*/ 29 h 183"/>
              <a:gd name="T80" fmla="*/ 148 w 179"/>
              <a:gd name="T81" fmla="*/ 46 h 183"/>
              <a:gd name="T82" fmla="*/ 148 w 179"/>
              <a:gd name="T83" fmla="*/ 58 h 183"/>
              <a:gd name="T84" fmla="*/ 151 w 179"/>
              <a:gd name="T85" fmla="*/ 62 h 183"/>
              <a:gd name="T86" fmla="*/ 153 w 179"/>
              <a:gd name="T87" fmla="*/ 65 h 183"/>
              <a:gd name="T88" fmla="*/ 153 w 179"/>
              <a:gd name="T89" fmla="*/ 71 h 183"/>
              <a:gd name="T90" fmla="*/ 155 w 179"/>
              <a:gd name="T91" fmla="*/ 78 h 183"/>
              <a:gd name="T92" fmla="*/ 160 w 179"/>
              <a:gd name="T93" fmla="*/ 78 h 183"/>
              <a:gd name="T94" fmla="*/ 165 w 179"/>
              <a:gd name="T95" fmla="*/ 77 h 183"/>
              <a:gd name="T96" fmla="*/ 171 w 179"/>
              <a:gd name="T97" fmla="*/ 77 h 183"/>
              <a:gd name="T98" fmla="*/ 178 w 179"/>
              <a:gd name="T99" fmla="*/ 100 h 183"/>
              <a:gd name="T100" fmla="*/ 173 w 179"/>
              <a:gd name="T101" fmla="*/ 106 h 183"/>
              <a:gd name="T102" fmla="*/ 170 w 179"/>
              <a:gd name="T103" fmla="*/ 106 h 183"/>
              <a:gd name="T104" fmla="*/ 148 w 179"/>
              <a:gd name="T105" fmla="*/ 159 h 183"/>
              <a:gd name="T106" fmla="*/ 164 w 179"/>
              <a:gd name="T107" fmla="*/ 176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79" h="183">
                <a:moveTo>
                  <a:pt x="164" y="176"/>
                </a:moveTo>
                <a:lnTo>
                  <a:pt x="143" y="182"/>
                </a:lnTo>
                <a:lnTo>
                  <a:pt x="104" y="182"/>
                </a:lnTo>
                <a:lnTo>
                  <a:pt x="97" y="180"/>
                </a:lnTo>
                <a:lnTo>
                  <a:pt x="94" y="178"/>
                </a:lnTo>
                <a:lnTo>
                  <a:pt x="93" y="176"/>
                </a:lnTo>
                <a:lnTo>
                  <a:pt x="92" y="175"/>
                </a:lnTo>
                <a:lnTo>
                  <a:pt x="29" y="175"/>
                </a:lnTo>
                <a:lnTo>
                  <a:pt x="24" y="171"/>
                </a:lnTo>
                <a:lnTo>
                  <a:pt x="22" y="170"/>
                </a:lnTo>
                <a:lnTo>
                  <a:pt x="21" y="169"/>
                </a:lnTo>
                <a:lnTo>
                  <a:pt x="19" y="169"/>
                </a:lnTo>
                <a:lnTo>
                  <a:pt x="14" y="170"/>
                </a:lnTo>
                <a:lnTo>
                  <a:pt x="9" y="171"/>
                </a:lnTo>
                <a:lnTo>
                  <a:pt x="6" y="171"/>
                </a:lnTo>
                <a:lnTo>
                  <a:pt x="4" y="171"/>
                </a:lnTo>
                <a:lnTo>
                  <a:pt x="2" y="171"/>
                </a:lnTo>
                <a:lnTo>
                  <a:pt x="0" y="169"/>
                </a:lnTo>
                <a:lnTo>
                  <a:pt x="0" y="165"/>
                </a:lnTo>
                <a:lnTo>
                  <a:pt x="1" y="162"/>
                </a:lnTo>
                <a:lnTo>
                  <a:pt x="3" y="155"/>
                </a:lnTo>
                <a:lnTo>
                  <a:pt x="4" y="152"/>
                </a:lnTo>
                <a:lnTo>
                  <a:pt x="5" y="149"/>
                </a:lnTo>
                <a:lnTo>
                  <a:pt x="5" y="147"/>
                </a:lnTo>
                <a:lnTo>
                  <a:pt x="4" y="145"/>
                </a:lnTo>
                <a:lnTo>
                  <a:pt x="4" y="139"/>
                </a:lnTo>
                <a:lnTo>
                  <a:pt x="5" y="134"/>
                </a:lnTo>
                <a:lnTo>
                  <a:pt x="6" y="130"/>
                </a:lnTo>
                <a:lnTo>
                  <a:pt x="8" y="125"/>
                </a:lnTo>
                <a:lnTo>
                  <a:pt x="13" y="117"/>
                </a:lnTo>
                <a:lnTo>
                  <a:pt x="18" y="109"/>
                </a:lnTo>
                <a:lnTo>
                  <a:pt x="23" y="101"/>
                </a:lnTo>
                <a:lnTo>
                  <a:pt x="26" y="98"/>
                </a:lnTo>
                <a:lnTo>
                  <a:pt x="27" y="94"/>
                </a:lnTo>
                <a:lnTo>
                  <a:pt x="29" y="91"/>
                </a:lnTo>
                <a:lnTo>
                  <a:pt x="30" y="86"/>
                </a:lnTo>
                <a:lnTo>
                  <a:pt x="31" y="81"/>
                </a:lnTo>
                <a:lnTo>
                  <a:pt x="32" y="77"/>
                </a:lnTo>
                <a:lnTo>
                  <a:pt x="31" y="72"/>
                </a:lnTo>
                <a:lnTo>
                  <a:pt x="30" y="70"/>
                </a:lnTo>
                <a:lnTo>
                  <a:pt x="30" y="68"/>
                </a:lnTo>
                <a:lnTo>
                  <a:pt x="26" y="61"/>
                </a:lnTo>
                <a:lnTo>
                  <a:pt x="22" y="55"/>
                </a:lnTo>
                <a:lnTo>
                  <a:pt x="21" y="51"/>
                </a:lnTo>
                <a:lnTo>
                  <a:pt x="19" y="46"/>
                </a:lnTo>
                <a:lnTo>
                  <a:pt x="19" y="45"/>
                </a:lnTo>
                <a:lnTo>
                  <a:pt x="21" y="42"/>
                </a:lnTo>
                <a:lnTo>
                  <a:pt x="22" y="40"/>
                </a:lnTo>
                <a:lnTo>
                  <a:pt x="23" y="37"/>
                </a:lnTo>
                <a:lnTo>
                  <a:pt x="23" y="35"/>
                </a:lnTo>
                <a:lnTo>
                  <a:pt x="23" y="33"/>
                </a:lnTo>
                <a:lnTo>
                  <a:pt x="23" y="27"/>
                </a:lnTo>
                <a:lnTo>
                  <a:pt x="21" y="19"/>
                </a:lnTo>
                <a:lnTo>
                  <a:pt x="18" y="9"/>
                </a:lnTo>
                <a:lnTo>
                  <a:pt x="14" y="0"/>
                </a:lnTo>
                <a:lnTo>
                  <a:pt x="70" y="0"/>
                </a:lnTo>
                <a:lnTo>
                  <a:pt x="71" y="5"/>
                </a:lnTo>
                <a:lnTo>
                  <a:pt x="72" y="10"/>
                </a:lnTo>
                <a:lnTo>
                  <a:pt x="73" y="16"/>
                </a:lnTo>
                <a:lnTo>
                  <a:pt x="76" y="19"/>
                </a:lnTo>
                <a:lnTo>
                  <a:pt x="77" y="22"/>
                </a:lnTo>
                <a:lnTo>
                  <a:pt x="79" y="24"/>
                </a:lnTo>
                <a:lnTo>
                  <a:pt x="82" y="27"/>
                </a:lnTo>
                <a:lnTo>
                  <a:pt x="86" y="29"/>
                </a:lnTo>
                <a:lnTo>
                  <a:pt x="90" y="29"/>
                </a:lnTo>
                <a:lnTo>
                  <a:pt x="100" y="29"/>
                </a:lnTo>
                <a:lnTo>
                  <a:pt x="106" y="29"/>
                </a:lnTo>
                <a:lnTo>
                  <a:pt x="108" y="28"/>
                </a:lnTo>
                <a:lnTo>
                  <a:pt x="109" y="27"/>
                </a:lnTo>
                <a:lnTo>
                  <a:pt x="111" y="25"/>
                </a:lnTo>
                <a:lnTo>
                  <a:pt x="112" y="22"/>
                </a:lnTo>
                <a:lnTo>
                  <a:pt x="112" y="16"/>
                </a:lnTo>
                <a:lnTo>
                  <a:pt x="128" y="16"/>
                </a:lnTo>
                <a:lnTo>
                  <a:pt x="129" y="18"/>
                </a:lnTo>
                <a:lnTo>
                  <a:pt x="131" y="19"/>
                </a:lnTo>
                <a:lnTo>
                  <a:pt x="134" y="20"/>
                </a:lnTo>
                <a:lnTo>
                  <a:pt x="136" y="20"/>
                </a:lnTo>
                <a:lnTo>
                  <a:pt x="143" y="20"/>
                </a:lnTo>
                <a:lnTo>
                  <a:pt x="148" y="19"/>
                </a:lnTo>
                <a:lnTo>
                  <a:pt x="149" y="29"/>
                </a:lnTo>
                <a:lnTo>
                  <a:pt x="149" y="38"/>
                </a:lnTo>
                <a:lnTo>
                  <a:pt x="148" y="46"/>
                </a:lnTo>
                <a:lnTo>
                  <a:pt x="148" y="56"/>
                </a:lnTo>
                <a:lnTo>
                  <a:pt x="148" y="58"/>
                </a:lnTo>
                <a:lnTo>
                  <a:pt x="148" y="59"/>
                </a:lnTo>
                <a:lnTo>
                  <a:pt x="151" y="62"/>
                </a:lnTo>
                <a:lnTo>
                  <a:pt x="153" y="64"/>
                </a:lnTo>
                <a:lnTo>
                  <a:pt x="153" y="65"/>
                </a:lnTo>
                <a:lnTo>
                  <a:pt x="153" y="67"/>
                </a:lnTo>
                <a:lnTo>
                  <a:pt x="153" y="71"/>
                </a:lnTo>
                <a:lnTo>
                  <a:pt x="152" y="77"/>
                </a:lnTo>
                <a:lnTo>
                  <a:pt x="155" y="78"/>
                </a:lnTo>
                <a:lnTo>
                  <a:pt x="158" y="78"/>
                </a:lnTo>
                <a:lnTo>
                  <a:pt x="160" y="78"/>
                </a:lnTo>
                <a:lnTo>
                  <a:pt x="161" y="78"/>
                </a:lnTo>
                <a:lnTo>
                  <a:pt x="165" y="77"/>
                </a:lnTo>
                <a:lnTo>
                  <a:pt x="168" y="77"/>
                </a:lnTo>
                <a:lnTo>
                  <a:pt x="171" y="77"/>
                </a:lnTo>
                <a:lnTo>
                  <a:pt x="178" y="77"/>
                </a:lnTo>
                <a:lnTo>
                  <a:pt x="178" y="100"/>
                </a:lnTo>
                <a:lnTo>
                  <a:pt x="174" y="104"/>
                </a:lnTo>
                <a:lnTo>
                  <a:pt x="173" y="106"/>
                </a:lnTo>
                <a:lnTo>
                  <a:pt x="171" y="106"/>
                </a:lnTo>
                <a:lnTo>
                  <a:pt x="170" y="106"/>
                </a:lnTo>
                <a:lnTo>
                  <a:pt x="148" y="106"/>
                </a:lnTo>
                <a:lnTo>
                  <a:pt x="148" y="159"/>
                </a:lnTo>
                <a:lnTo>
                  <a:pt x="162" y="174"/>
                </a:lnTo>
                <a:lnTo>
                  <a:pt x="164" y="176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36" name="Freeform 35">
            <a:extLst>
              <a:ext uri="{FF2B5EF4-FFF2-40B4-BE49-F238E27FC236}">
                <a16:creationId xmlns:a16="http://schemas.microsoft.com/office/drawing/2014/main" id="{347D8B3E-6F78-4ADC-3D1C-9CBA3142F6CA}"/>
              </a:ext>
            </a:extLst>
          </p:cNvPr>
          <p:cNvSpPr>
            <a:spLocks/>
          </p:cNvSpPr>
          <p:nvPr/>
        </p:nvSpPr>
        <p:spPr bwMode="auto">
          <a:xfrm>
            <a:off x="6704975" y="5348134"/>
            <a:ext cx="269875" cy="261938"/>
          </a:xfrm>
          <a:custGeom>
            <a:avLst/>
            <a:gdLst>
              <a:gd name="T0" fmla="*/ 83 w 134"/>
              <a:gd name="T1" fmla="*/ 4 h 140"/>
              <a:gd name="T2" fmla="*/ 86 w 134"/>
              <a:gd name="T3" fmla="*/ 10 h 140"/>
              <a:gd name="T4" fmla="*/ 89 w 134"/>
              <a:gd name="T5" fmla="*/ 16 h 140"/>
              <a:gd name="T6" fmla="*/ 90 w 134"/>
              <a:gd name="T7" fmla="*/ 21 h 140"/>
              <a:gd name="T8" fmla="*/ 96 w 134"/>
              <a:gd name="T9" fmla="*/ 27 h 140"/>
              <a:gd name="T10" fmla="*/ 106 w 134"/>
              <a:gd name="T11" fmla="*/ 35 h 140"/>
              <a:gd name="T12" fmla="*/ 111 w 134"/>
              <a:gd name="T13" fmla="*/ 40 h 140"/>
              <a:gd name="T14" fmla="*/ 113 w 134"/>
              <a:gd name="T15" fmla="*/ 52 h 140"/>
              <a:gd name="T16" fmla="*/ 116 w 134"/>
              <a:gd name="T17" fmla="*/ 57 h 140"/>
              <a:gd name="T18" fmla="*/ 119 w 134"/>
              <a:gd name="T19" fmla="*/ 59 h 140"/>
              <a:gd name="T20" fmla="*/ 126 w 134"/>
              <a:gd name="T21" fmla="*/ 59 h 140"/>
              <a:gd name="T22" fmla="*/ 129 w 134"/>
              <a:gd name="T23" fmla="*/ 62 h 140"/>
              <a:gd name="T24" fmla="*/ 133 w 134"/>
              <a:gd name="T25" fmla="*/ 66 h 140"/>
              <a:gd name="T26" fmla="*/ 126 w 134"/>
              <a:gd name="T27" fmla="*/ 69 h 140"/>
              <a:gd name="T28" fmla="*/ 116 w 134"/>
              <a:gd name="T29" fmla="*/ 77 h 140"/>
              <a:gd name="T30" fmla="*/ 103 w 134"/>
              <a:gd name="T31" fmla="*/ 92 h 140"/>
              <a:gd name="T32" fmla="*/ 95 w 134"/>
              <a:gd name="T33" fmla="*/ 102 h 140"/>
              <a:gd name="T34" fmla="*/ 93 w 134"/>
              <a:gd name="T35" fmla="*/ 103 h 140"/>
              <a:gd name="T36" fmla="*/ 88 w 134"/>
              <a:gd name="T37" fmla="*/ 105 h 140"/>
              <a:gd name="T38" fmla="*/ 85 w 134"/>
              <a:gd name="T39" fmla="*/ 107 h 140"/>
              <a:gd name="T40" fmla="*/ 82 w 134"/>
              <a:gd name="T41" fmla="*/ 113 h 140"/>
              <a:gd name="T42" fmla="*/ 79 w 134"/>
              <a:gd name="T43" fmla="*/ 118 h 140"/>
              <a:gd name="T44" fmla="*/ 76 w 134"/>
              <a:gd name="T45" fmla="*/ 120 h 140"/>
              <a:gd name="T46" fmla="*/ 71 w 134"/>
              <a:gd name="T47" fmla="*/ 122 h 140"/>
              <a:gd name="T48" fmla="*/ 66 w 134"/>
              <a:gd name="T49" fmla="*/ 122 h 140"/>
              <a:gd name="T50" fmla="*/ 59 w 134"/>
              <a:gd name="T51" fmla="*/ 118 h 140"/>
              <a:gd name="T52" fmla="*/ 55 w 134"/>
              <a:gd name="T53" fmla="*/ 115 h 140"/>
              <a:gd name="T54" fmla="*/ 50 w 134"/>
              <a:gd name="T55" fmla="*/ 115 h 140"/>
              <a:gd name="T56" fmla="*/ 45 w 134"/>
              <a:gd name="T57" fmla="*/ 117 h 140"/>
              <a:gd name="T58" fmla="*/ 31 w 134"/>
              <a:gd name="T59" fmla="*/ 133 h 140"/>
              <a:gd name="T60" fmla="*/ 24 w 134"/>
              <a:gd name="T61" fmla="*/ 139 h 140"/>
              <a:gd name="T62" fmla="*/ 10 w 134"/>
              <a:gd name="T63" fmla="*/ 135 h 140"/>
              <a:gd name="T64" fmla="*/ 13 w 134"/>
              <a:gd name="T65" fmla="*/ 129 h 140"/>
              <a:gd name="T66" fmla="*/ 13 w 134"/>
              <a:gd name="T67" fmla="*/ 124 h 140"/>
              <a:gd name="T68" fmla="*/ 12 w 134"/>
              <a:gd name="T69" fmla="*/ 120 h 140"/>
              <a:gd name="T70" fmla="*/ 5 w 134"/>
              <a:gd name="T71" fmla="*/ 111 h 140"/>
              <a:gd name="T72" fmla="*/ 0 w 134"/>
              <a:gd name="T73" fmla="*/ 64 h 140"/>
              <a:gd name="T74" fmla="*/ 16 w 134"/>
              <a:gd name="T75" fmla="*/ 7 h 140"/>
              <a:gd name="T76" fmla="*/ 36 w 134"/>
              <a:gd name="T77" fmla="*/ 6 h 140"/>
              <a:gd name="T78" fmla="*/ 53 w 134"/>
              <a:gd name="T79" fmla="*/ 3 h 140"/>
              <a:gd name="T80" fmla="*/ 54 w 134"/>
              <a:gd name="T81" fmla="*/ 7 h 140"/>
              <a:gd name="T82" fmla="*/ 67 w 134"/>
              <a:gd name="T83" fmla="*/ 3 h 140"/>
              <a:gd name="T84" fmla="*/ 76 w 134"/>
              <a:gd name="T85" fmla="*/ 0 h 140"/>
              <a:gd name="T86" fmla="*/ 81 w 134"/>
              <a:gd name="T87" fmla="*/ 0 h 140"/>
              <a:gd name="T88" fmla="*/ 83 w 134"/>
              <a:gd name="T89" fmla="*/ 0 h 140"/>
              <a:gd name="T90" fmla="*/ 83 w 134"/>
              <a:gd name="T91" fmla="*/ 3 h 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34" h="140">
                <a:moveTo>
                  <a:pt x="83" y="3"/>
                </a:moveTo>
                <a:lnTo>
                  <a:pt x="83" y="4"/>
                </a:lnTo>
                <a:lnTo>
                  <a:pt x="84" y="6"/>
                </a:lnTo>
                <a:lnTo>
                  <a:pt x="86" y="10"/>
                </a:lnTo>
                <a:lnTo>
                  <a:pt x="89" y="14"/>
                </a:lnTo>
                <a:lnTo>
                  <a:pt x="89" y="16"/>
                </a:lnTo>
                <a:lnTo>
                  <a:pt x="89" y="19"/>
                </a:lnTo>
                <a:lnTo>
                  <a:pt x="90" y="21"/>
                </a:lnTo>
                <a:lnTo>
                  <a:pt x="93" y="25"/>
                </a:lnTo>
                <a:lnTo>
                  <a:pt x="96" y="27"/>
                </a:lnTo>
                <a:lnTo>
                  <a:pt x="99" y="30"/>
                </a:lnTo>
                <a:lnTo>
                  <a:pt x="106" y="35"/>
                </a:lnTo>
                <a:lnTo>
                  <a:pt x="109" y="39"/>
                </a:lnTo>
                <a:lnTo>
                  <a:pt x="111" y="40"/>
                </a:lnTo>
                <a:lnTo>
                  <a:pt x="112" y="43"/>
                </a:lnTo>
                <a:lnTo>
                  <a:pt x="113" y="52"/>
                </a:lnTo>
                <a:lnTo>
                  <a:pt x="115" y="56"/>
                </a:lnTo>
                <a:lnTo>
                  <a:pt x="116" y="57"/>
                </a:lnTo>
                <a:lnTo>
                  <a:pt x="116" y="59"/>
                </a:lnTo>
                <a:lnTo>
                  <a:pt x="119" y="59"/>
                </a:lnTo>
                <a:lnTo>
                  <a:pt x="122" y="59"/>
                </a:lnTo>
                <a:lnTo>
                  <a:pt x="126" y="59"/>
                </a:lnTo>
                <a:lnTo>
                  <a:pt x="128" y="61"/>
                </a:lnTo>
                <a:lnTo>
                  <a:pt x="129" y="62"/>
                </a:lnTo>
                <a:lnTo>
                  <a:pt x="130" y="63"/>
                </a:lnTo>
                <a:lnTo>
                  <a:pt x="133" y="66"/>
                </a:lnTo>
                <a:lnTo>
                  <a:pt x="129" y="67"/>
                </a:lnTo>
                <a:lnTo>
                  <a:pt x="126" y="69"/>
                </a:lnTo>
                <a:lnTo>
                  <a:pt x="120" y="72"/>
                </a:lnTo>
                <a:lnTo>
                  <a:pt x="116" y="77"/>
                </a:lnTo>
                <a:lnTo>
                  <a:pt x="111" y="82"/>
                </a:lnTo>
                <a:lnTo>
                  <a:pt x="103" y="92"/>
                </a:lnTo>
                <a:lnTo>
                  <a:pt x="99" y="97"/>
                </a:lnTo>
                <a:lnTo>
                  <a:pt x="95" y="102"/>
                </a:lnTo>
                <a:lnTo>
                  <a:pt x="94" y="102"/>
                </a:lnTo>
                <a:lnTo>
                  <a:pt x="93" y="103"/>
                </a:lnTo>
                <a:lnTo>
                  <a:pt x="89" y="104"/>
                </a:lnTo>
                <a:lnTo>
                  <a:pt x="88" y="105"/>
                </a:lnTo>
                <a:lnTo>
                  <a:pt x="86" y="106"/>
                </a:lnTo>
                <a:lnTo>
                  <a:pt x="85" y="107"/>
                </a:lnTo>
                <a:lnTo>
                  <a:pt x="84" y="109"/>
                </a:lnTo>
                <a:lnTo>
                  <a:pt x="82" y="113"/>
                </a:lnTo>
                <a:lnTo>
                  <a:pt x="80" y="116"/>
                </a:lnTo>
                <a:lnTo>
                  <a:pt x="79" y="118"/>
                </a:lnTo>
                <a:lnTo>
                  <a:pt x="77" y="119"/>
                </a:lnTo>
                <a:lnTo>
                  <a:pt x="76" y="120"/>
                </a:lnTo>
                <a:lnTo>
                  <a:pt x="75" y="122"/>
                </a:lnTo>
                <a:lnTo>
                  <a:pt x="71" y="122"/>
                </a:lnTo>
                <a:lnTo>
                  <a:pt x="67" y="122"/>
                </a:lnTo>
                <a:lnTo>
                  <a:pt x="66" y="122"/>
                </a:lnTo>
                <a:lnTo>
                  <a:pt x="63" y="121"/>
                </a:lnTo>
                <a:lnTo>
                  <a:pt x="59" y="118"/>
                </a:lnTo>
                <a:lnTo>
                  <a:pt x="57" y="117"/>
                </a:lnTo>
                <a:lnTo>
                  <a:pt x="55" y="115"/>
                </a:lnTo>
                <a:lnTo>
                  <a:pt x="53" y="115"/>
                </a:lnTo>
                <a:lnTo>
                  <a:pt x="50" y="115"/>
                </a:lnTo>
                <a:lnTo>
                  <a:pt x="48" y="115"/>
                </a:lnTo>
                <a:lnTo>
                  <a:pt x="45" y="117"/>
                </a:lnTo>
                <a:lnTo>
                  <a:pt x="39" y="125"/>
                </a:lnTo>
                <a:lnTo>
                  <a:pt x="31" y="133"/>
                </a:lnTo>
                <a:lnTo>
                  <a:pt x="27" y="137"/>
                </a:lnTo>
                <a:lnTo>
                  <a:pt x="24" y="139"/>
                </a:lnTo>
                <a:lnTo>
                  <a:pt x="9" y="139"/>
                </a:lnTo>
                <a:lnTo>
                  <a:pt x="10" y="135"/>
                </a:lnTo>
                <a:lnTo>
                  <a:pt x="12" y="132"/>
                </a:lnTo>
                <a:lnTo>
                  <a:pt x="13" y="129"/>
                </a:lnTo>
                <a:lnTo>
                  <a:pt x="13" y="125"/>
                </a:lnTo>
                <a:lnTo>
                  <a:pt x="13" y="124"/>
                </a:lnTo>
                <a:lnTo>
                  <a:pt x="13" y="122"/>
                </a:lnTo>
                <a:lnTo>
                  <a:pt x="12" y="120"/>
                </a:lnTo>
                <a:lnTo>
                  <a:pt x="10" y="118"/>
                </a:lnTo>
                <a:lnTo>
                  <a:pt x="5" y="111"/>
                </a:lnTo>
                <a:lnTo>
                  <a:pt x="0" y="109"/>
                </a:lnTo>
                <a:lnTo>
                  <a:pt x="0" y="64"/>
                </a:lnTo>
                <a:lnTo>
                  <a:pt x="16" y="64"/>
                </a:lnTo>
                <a:lnTo>
                  <a:pt x="16" y="7"/>
                </a:lnTo>
                <a:lnTo>
                  <a:pt x="26" y="7"/>
                </a:lnTo>
                <a:lnTo>
                  <a:pt x="36" y="6"/>
                </a:lnTo>
                <a:lnTo>
                  <a:pt x="44" y="4"/>
                </a:lnTo>
                <a:lnTo>
                  <a:pt x="53" y="3"/>
                </a:lnTo>
                <a:lnTo>
                  <a:pt x="53" y="4"/>
                </a:lnTo>
                <a:lnTo>
                  <a:pt x="54" y="7"/>
                </a:lnTo>
                <a:lnTo>
                  <a:pt x="57" y="9"/>
                </a:lnTo>
                <a:lnTo>
                  <a:pt x="67" y="3"/>
                </a:lnTo>
                <a:lnTo>
                  <a:pt x="73" y="0"/>
                </a:lnTo>
                <a:lnTo>
                  <a:pt x="76" y="0"/>
                </a:lnTo>
                <a:lnTo>
                  <a:pt x="79" y="0"/>
                </a:lnTo>
                <a:lnTo>
                  <a:pt x="81" y="0"/>
                </a:lnTo>
                <a:lnTo>
                  <a:pt x="82" y="0"/>
                </a:lnTo>
                <a:lnTo>
                  <a:pt x="83" y="0"/>
                </a:lnTo>
                <a:lnTo>
                  <a:pt x="83" y="1"/>
                </a:lnTo>
                <a:lnTo>
                  <a:pt x="83" y="3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37" name="Freeform 36">
            <a:extLst>
              <a:ext uri="{FF2B5EF4-FFF2-40B4-BE49-F238E27FC236}">
                <a16:creationId xmlns:a16="http://schemas.microsoft.com/office/drawing/2014/main" id="{C1769EBE-1557-D259-2420-F6B014F04891}"/>
              </a:ext>
            </a:extLst>
          </p:cNvPr>
          <p:cNvSpPr>
            <a:spLocks/>
          </p:cNvSpPr>
          <p:nvPr/>
        </p:nvSpPr>
        <p:spPr bwMode="auto">
          <a:xfrm>
            <a:off x="5669925" y="4446434"/>
            <a:ext cx="82550" cy="31750"/>
          </a:xfrm>
          <a:custGeom>
            <a:avLst/>
            <a:gdLst>
              <a:gd name="T0" fmla="*/ 0 w 41"/>
              <a:gd name="T1" fmla="*/ 9 h 17"/>
              <a:gd name="T2" fmla="*/ 10 w 41"/>
              <a:gd name="T3" fmla="*/ 9 h 17"/>
              <a:gd name="T4" fmla="*/ 13 w 41"/>
              <a:gd name="T5" fmla="*/ 6 h 17"/>
              <a:gd name="T6" fmla="*/ 14 w 41"/>
              <a:gd name="T7" fmla="*/ 6 h 17"/>
              <a:gd name="T8" fmla="*/ 16 w 41"/>
              <a:gd name="T9" fmla="*/ 4 h 17"/>
              <a:gd name="T10" fmla="*/ 19 w 41"/>
              <a:gd name="T11" fmla="*/ 2 h 17"/>
              <a:gd name="T12" fmla="*/ 22 w 41"/>
              <a:gd name="T13" fmla="*/ 0 h 17"/>
              <a:gd name="T14" fmla="*/ 24 w 41"/>
              <a:gd name="T15" fmla="*/ 2 h 17"/>
              <a:gd name="T16" fmla="*/ 24 w 41"/>
              <a:gd name="T17" fmla="*/ 4 h 17"/>
              <a:gd name="T18" fmla="*/ 29 w 41"/>
              <a:gd name="T19" fmla="*/ 5 h 17"/>
              <a:gd name="T20" fmla="*/ 35 w 41"/>
              <a:gd name="T21" fmla="*/ 9 h 17"/>
              <a:gd name="T22" fmla="*/ 40 w 41"/>
              <a:gd name="T23" fmla="*/ 9 h 17"/>
              <a:gd name="T24" fmla="*/ 38 w 41"/>
              <a:gd name="T25" fmla="*/ 11 h 17"/>
              <a:gd name="T26" fmla="*/ 36 w 41"/>
              <a:gd name="T27" fmla="*/ 12 h 17"/>
              <a:gd name="T28" fmla="*/ 35 w 41"/>
              <a:gd name="T29" fmla="*/ 13 h 17"/>
              <a:gd name="T30" fmla="*/ 33 w 41"/>
              <a:gd name="T31" fmla="*/ 16 h 17"/>
              <a:gd name="T32" fmla="*/ 30 w 41"/>
              <a:gd name="T33" fmla="*/ 13 h 17"/>
              <a:gd name="T34" fmla="*/ 27 w 41"/>
              <a:gd name="T35" fmla="*/ 11 h 17"/>
              <a:gd name="T36" fmla="*/ 21 w 41"/>
              <a:gd name="T37" fmla="*/ 9 h 17"/>
              <a:gd name="T38" fmla="*/ 20 w 41"/>
              <a:gd name="T39" fmla="*/ 12 h 17"/>
              <a:gd name="T40" fmla="*/ 10 w 41"/>
              <a:gd name="T41" fmla="*/ 13 h 17"/>
              <a:gd name="T42" fmla="*/ 5 w 41"/>
              <a:gd name="T43" fmla="*/ 16 h 17"/>
              <a:gd name="T44" fmla="*/ 0 w 41"/>
              <a:gd name="T45" fmla="*/ 16 h 17"/>
              <a:gd name="T46" fmla="*/ 1 w 41"/>
              <a:gd name="T47" fmla="*/ 6 h 17"/>
              <a:gd name="T48" fmla="*/ 0 w 41"/>
              <a:gd name="T49" fmla="*/ 9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1" h="17">
                <a:moveTo>
                  <a:pt x="0" y="9"/>
                </a:moveTo>
                <a:lnTo>
                  <a:pt x="10" y="9"/>
                </a:lnTo>
                <a:lnTo>
                  <a:pt x="13" y="6"/>
                </a:lnTo>
                <a:lnTo>
                  <a:pt x="14" y="6"/>
                </a:lnTo>
                <a:lnTo>
                  <a:pt x="16" y="4"/>
                </a:lnTo>
                <a:lnTo>
                  <a:pt x="19" y="2"/>
                </a:lnTo>
                <a:lnTo>
                  <a:pt x="22" y="0"/>
                </a:lnTo>
                <a:lnTo>
                  <a:pt x="24" y="2"/>
                </a:lnTo>
                <a:lnTo>
                  <a:pt x="24" y="4"/>
                </a:lnTo>
                <a:lnTo>
                  <a:pt x="29" y="5"/>
                </a:lnTo>
                <a:lnTo>
                  <a:pt x="35" y="9"/>
                </a:lnTo>
                <a:lnTo>
                  <a:pt x="40" y="9"/>
                </a:lnTo>
                <a:lnTo>
                  <a:pt x="38" y="11"/>
                </a:lnTo>
                <a:lnTo>
                  <a:pt x="36" y="12"/>
                </a:lnTo>
                <a:lnTo>
                  <a:pt x="35" y="13"/>
                </a:lnTo>
                <a:lnTo>
                  <a:pt x="33" y="16"/>
                </a:lnTo>
                <a:lnTo>
                  <a:pt x="30" y="13"/>
                </a:lnTo>
                <a:lnTo>
                  <a:pt x="27" y="11"/>
                </a:lnTo>
                <a:lnTo>
                  <a:pt x="21" y="9"/>
                </a:lnTo>
                <a:lnTo>
                  <a:pt x="20" y="12"/>
                </a:lnTo>
                <a:lnTo>
                  <a:pt x="10" y="13"/>
                </a:lnTo>
                <a:lnTo>
                  <a:pt x="5" y="16"/>
                </a:lnTo>
                <a:lnTo>
                  <a:pt x="0" y="16"/>
                </a:lnTo>
                <a:lnTo>
                  <a:pt x="1" y="6"/>
                </a:lnTo>
                <a:lnTo>
                  <a:pt x="0" y="9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38" name="Freeform 37">
            <a:extLst>
              <a:ext uri="{FF2B5EF4-FFF2-40B4-BE49-F238E27FC236}">
                <a16:creationId xmlns:a16="http://schemas.microsoft.com/office/drawing/2014/main" id="{21BF7A29-3DCC-4F0E-0034-081155725220}"/>
              </a:ext>
            </a:extLst>
          </p:cNvPr>
          <p:cNvSpPr>
            <a:spLocks/>
          </p:cNvSpPr>
          <p:nvPr/>
        </p:nvSpPr>
        <p:spPr bwMode="auto">
          <a:xfrm>
            <a:off x="5660400" y="4367059"/>
            <a:ext cx="152400" cy="131763"/>
          </a:xfrm>
          <a:custGeom>
            <a:avLst/>
            <a:gdLst>
              <a:gd name="T0" fmla="*/ 3 w 75"/>
              <a:gd name="T1" fmla="*/ 63 h 70"/>
              <a:gd name="T2" fmla="*/ 3 w 75"/>
              <a:gd name="T3" fmla="*/ 60 h 70"/>
              <a:gd name="T4" fmla="*/ 3 w 75"/>
              <a:gd name="T5" fmla="*/ 53 h 70"/>
              <a:gd name="T6" fmla="*/ 13 w 75"/>
              <a:gd name="T7" fmla="*/ 51 h 70"/>
              <a:gd name="T8" fmla="*/ 25 w 75"/>
              <a:gd name="T9" fmla="*/ 48 h 70"/>
              <a:gd name="T10" fmla="*/ 34 w 75"/>
              <a:gd name="T11" fmla="*/ 51 h 70"/>
              <a:gd name="T12" fmla="*/ 38 w 75"/>
              <a:gd name="T13" fmla="*/ 51 h 70"/>
              <a:gd name="T14" fmla="*/ 41 w 75"/>
              <a:gd name="T15" fmla="*/ 50 h 70"/>
              <a:gd name="T16" fmla="*/ 38 w 75"/>
              <a:gd name="T17" fmla="*/ 48 h 70"/>
              <a:gd name="T18" fmla="*/ 28 w 75"/>
              <a:gd name="T19" fmla="*/ 45 h 70"/>
              <a:gd name="T20" fmla="*/ 25 w 75"/>
              <a:gd name="T21" fmla="*/ 42 h 70"/>
              <a:gd name="T22" fmla="*/ 19 w 75"/>
              <a:gd name="T23" fmla="*/ 45 h 70"/>
              <a:gd name="T24" fmla="*/ 16 w 75"/>
              <a:gd name="T25" fmla="*/ 47 h 70"/>
              <a:gd name="T26" fmla="*/ 4 w 75"/>
              <a:gd name="T27" fmla="*/ 47 h 70"/>
              <a:gd name="T28" fmla="*/ 6 w 75"/>
              <a:gd name="T29" fmla="*/ 39 h 70"/>
              <a:gd name="T30" fmla="*/ 5 w 75"/>
              <a:gd name="T31" fmla="*/ 34 h 70"/>
              <a:gd name="T32" fmla="*/ 1 w 75"/>
              <a:gd name="T33" fmla="*/ 29 h 70"/>
              <a:gd name="T34" fmla="*/ 0 w 75"/>
              <a:gd name="T35" fmla="*/ 24 h 70"/>
              <a:gd name="T36" fmla="*/ 3 w 75"/>
              <a:gd name="T37" fmla="*/ 13 h 70"/>
              <a:gd name="T38" fmla="*/ 9 w 75"/>
              <a:gd name="T39" fmla="*/ 2 h 70"/>
              <a:gd name="T40" fmla="*/ 13 w 75"/>
              <a:gd name="T41" fmla="*/ 3 h 70"/>
              <a:gd name="T42" fmla="*/ 18 w 75"/>
              <a:gd name="T43" fmla="*/ 1 h 70"/>
              <a:gd name="T44" fmla="*/ 23 w 75"/>
              <a:gd name="T45" fmla="*/ 0 h 70"/>
              <a:gd name="T46" fmla="*/ 30 w 75"/>
              <a:gd name="T47" fmla="*/ 0 h 70"/>
              <a:gd name="T48" fmla="*/ 36 w 75"/>
              <a:gd name="T49" fmla="*/ 1 h 70"/>
              <a:gd name="T50" fmla="*/ 41 w 75"/>
              <a:gd name="T51" fmla="*/ 4 h 70"/>
              <a:gd name="T52" fmla="*/ 45 w 75"/>
              <a:gd name="T53" fmla="*/ 8 h 70"/>
              <a:gd name="T54" fmla="*/ 56 w 75"/>
              <a:gd name="T55" fmla="*/ 24 h 70"/>
              <a:gd name="T56" fmla="*/ 62 w 75"/>
              <a:gd name="T57" fmla="*/ 29 h 70"/>
              <a:gd name="T58" fmla="*/ 63 w 75"/>
              <a:gd name="T59" fmla="*/ 31 h 70"/>
              <a:gd name="T60" fmla="*/ 66 w 75"/>
              <a:gd name="T61" fmla="*/ 40 h 70"/>
              <a:gd name="T62" fmla="*/ 70 w 75"/>
              <a:gd name="T63" fmla="*/ 48 h 70"/>
              <a:gd name="T64" fmla="*/ 74 w 75"/>
              <a:gd name="T65" fmla="*/ 56 h 70"/>
              <a:gd name="T66" fmla="*/ 74 w 75"/>
              <a:gd name="T67" fmla="*/ 64 h 70"/>
              <a:gd name="T68" fmla="*/ 71 w 75"/>
              <a:gd name="T69" fmla="*/ 67 h 70"/>
              <a:gd name="T70" fmla="*/ 67 w 75"/>
              <a:gd name="T71" fmla="*/ 68 h 70"/>
              <a:gd name="T72" fmla="*/ 62 w 75"/>
              <a:gd name="T73" fmla="*/ 68 h 70"/>
              <a:gd name="T74" fmla="*/ 54 w 75"/>
              <a:gd name="T75" fmla="*/ 65 h 70"/>
              <a:gd name="T76" fmla="*/ 47 w 75"/>
              <a:gd name="T77" fmla="*/ 62 h 70"/>
              <a:gd name="T78" fmla="*/ 37 w 75"/>
              <a:gd name="T79" fmla="*/ 62 h 70"/>
              <a:gd name="T80" fmla="*/ 23 w 75"/>
              <a:gd name="T81" fmla="*/ 64 h 70"/>
              <a:gd name="T82" fmla="*/ 9 w 75"/>
              <a:gd name="T83" fmla="*/ 66 h 70"/>
              <a:gd name="T84" fmla="*/ 4 w 75"/>
              <a:gd name="T85" fmla="*/ 65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75" h="70">
                <a:moveTo>
                  <a:pt x="4" y="65"/>
                </a:moveTo>
                <a:lnTo>
                  <a:pt x="3" y="63"/>
                </a:lnTo>
                <a:lnTo>
                  <a:pt x="3" y="62"/>
                </a:lnTo>
                <a:lnTo>
                  <a:pt x="3" y="60"/>
                </a:lnTo>
                <a:lnTo>
                  <a:pt x="3" y="58"/>
                </a:lnTo>
                <a:lnTo>
                  <a:pt x="3" y="53"/>
                </a:lnTo>
                <a:lnTo>
                  <a:pt x="8" y="53"/>
                </a:lnTo>
                <a:lnTo>
                  <a:pt x="13" y="51"/>
                </a:lnTo>
                <a:lnTo>
                  <a:pt x="23" y="51"/>
                </a:lnTo>
                <a:lnTo>
                  <a:pt x="25" y="48"/>
                </a:lnTo>
                <a:lnTo>
                  <a:pt x="30" y="50"/>
                </a:lnTo>
                <a:lnTo>
                  <a:pt x="34" y="51"/>
                </a:lnTo>
                <a:lnTo>
                  <a:pt x="36" y="53"/>
                </a:lnTo>
                <a:lnTo>
                  <a:pt x="38" y="51"/>
                </a:lnTo>
                <a:lnTo>
                  <a:pt x="40" y="51"/>
                </a:lnTo>
                <a:lnTo>
                  <a:pt x="41" y="50"/>
                </a:lnTo>
                <a:lnTo>
                  <a:pt x="43" y="48"/>
                </a:lnTo>
                <a:lnTo>
                  <a:pt x="38" y="48"/>
                </a:lnTo>
                <a:lnTo>
                  <a:pt x="32" y="46"/>
                </a:lnTo>
                <a:lnTo>
                  <a:pt x="28" y="45"/>
                </a:lnTo>
                <a:lnTo>
                  <a:pt x="27" y="44"/>
                </a:lnTo>
                <a:lnTo>
                  <a:pt x="25" y="42"/>
                </a:lnTo>
                <a:lnTo>
                  <a:pt x="22" y="44"/>
                </a:lnTo>
                <a:lnTo>
                  <a:pt x="19" y="45"/>
                </a:lnTo>
                <a:lnTo>
                  <a:pt x="17" y="47"/>
                </a:lnTo>
                <a:lnTo>
                  <a:pt x="16" y="47"/>
                </a:lnTo>
                <a:lnTo>
                  <a:pt x="13" y="48"/>
                </a:lnTo>
                <a:lnTo>
                  <a:pt x="4" y="47"/>
                </a:lnTo>
                <a:lnTo>
                  <a:pt x="5" y="44"/>
                </a:lnTo>
                <a:lnTo>
                  <a:pt x="6" y="39"/>
                </a:lnTo>
                <a:lnTo>
                  <a:pt x="5" y="36"/>
                </a:lnTo>
                <a:lnTo>
                  <a:pt x="5" y="34"/>
                </a:lnTo>
                <a:lnTo>
                  <a:pt x="3" y="31"/>
                </a:lnTo>
                <a:lnTo>
                  <a:pt x="1" y="29"/>
                </a:lnTo>
                <a:lnTo>
                  <a:pt x="0" y="27"/>
                </a:lnTo>
                <a:lnTo>
                  <a:pt x="0" y="24"/>
                </a:lnTo>
                <a:lnTo>
                  <a:pt x="0" y="19"/>
                </a:lnTo>
                <a:lnTo>
                  <a:pt x="3" y="13"/>
                </a:lnTo>
                <a:lnTo>
                  <a:pt x="8" y="2"/>
                </a:lnTo>
                <a:lnTo>
                  <a:pt x="9" y="2"/>
                </a:lnTo>
                <a:lnTo>
                  <a:pt x="10" y="2"/>
                </a:lnTo>
                <a:lnTo>
                  <a:pt x="13" y="3"/>
                </a:lnTo>
                <a:lnTo>
                  <a:pt x="16" y="2"/>
                </a:lnTo>
                <a:lnTo>
                  <a:pt x="18" y="1"/>
                </a:lnTo>
                <a:lnTo>
                  <a:pt x="22" y="0"/>
                </a:lnTo>
                <a:lnTo>
                  <a:pt x="23" y="0"/>
                </a:lnTo>
                <a:lnTo>
                  <a:pt x="25" y="0"/>
                </a:lnTo>
                <a:lnTo>
                  <a:pt x="30" y="0"/>
                </a:lnTo>
                <a:lnTo>
                  <a:pt x="34" y="0"/>
                </a:lnTo>
                <a:lnTo>
                  <a:pt x="36" y="1"/>
                </a:lnTo>
                <a:lnTo>
                  <a:pt x="39" y="3"/>
                </a:lnTo>
                <a:lnTo>
                  <a:pt x="41" y="4"/>
                </a:lnTo>
                <a:lnTo>
                  <a:pt x="41" y="5"/>
                </a:lnTo>
                <a:lnTo>
                  <a:pt x="45" y="8"/>
                </a:lnTo>
                <a:lnTo>
                  <a:pt x="48" y="13"/>
                </a:lnTo>
                <a:lnTo>
                  <a:pt x="56" y="24"/>
                </a:lnTo>
                <a:lnTo>
                  <a:pt x="61" y="27"/>
                </a:lnTo>
                <a:lnTo>
                  <a:pt x="62" y="29"/>
                </a:lnTo>
                <a:lnTo>
                  <a:pt x="65" y="31"/>
                </a:lnTo>
                <a:lnTo>
                  <a:pt x="63" y="31"/>
                </a:lnTo>
                <a:lnTo>
                  <a:pt x="64" y="35"/>
                </a:lnTo>
                <a:lnTo>
                  <a:pt x="66" y="40"/>
                </a:lnTo>
                <a:lnTo>
                  <a:pt x="67" y="44"/>
                </a:lnTo>
                <a:lnTo>
                  <a:pt x="70" y="48"/>
                </a:lnTo>
                <a:lnTo>
                  <a:pt x="71" y="51"/>
                </a:lnTo>
                <a:lnTo>
                  <a:pt x="74" y="56"/>
                </a:lnTo>
                <a:lnTo>
                  <a:pt x="74" y="62"/>
                </a:lnTo>
                <a:lnTo>
                  <a:pt x="74" y="64"/>
                </a:lnTo>
                <a:lnTo>
                  <a:pt x="74" y="67"/>
                </a:lnTo>
                <a:lnTo>
                  <a:pt x="71" y="67"/>
                </a:lnTo>
                <a:lnTo>
                  <a:pt x="70" y="67"/>
                </a:lnTo>
                <a:lnTo>
                  <a:pt x="67" y="68"/>
                </a:lnTo>
                <a:lnTo>
                  <a:pt x="65" y="69"/>
                </a:lnTo>
                <a:lnTo>
                  <a:pt x="62" y="68"/>
                </a:lnTo>
                <a:lnTo>
                  <a:pt x="59" y="68"/>
                </a:lnTo>
                <a:lnTo>
                  <a:pt x="54" y="65"/>
                </a:lnTo>
                <a:lnTo>
                  <a:pt x="49" y="63"/>
                </a:lnTo>
                <a:lnTo>
                  <a:pt x="47" y="62"/>
                </a:lnTo>
                <a:lnTo>
                  <a:pt x="43" y="62"/>
                </a:lnTo>
                <a:lnTo>
                  <a:pt x="37" y="62"/>
                </a:lnTo>
                <a:lnTo>
                  <a:pt x="32" y="63"/>
                </a:lnTo>
                <a:lnTo>
                  <a:pt x="23" y="64"/>
                </a:lnTo>
                <a:lnTo>
                  <a:pt x="14" y="66"/>
                </a:lnTo>
                <a:lnTo>
                  <a:pt x="9" y="66"/>
                </a:lnTo>
                <a:lnTo>
                  <a:pt x="5" y="66"/>
                </a:lnTo>
                <a:lnTo>
                  <a:pt x="4" y="65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39" name="Freeform 38">
            <a:extLst>
              <a:ext uri="{FF2B5EF4-FFF2-40B4-BE49-F238E27FC236}">
                <a16:creationId xmlns:a16="http://schemas.microsoft.com/office/drawing/2014/main" id="{967FDF7F-C91C-3FD2-4EA1-A5F6480F15FB}"/>
              </a:ext>
            </a:extLst>
          </p:cNvPr>
          <p:cNvSpPr>
            <a:spLocks/>
          </p:cNvSpPr>
          <p:nvPr/>
        </p:nvSpPr>
        <p:spPr bwMode="auto">
          <a:xfrm>
            <a:off x="5671513" y="4482946"/>
            <a:ext cx="80963" cy="38100"/>
          </a:xfrm>
          <a:custGeom>
            <a:avLst/>
            <a:gdLst>
              <a:gd name="T0" fmla="*/ 0 w 40"/>
              <a:gd name="T1" fmla="*/ 3 h 20"/>
              <a:gd name="T2" fmla="*/ 9 w 40"/>
              <a:gd name="T3" fmla="*/ 3 h 20"/>
              <a:gd name="T4" fmla="*/ 18 w 40"/>
              <a:gd name="T5" fmla="*/ 1 h 20"/>
              <a:gd name="T6" fmla="*/ 28 w 40"/>
              <a:gd name="T7" fmla="*/ 0 h 20"/>
              <a:gd name="T8" fmla="*/ 32 w 40"/>
              <a:gd name="T9" fmla="*/ 0 h 20"/>
              <a:gd name="T10" fmla="*/ 39 w 40"/>
              <a:gd name="T11" fmla="*/ 0 h 20"/>
              <a:gd name="T12" fmla="*/ 39 w 40"/>
              <a:gd name="T13" fmla="*/ 3 h 20"/>
              <a:gd name="T14" fmla="*/ 39 w 40"/>
              <a:gd name="T15" fmla="*/ 4 h 20"/>
              <a:gd name="T16" fmla="*/ 37 w 40"/>
              <a:gd name="T17" fmla="*/ 5 h 20"/>
              <a:gd name="T18" fmla="*/ 36 w 40"/>
              <a:gd name="T19" fmla="*/ 6 h 20"/>
              <a:gd name="T20" fmla="*/ 35 w 40"/>
              <a:gd name="T21" fmla="*/ 6 h 20"/>
              <a:gd name="T22" fmla="*/ 36 w 40"/>
              <a:gd name="T23" fmla="*/ 8 h 20"/>
              <a:gd name="T24" fmla="*/ 37 w 40"/>
              <a:gd name="T25" fmla="*/ 9 h 20"/>
              <a:gd name="T26" fmla="*/ 39 w 40"/>
              <a:gd name="T27" fmla="*/ 9 h 20"/>
              <a:gd name="T28" fmla="*/ 39 w 40"/>
              <a:gd name="T29" fmla="*/ 13 h 20"/>
              <a:gd name="T30" fmla="*/ 34 w 40"/>
              <a:gd name="T31" fmla="*/ 15 h 20"/>
              <a:gd name="T32" fmla="*/ 30 w 40"/>
              <a:gd name="T33" fmla="*/ 17 h 20"/>
              <a:gd name="T34" fmla="*/ 26 w 40"/>
              <a:gd name="T35" fmla="*/ 18 h 20"/>
              <a:gd name="T36" fmla="*/ 24 w 40"/>
              <a:gd name="T37" fmla="*/ 19 h 20"/>
              <a:gd name="T38" fmla="*/ 22 w 40"/>
              <a:gd name="T39" fmla="*/ 19 h 20"/>
              <a:gd name="T40" fmla="*/ 17 w 40"/>
              <a:gd name="T41" fmla="*/ 13 h 20"/>
              <a:gd name="T42" fmla="*/ 16 w 40"/>
              <a:gd name="T43" fmla="*/ 11 h 20"/>
              <a:gd name="T44" fmla="*/ 14 w 40"/>
              <a:gd name="T45" fmla="*/ 10 h 20"/>
              <a:gd name="T46" fmla="*/ 9 w 40"/>
              <a:gd name="T47" fmla="*/ 9 h 20"/>
              <a:gd name="T48" fmla="*/ 3 w 40"/>
              <a:gd name="T49" fmla="*/ 6 h 20"/>
              <a:gd name="T50" fmla="*/ 2 w 40"/>
              <a:gd name="T51" fmla="*/ 5 h 20"/>
              <a:gd name="T52" fmla="*/ 0 w 40"/>
              <a:gd name="T53" fmla="*/ 3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40" h="20">
                <a:moveTo>
                  <a:pt x="0" y="3"/>
                </a:moveTo>
                <a:lnTo>
                  <a:pt x="9" y="3"/>
                </a:lnTo>
                <a:lnTo>
                  <a:pt x="18" y="1"/>
                </a:lnTo>
                <a:lnTo>
                  <a:pt x="28" y="0"/>
                </a:lnTo>
                <a:lnTo>
                  <a:pt x="32" y="0"/>
                </a:lnTo>
                <a:lnTo>
                  <a:pt x="39" y="0"/>
                </a:lnTo>
                <a:lnTo>
                  <a:pt x="39" y="3"/>
                </a:lnTo>
                <a:lnTo>
                  <a:pt x="39" y="4"/>
                </a:lnTo>
                <a:lnTo>
                  <a:pt x="37" y="5"/>
                </a:lnTo>
                <a:lnTo>
                  <a:pt x="36" y="6"/>
                </a:lnTo>
                <a:lnTo>
                  <a:pt x="35" y="6"/>
                </a:lnTo>
                <a:lnTo>
                  <a:pt x="36" y="8"/>
                </a:lnTo>
                <a:lnTo>
                  <a:pt x="37" y="9"/>
                </a:lnTo>
                <a:lnTo>
                  <a:pt x="39" y="9"/>
                </a:lnTo>
                <a:lnTo>
                  <a:pt x="39" y="13"/>
                </a:lnTo>
                <a:lnTo>
                  <a:pt x="34" y="15"/>
                </a:lnTo>
                <a:lnTo>
                  <a:pt x="30" y="17"/>
                </a:lnTo>
                <a:lnTo>
                  <a:pt x="26" y="18"/>
                </a:lnTo>
                <a:lnTo>
                  <a:pt x="24" y="19"/>
                </a:lnTo>
                <a:lnTo>
                  <a:pt x="22" y="19"/>
                </a:lnTo>
                <a:lnTo>
                  <a:pt x="17" y="13"/>
                </a:lnTo>
                <a:lnTo>
                  <a:pt x="16" y="11"/>
                </a:lnTo>
                <a:lnTo>
                  <a:pt x="14" y="10"/>
                </a:lnTo>
                <a:lnTo>
                  <a:pt x="9" y="9"/>
                </a:lnTo>
                <a:lnTo>
                  <a:pt x="3" y="6"/>
                </a:lnTo>
                <a:lnTo>
                  <a:pt x="2" y="5"/>
                </a:lnTo>
                <a:lnTo>
                  <a:pt x="0" y="3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0" name="Freeform 39">
            <a:extLst>
              <a:ext uri="{FF2B5EF4-FFF2-40B4-BE49-F238E27FC236}">
                <a16:creationId xmlns:a16="http://schemas.microsoft.com/office/drawing/2014/main" id="{068A8C7F-BB4C-B3C2-64F9-8B417F1682B8}"/>
              </a:ext>
            </a:extLst>
          </p:cNvPr>
          <p:cNvSpPr>
            <a:spLocks/>
          </p:cNvSpPr>
          <p:nvPr/>
        </p:nvSpPr>
        <p:spPr bwMode="auto">
          <a:xfrm>
            <a:off x="5717550" y="4482946"/>
            <a:ext cx="206375" cy="153988"/>
          </a:xfrm>
          <a:custGeom>
            <a:avLst/>
            <a:gdLst>
              <a:gd name="T0" fmla="*/ 29 w 102"/>
              <a:gd name="T1" fmla="*/ 48 h 82"/>
              <a:gd name="T2" fmla="*/ 34 w 102"/>
              <a:gd name="T3" fmla="*/ 44 h 82"/>
              <a:gd name="T4" fmla="*/ 40 w 102"/>
              <a:gd name="T5" fmla="*/ 40 h 82"/>
              <a:gd name="T6" fmla="*/ 47 w 102"/>
              <a:gd name="T7" fmla="*/ 38 h 82"/>
              <a:gd name="T8" fmla="*/ 51 w 102"/>
              <a:gd name="T9" fmla="*/ 39 h 82"/>
              <a:gd name="T10" fmla="*/ 53 w 102"/>
              <a:gd name="T11" fmla="*/ 42 h 82"/>
              <a:gd name="T12" fmla="*/ 57 w 102"/>
              <a:gd name="T13" fmla="*/ 45 h 82"/>
              <a:gd name="T14" fmla="*/ 58 w 102"/>
              <a:gd name="T15" fmla="*/ 53 h 82"/>
              <a:gd name="T16" fmla="*/ 61 w 102"/>
              <a:gd name="T17" fmla="*/ 61 h 82"/>
              <a:gd name="T18" fmla="*/ 65 w 102"/>
              <a:gd name="T19" fmla="*/ 63 h 82"/>
              <a:gd name="T20" fmla="*/ 70 w 102"/>
              <a:gd name="T21" fmla="*/ 62 h 82"/>
              <a:gd name="T22" fmla="*/ 75 w 102"/>
              <a:gd name="T23" fmla="*/ 64 h 82"/>
              <a:gd name="T24" fmla="*/ 76 w 102"/>
              <a:gd name="T25" fmla="*/ 74 h 82"/>
              <a:gd name="T26" fmla="*/ 79 w 102"/>
              <a:gd name="T27" fmla="*/ 80 h 82"/>
              <a:gd name="T28" fmla="*/ 85 w 102"/>
              <a:gd name="T29" fmla="*/ 81 h 82"/>
              <a:gd name="T30" fmla="*/ 86 w 102"/>
              <a:gd name="T31" fmla="*/ 78 h 82"/>
              <a:gd name="T32" fmla="*/ 91 w 102"/>
              <a:gd name="T33" fmla="*/ 78 h 82"/>
              <a:gd name="T34" fmla="*/ 96 w 102"/>
              <a:gd name="T35" fmla="*/ 72 h 82"/>
              <a:gd name="T36" fmla="*/ 96 w 102"/>
              <a:gd name="T37" fmla="*/ 68 h 82"/>
              <a:gd name="T38" fmla="*/ 94 w 102"/>
              <a:gd name="T39" fmla="*/ 64 h 82"/>
              <a:gd name="T40" fmla="*/ 96 w 102"/>
              <a:gd name="T41" fmla="*/ 62 h 82"/>
              <a:gd name="T42" fmla="*/ 101 w 102"/>
              <a:gd name="T43" fmla="*/ 60 h 82"/>
              <a:gd name="T44" fmla="*/ 98 w 102"/>
              <a:gd name="T45" fmla="*/ 58 h 82"/>
              <a:gd name="T46" fmla="*/ 96 w 102"/>
              <a:gd name="T47" fmla="*/ 47 h 82"/>
              <a:gd name="T48" fmla="*/ 96 w 102"/>
              <a:gd name="T49" fmla="*/ 41 h 82"/>
              <a:gd name="T50" fmla="*/ 97 w 102"/>
              <a:gd name="T51" fmla="*/ 37 h 82"/>
              <a:gd name="T52" fmla="*/ 97 w 102"/>
              <a:gd name="T53" fmla="*/ 36 h 82"/>
              <a:gd name="T54" fmla="*/ 94 w 102"/>
              <a:gd name="T55" fmla="*/ 33 h 82"/>
              <a:gd name="T56" fmla="*/ 91 w 102"/>
              <a:gd name="T57" fmla="*/ 30 h 82"/>
              <a:gd name="T58" fmla="*/ 88 w 102"/>
              <a:gd name="T59" fmla="*/ 22 h 82"/>
              <a:gd name="T60" fmla="*/ 84 w 102"/>
              <a:gd name="T61" fmla="*/ 10 h 82"/>
              <a:gd name="T62" fmla="*/ 80 w 102"/>
              <a:gd name="T63" fmla="*/ 6 h 82"/>
              <a:gd name="T64" fmla="*/ 76 w 102"/>
              <a:gd name="T65" fmla="*/ 4 h 82"/>
              <a:gd name="T66" fmla="*/ 74 w 102"/>
              <a:gd name="T67" fmla="*/ 6 h 82"/>
              <a:gd name="T68" fmla="*/ 70 w 102"/>
              <a:gd name="T69" fmla="*/ 6 h 82"/>
              <a:gd name="T70" fmla="*/ 60 w 102"/>
              <a:gd name="T71" fmla="*/ 6 h 82"/>
              <a:gd name="T72" fmla="*/ 47 w 102"/>
              <a:gd name="T73" fmla="*/ 4 h 82"/>
              <a:gd name="T74" fmla="*/ 43 w 102"/>
              <a:gd name="T75" fmla="*/ 4 h 82"/>
              <a:gd name="T76" fmla="*/ 38 w 102"/>
              <a:gd name="T77" fmla="*/ 6 h 82"/>
              <a:gd name="T78" fmla="*/ 32 w 102"/>
              <a:gd name="T79" fmla="*/ 5 h 82"/>
              <a:gd name="T80" fmla="*/ 22 w 102"/>
              <a:gd name="T81" fmla="*/ 0 h 82"/>
              <a:gd name="T82" fmla="*/ 16 w 102"/>
              <a:gd name="T83" fmla="*/ 0 h 82"/>
              <a:gd name="T84" fmla="*/ 16 w 102"/>
              <a:gd name="T85" fmla="*/ 4 h 82"/>
              <a:gd name="T86" fmla="*/ 13 w 102"/>
              <a:gd name="T87" fmla="*/ 6 h 82"/>
              <a:gd name="T88" fmla="*/ 14 w 102"/>
              <a:gd name="T89" fmla="*/ 9 h 82"/>
              <a:gd name="T90" fmla="*/ 16 w 102"/>
              <a:gd name="T91" fmla="*/ 13 h 82"/>
              <a:gd name="T92" fmla="*/ 7 w 102"/>
              <a:gd name="T93" fmla="*/ 17 h 82"/>
              <a:gd name="T94" fmla="*/ 2 w 102"/>
              <a:gd name="T95" fmla="*/ 19 h 82"/>
              <a:gd name="T96" fmla="*/ 7 w 102"/>
              <a:gd name="T97" fmla="*/ 26 h 82"/>
              <a:gd name="T98" fmla="*/ 16 w 102"/>
              <a:gd name="T99" fmla="*/ 39 h 82"/>
              <a:gd name="T100" fmla="*/ 22 w 102"/>
              <a:gd name="T101" fmla="*/ 48 h 82"/>
              <a:gd name="T102" fmla="*/ 26 w 102"/>
              <a:gd name="T103" fmla="*/ 53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02" h="82">
                <a:moveTo>
                  <a:pt x="26" y="53"/>
                </a:moveTo>
                <a:lnTo>
                  <a:pt x="29" y="48"/>
                </a:lnTo>
                <a:lnTo>
                  <a:pt x="31" y="46"/>
                </a:lnTo>
                <a:lnTo>
                  <a:pt x="34" y="44"/>
                </a:lnTo>
                <a:lnTo>
                  <a:pt x="37" y="42"/>
                </a:lnTo>
                <a:lnTo>
                  <a:pt x="40" y="40"/>
                </a:lnTo>
                <a:lnTo>
                  <a:pt x="43" y="39"/>
                </a:lnTo>
                <a:lnTo>
                  <a:pt x="47" y="38"/>
                </a:lnTo>
                <a:lnTo>
                  <a:pt x="49" y="39"/>
                </a:lnTo>
                <a:lnTo>
                  <a:pt x="51" y="39"/>
                </a:lnTo>
                <a:lnTo>
                  <a:pt x="53" y="40"/>
                </a:lnTo>
                <a:lnTo>
                  <a:pt x="53" y="42"/>
                </a:lnTo>
                <a:lnTo>
                  <a:pt x="56" y="42"/>
                </a:lnTo>
                <a:lnTo>
                  <a:pt x="57" y="45"/>
                </a:lnTo>
                <a:lnTo>
                  <a:pt x="57" y="48"/>
                </a:lnTo>
                <a:lnTo>
                  <a:pt x="58" y="53"/>
                </a:lnTo>
                <a:lnTo>
                  <a:pt x="59" y="58"/>
                </a:lnTo>
                <a:lnTo>
                  <a:pt x="61" y="61"/>
                </a:lnTo>
                <a:lnTo>
                  <a:pt x="62" y="64"/>
                </a:lnTo>
                <a:lnTo>
                  <a:pt x="65" y="63"/>
                </a:lnTo>
                <a:lnTo>
                  <a:pt x="67" y="62"/>
                </a:lnTo>
                <a:lnTo>
                  <a:pt x="70" y="62"/>
                </a:lnTo>
                <a:lnTo>
                  <a:pt x="72" y="63"/>
                </a:lnTo>
                <a:lnTo>
                  <a:pt x="75" y="64"/>
                </a:lnTo>
                <a:lnTo>
                  <a:pt x="75" y="68"/>
                </a:lnTo>
                <a:lnTo>
                  <a:pt x="76" y="74"/>
                </a:lnTo>
                <a:lnTo>
                  <a:pt x="78" y="78"/>
                </a:lnTo>
                <a:lnTo>
                  <a:pt x="79" y="80"/>
                </a:lnTo>
                <a:lnTo>
                  <a:pt x="80" y="81"/>
                </a:lnTo>
                <a:lnTo>
                  <a:pt x="85" y="81"/>
                </a:lnTo>
                <a:lnTo>
                  <a:pt x="85" y="80"/>
                </a:lnTo>
                <a:lnTo>
                  <a:pt x="86" y="78"/>
                </a:lnTo>
                <a:lnTo>
                  <a:pt x="89" y="78"/>
                </a:lnTo>
                <a:lnTo>
                  <a:pt x="91" y="78"/>
                </a:lnTo>
                <a:lnTo>
                  <a:pt x="94" y="75"/>
                </a:lnTo>
                <a:lnTo>
                  <a:pt x="96" y="72"/>
                </a:lnTo>
                <a:lnTo>
                  <a:pt x="96" y="69"/>
                </a:lnTo>
                <a:lnTo>
                  <a:pt x="96" y="68"/>
                </a:lnTo>
                <a:lnTo>
                  <a:pt x="94" y="66"/>
                </a:lnTo>
                <a:lnTo>
                  <a:pt x="94" y="64"/>
                </a:lnTo>
                <a:lnTo>
                  <a:pt x="93" y="63"/>
                </a:lnTo>
                <a:lnTo>
                  <a:pt x="96" y="62"/>
                </a:lnTo>
                <a:lnTo>
                  <a:pt x="97" y="62"/>
                </a:lnTo>
                <a:lnTo>
                  <a:pt x="101" y="60"/>
                </a:lnTo>
                <a:lnTo>
                  <a:pt x="99" y="59"/>
                </a:lnTo>
                <a:lnTo>
                  <a:pt x="98" y="58"/>
                </a:lnTo>
                <a:lnTo>
                  <a:pt x="97" y="53"/>
                </a:lnTo>
                <a:lnTo>
                  <a:pt x="96" y="47"/>
                </a:lnTo>
                <a:lnTo>
                  <a:pt x="96" y="42"/>
                </a:lnTo>
                <a:lnTo>
                  <a:pt x="96" y="41"/>
                </a:lnTo>
                <a:lnTo>
                  <a:pt x="96" y="39"/>
                </a:lnTo>
                <a:lnTo>
                  <a:pt x="97" y="37"/>
                </a:lnTo>
                <a:lnTo>
                  <a:pt x="99" y="36"/>
                </a:lnTo>
                <a:lnTo>
                  <a:pt x="97" y="36"/>
                </a:lnTo>
                <a:lnTo>
                  <a:pt x="94" y="35"/>
                </a:lnTo>
                <a:lnTo>
                  <a:pt x="94" y="33"/>
                </a:lnTo>
                <a:lnTo>
                  <a:pt x="92" y="32"/>
                </a:lnTo>
                <a:lnTo>
                  <a:pt x="91" y="30"/>
                </a:lnTo>
                <a:lnTo>
                  <a:pt x="90" y="27"/>
                </a:lnTo>
                <a:lnTo>
                  <a:pt x="88" y="22"/>
                </a:lnTo>
                <a:lnTo>
                  <a:pt x="86" y="16"/>
                </a:lnTo>
                <a:lnTo>
                  <a:pt x="84" y="10"/>
                </a:lnTo>
                <a:lnTo>
                  <a:pt x="83" y="9"/>
                </a:lnTo>
                <a:lnTo>
                  <a:pt x="80" y="6"/>
                </a:lnTo>
                <a:lnTo>
                  <a:pt x="79" y="5"/>
                </a:lnTo>
                <a:lnTo>
                  <a:pt x="76" y="4"/>
                </a:lnTo>
                <a:lnTo>
                  <a:pt x="75" y="5"/>
                </a:lnTo>
                <a:lnTo>
                  <a:pt x="74" y="6"/>
                </a:lnTo>
                <a:lnTo>
                  <a:pt x="72" y="6"/>
                </a:lnTo>
                <a:lnTo>
                  <a:pt x="70" y="6"/>
                </a:lnTo>
                <a:lnTo>
                  <a:pt x="67" y="6"/>
                </a:lnTo>
                <a:lnTo>
                  <a:pt x="60" y="6"/>
                </a:lnTo>
                <a:lnTo>
                  <a:pt x="54" y="6"/>
                </a:lnTo>
                <a:lnTo>
                  <a:pt x="47" y="4"/>
                </a:lnTo>
                <a:lnTo>
                  <a:pt x="44" y="4"/>
                </a:lnTo>
                <a:lnTo>
                  <a:pt x="43" y="4"/>
                </a:lnTo>
                <a:lnTo>
                  <a:pt x="40" y="5"/>
                </a:lnTo>
                <a:lnTo>
                  <a:pt x="38" y="6"/>
                </a:lnTo>
                <a:lnTo>
                  <a:pt x="35" y="5"/>
                </a:lnTo>
                <a:lnTo>
                  <a:pt x="32" y="5"/>
                </a:lnTo>
                <a:lnTo>
                  <a:pt x="27" y="2"/>
                </a:lnTo>
                <a:lnTo>
                  <a:pt x="22" y="0"/>
                </a:lnTo>
                <a:lnTo>
                  <a:pt x="20" y="0"/>
                </a:lnTo>
                <a:lnTo>
                  <a:pt x="16" y="0"/>
                </a:lnTo>
                <a:lnTo>
                  <a:pt x="16" y="3"/>
                </a:lnTo>
                <a:lnTo>
                  <a:pt x="16" y="4"/>
                </a:lnTo>
                <a:lnTo>
                  <a:pt x="14" y="5"/>
                </a:lnTo>
                <a:lnTo>
                  <a:pt x="13" y="6"/>
                </a:lnTo>
                <a:lnTo>
                  <a:pt x="13" y="8"/>
                </a:lnTo>
                <a:lnTo>
                  <a:pt x="14" y="9"/>
                </a:lnTo>
                <a:lnTo>
                  <a:pt x="16" y="9"/>
                </a:lnTo>
                <a:lnTo>
                  <a:pt x="16" y="13"/>
                </a:lnTo>
                <a:lnTo>
                  <a:pt x="11" y="15"/>
                </a:lnTo>
                <a:lnTo>
                  <a:pt x="7" y="17"/>
                </a:lnTo>
                <a:lnTo>
                  <a:pt x="3" y="18"/>
                </a:lnTo>
                <a:lnTo>
                  <a:pt x="2" y="19"/>
                </a:lnTo>
                <a:lnTo>
                  <a:pt x="0" y="19"/>
                </a:lnTo>
                <a:lnTo>
                  <a:pt x="7" y="26"/>
                </a:lnTo>
                <a:lnTo>
                  <a:pt x="13" y="35"/>
                </a:lnTo>
                <a:lnTo>
                  <a:pt x="16" y="39"/>
                </a:lnTo>
                <a:lnTo>
                  <a:pt x="20" y="44"/>
                </a:lnTo>
                <a:lnTo>
                  <a:pt x="22" y="48"/>
                </a:lnTo>
                <a:lnTo>
                  <a:pt x="25" y="54"/>
                </a:lnTo>
                <a:lnTo>
                  <a:pt x="26" y="53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1" name="Freeform 40">
            <a:extLst>
              <a:ext uri="{FF2B5EF4-FFF2-40B4-BE49-F238E27FC236}">
                <a16:creationId xmlns:a16="http://schemas.microsoft.com/office/drawing/2014/main" id="{A9916480-5515-247A-7487-74E9262D5AD2}"/>
              </a:ext>
            </a:extLst>
          </p:cNvPr>
          <p:cNvSpPr>
            <a:spLocks/>
          </p:cNvSpPr>
          <p:nvPr/>
        </p:nvSpPr>
        <p:spPr bwMode="auto">
          <a:xfrm>
            <a:off x="5769938" y="4557559"/>
            <a:ext cx="73025" cy="90488"/>
          </a:xfrm>
          <a:custGeom>
            <a:avLst/>
            <a:gdLst>
              <a:gd name="T0" fmla="*/ 20 w 36"/>
              <a:gd name="T1" fmla="*/ 48 h 49"/>
              <a:gd name="T2" fmla="*/ 14 w 36"/>
              <a:gd name="T3" fmla="*/ 42 h 49"/>
              <a:gd name="T4" fmla="*/ 8 w 36"/>
              <a:gd name="T5" fmla="*/ 37 h 49"/>
              <a:gd name="T6" fmla="*/ 5 w 36"/>
              <a:gd name="T7" fmla="*/ 34 h 49"/>
              <a:gd name="T8" fmla="*/ 3 w 36"/>
              <a:gd name="T9" fmla="*/ 30 h 49"/>
              <a:gd name="T10" fmla="*/ 2 w 36"/>
              <a:gd name="T11" fmla="*/ 28 h 49"/>
              <a:gd name="T12" fmla="*/ 1 w 36"/>
              <a:gd name="T13" fmla="*/ 25 h 49"/>
              <a:gd name="T14" fmla="*/ 0 w 36"/>
              <a:gd name="T15" fmla="*/ 19 h 49"/>
              <a:gd name="T16" fmla="*/ 0 w 36"/>
              <a:gd name="T17" fmla="*/ 15 h 49"/>
              <a:gd name="T18" fmla="*/ 2 w 36"/>
              <a:gd name="T19" fmla="*/ 10 h 49"/>
              <a:gd name="T20" fmla="*/ 5 w 36"/>
              <a:gd name="T21" fmla="*/ 8 h 49"/>
              <a:gd name="T22" fmla="*/ 8 w 36"/>
              <a:gd name="T23" fmla="*/ 6 h 49"/>
              <a:gd name="T24" fmla="*/ 10 w 36"/>
              <a:gd name="T25" fmla="*/ 3 h 49"/>
              <a:gd name="T26" fmla="*/ 13 w 36"/>
              <a:gd name="T27" fmla="*/ 2 h 49"/>
              <a:gd name="T28" fmla="*/ 17 w 36"/>
              <a:gd name="T29" fmla="*/ 1 h 49"/>
              <a:gd name="T30" fmla="*/ 20 w 36"/>
              <a:gd name="T31" fmla="*/ 0 h 49"/>
              <a:gd name="T32" fmla="*/ 22 w 36"/>
              <a:gd name="T33" fmla="*/ 1 h 49"/>
              <a:gd name="T34" fmla="*/ 24 w 36"/>
              <a:gd name="T35" fmla="*/ 1 h 49"/>
              <a:gd name="T36" fmla="*/ 26 w 36"/>
              <a:gd name="T37" fmla="*/ 2 h 49"/>
              <a:gd name="T38" fmla="*/ 26 w 36"/>
              <a:gd name="T39" fmla="*/ 3 h 49"/>
              <a:gd name="T40" fmla="*/ 29 w 36"/>
              <a:gd name="T41" fmla="*/ 4 h 49"/>
              <a:gd name="T42" fmla="*/ 29 w 36"/>
              <a:gd name="T43" fmla="*/ 6 h 49"/>
              <a:gd name="T44" fmla="*/ 30 w 36"/>
              <a:gd name="T45" fmla="*/ 10 h 49"/>
              <a:gd name="T46" fmla="*/ 31 w 36"/>
              <a:gd name="T47" fmla="*/ 15 h 49"/>
              <a:gd name="T48" fmla="*/ 32 w 36"/>
              <a:gd name="T49" fmla="*/ 19 h 49"/>
              <a:gd name="T50" fmla="*/ 34 w 36"/>
              <a:gd name="T51" fmla="*/ 23 h 49"/>
              <a:gd name="T52" fmla="*/ 35 w 36"/>
              <a:gd name="T53" fmla="*/ 26 h 49"/>
              <a:gd name="T54" fmla="*/ 34 w 36"/>
              <a:gd name="T55" fmla="*/ 28 h 49"/>
              <a:gd name="T56" fmla="*/ 34 w 36"/>
              <a:gd name="T57" fmla="*/ 29 h 49"/>
              <a:gd name="T58" fmla="*/ 33 w 36"/>
              <a:gd name="T59" fmla="*/ 31 h 49"/>
              <a:gd name="T60" fmla="*/ 32 w 36"/>
              <a:gd name="T61" fmla="*/ 34 h 49"/>
              <a:gd name="T62" fmla="*/ 30 w 36"/>
              <a:gd name="T63" fmla="*/ 37 h 49"/>
              <a:gd name="T64" fmla="*/ 29 w 36"/>
              <a:gd name="T65" fmla="*/ 39 h 49"/>
              <a:gd name="T66" fmla="*/ 24 w 36"/>
              <a:gd name="T67" fmla="*/ 44 h 49"/>
              <a:gd name="T68" fmla="*/ 21 w 36"/>
              <a:gd name="T69" fmla="*/ 46 h 49"/>
              <a:gd name="T70" fmla="*/ 20 w 36"/>
              <a:gd name="T71" fmla="*/ 47 h 49"/>
              <a:gd name="T72" fmla="*/ 20 w 36"/>
              <a:gd name="T73" fmla="*/ 48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36" h="49">
                <a:moveTo>
                  <a:pt x="20" y="48"/>
                </a:moveTo>
                <a:lnTo>
                  <a:pt x="14" y="42"/>
                </a:lnTo>
                <a:lnTo>
                  <a:pt x="8" y="37"/>
                </a:lnTo>
                <a:lnTo>
                  <a:pt x="5" y="34"/>
                </a:lnTo>
                <a:lnTo>
                  <a:pt x="3" y="30"/>
                </a:lnTo>
                <a:lnTo>
                  <a:pt x="2" y="28"/>
                </a:lnTo>
                <a:lnTo>
                  <a:pt x="1" y="25"/>
                </a:lnTo>
                <a:lnTo>
                  <a:pt x="0" y="19"/>
                </a:lnTo>
                <a:lnTo>
                  <a:pt x="0" y="15"/>
                </a:lnTo>
                <a:lnTo>
                  <a:pt x="2" y="10"/>
                </a:lnTo>
                <a:lnTo>
                  <a:pt x="5" y="8"/>
                </a:lnTo>
                <a:lnTo>
                  <a:pt x="8" y="6"/>
                </a:lnTo>
                <a:lnTo>
                  <a:pt x="10" y="3"/>
                </a:lnTo>
                <a:lnTo>
                  <a:pt x="13" y="2"/>
                </a:lnTo>
                <a:lnTo>
                  <a:pt x="17" y="1"/>
                </a:lnTo>
                <a:lnTo>
                  <a:pt x="20" y="0"/>
                </a:lnTo>
                <a:lnTo>
                  <a:pt x="22" y="1"/>
                </a:lnTo>
                <a:lnTo>
                  <a:pt x="24" y="1"/>
                </a:lnTo>
                <a:lnTo>
                  <a:pt x="26" y="2"/>
                </a:lnTo>
                <a:lnTo>
                  <a:pt x="26" y="3"/>
                </a:lnTo>
                <a:lnTo>
                  <a:pt x="29" y="4"/>
                </a:lnTo>
                <a:lnTo>
                  <a:pt x="29" y="6"/>
                </a:lnTo>
                <a:lnTo>
                  <a:pt x="30" y="10"/>
                </a:lnTo>
                <a:lnTo>
                  <a:pt x="31" y="15"/>
                </a:lnTo>
                <a:lnTo>
                  <a:pt x="32" y="19"/>
                </a:lnTo>
                <a:lnTo>
                  <a:pt x="34" y="23"/>
                </a:lnTo>
                <a:lnTo>
                  <a:pt x="35" y="26"/>
                </a:lnTo>
                <a:lnTo>
                  <a:pt x="34" y="28"/>
                </a:lnTo>
                <a:lnTo>
                  <a:pt x="34" y="29"/>
                </a:lnTo>
                <a:lnTo>
                  <a:pt x="33" y="31"/>
                </a:lnTo>
                <a:lnTo>
                  <a:pt x="32" y="34"/>
                </a:lnTo>
                <a:lnTo>
                  <a:pt x="30" y="37"/>
                </a:lnTo>
                <a:lnTo>
                  <a:pt x="29" y="39"/>
                </a:lnTo>
                <a:lnTo>
                  <a:pt x="24" y="44"/>
                </a:lnTo>
                <a:lnTo>
                  <a:pt x="21" y="46"/>
                </a:lnTo>
                <a:lnTo>
                  <a:pt x="20" y="47"/>
                </a:lnTo>
                <a:lnTo>
                  <a:pt x="20" y="48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2" name="Freeform 41">
            <a:extLst>
              <a:ext uri="{FF2B5EF4-FFF2-40B4-BE49-F238E27FC236}">
                <a16:creationId xmlns:a16="http://schemas.microsoft.com/office/drawing/2014/main" id="{C70F84EA-4931-CB78-4A98-1BCA746198CF}"/>
              </a:ext>
            </a:extLst>
          </p:cNvPr>
          <p:cNvSpPr>
            <a:spLocks/>
          </p:cNvSpPr>
          <p:nvPr/>
        </p:nvSpPr>
        <p:spPr bwMode="auto">
          <a:xfrm>
            <a:off x="5811213" y="4602009"/>
            <a:ext cx="122238" cy="111125"/>
          </a:xfrm>
          <a:custGeom>
            <a:avLst/>
            <a:gdLst>
              <a:gd name="T0" fmla="*/ 56 w 61"/>
              <a:gd name="T1" fmla="*/ 59 h 60"/>
              <a:gd name="T2" fmla="*/ 52 w 61"/>
              <a:gd name="T3" fmla="*/ 59 h 60"/>
              <a:gd name="T4" fmla="*/ 49 w 61"/>
              <a:gd name="T5" fmla="*/ 58 h 60"/>
              <a:gd name="T6" fmla="*/ 46 w 61"/>
              <a:gd name="T7" fmla="*/ 55 h 60"/>
              <a:gd name="T8" fmla="*/ 45 w 61"/>
              <a:gd name="T9" fmla="*/ 54 h 60"/>
              <a:gd name="T10" fmla="*/ 41 w 61"/>
              <a:gd name="T11" fmla="*/ 50 h 60"/>
              <a:gd name="T12" fmla="*/ 38 w 61"/>
              <a:gd name="T13" fmla="*/ 48 h 60"/>
              <a:gd name="T14" fmla="*/ 36 w 61"/>
              <a:gd name="T15" fmla="*/ 46 h 60"/>
              <a:gd name="T16" fmla="*/ 28 w 61"/>
              <a:gd name="T17" fmla="*/ 41 h 60"/>
              <a:gd name="T18" fmla="*/ 19 w 61"/>
              <a:gd name="T19" fmla="*/ 35 h 60"/>
              <a:gd name="T20" fmla="*/ 10 w 61"/>
              <a:gd name="T21" fmla="*/ 29 h 60"/>
              <a:gd name="T22" fmla="*/ 0 w 61"/>
              <a:gd name="T23" fmla="*/ 24 h 60"/>
              <a:gd name="T24" fmla="*/ 0 w 61"/>
              <a:gd name="T25" fmla="*/ 23 h 60"/>
              <a:gd name="T26" fmla="*/ 1 w 61"/>
              <a:gd name="T27" fmla="*/ 22 h 60"/>
              <a:gd name="T28" fmla="*/ 4 w 61"/>
              <a:gd name="T29" fmla="*/ 20 h 60"/>
              <a:gd name="T30" fmla="*/ 9 w 61"/>
              <a:gd name="T31" fmla="*/ 15 h 60"/>
              <a:gd name="T32" fmla="*/ 10 w 61"/>
              <a:gd name="T33" fmla="*/ 13 h 60"/>
              <a:gd name="T34" fmla="*/ 12 w 61"/>
              <a:gd name="T35" fmla="*/ 10 h 60"/>
              <a:gd name="T36" fmla="*/ 14 w 61"/>
              <a:gd name="T37" fmla="*/ 6 h 60"/>
              <a:gd name="T38" fmla="*/ 14 w 61"/>
              <a:gd name="T39" fmla="*/ 5 h 60"/>
              <a:gd name="T40" fmla="*/ 14 w 61"/>
              <a:gd name="T41" fmla="*/ 3 h 60"/>
              <a:gd name="T42" fmla="*/ 15 w 61"/>
              <a:gd name="T43" fmla="*/ 2 h 60"/>
              <a:gd name="T44" fmla="*/ 18 w 61"/>
              <a:gd name="T45" fmla="*/ 0 h 60"/>
              <a:gd name="T46" fmla="*/ 20 w 61"/>
              <a:gd name="T47" fmla="*/ 0 h 60"/>
              <a:gd name="T48" fmla="*/ 23 w 61"/>
              <a:gd name="T49" fmla="*/ 0 h 60"/>
              <a:gd name="T50" fmla="*/ 25 w 61"/>
              <a:gd name="T51" fmla="*/ 0 h 60"/>
              <a:gd name="T52" fmla="*/ 28 w 61"/>
              <a:gd name="T53" fmla="*/ 1 h 60"/>
              <a:gd name="T54" fmla="*/ 28 w 61"/>
              <a:gd name="T55" fmla="*/ 6 h 60"/>
              <a:gd name="T56" fmla="*/ 29 w 61"/>
              <a:gd name="T57" fmla="*/ 11 h 60"/>
              <a:gd name="T58" fmla="*/ 31 w 61"/>
              <a:gd name="T59" fmla="*/ 16 h 60"/>
              <a:gd name="T60" fmla="*/ 32 w 61"/>
              <a:gd name="T61" fmla="*/ 17 h 60"/>
              <a:gd name="T62" fmla="*/ 34 w 61"/>
              <a:gd name="T63" fmla="*/ 18 h 60"/>
              <a:gd name="T64" fmla="*/ 38 w 61"/>
              <a:gd name="T65" fmla="*/ 18 h 60"/>
              <a:gd name="T66" fmla="*/ 38 w 61"/>
              <a:gd name="T67" fmla="*/ 17 h 60"/>
              <a:gd name="T68" fmla="*/ 39 w 61"/>
              <a:gd name="T69" fmla="*/ 16 h 60"/>
              <a:gd name="T70" fmla="*/ 42 w 61"/>
              <a:gd name="T71" fmla="*/ 16 h 60"/>
              <a:gd name="T72" fmla="*/ 45 w 61"/>
              <a:gd name="T73" fmla="*/ 19 h 60"/>
              <a:gd name="T74" fmla="*/ 46 w 61"/>
              <a:gd name="T75" fmla="*/ 21 h 60"/>
              <a:gd name="T76" fmla="*/ 46 w 61"/>
              <a:gd name="T77" fmla="*/ 23 h 60"/>
              <a:gd name="T78" fmla="*/ 46 w 61"/>
              <a:gd name="T79" fmla="*/ 24 h 60"/>
              <a:gd name="T80" fmla="*/ 45 w 61"/>
              <a:gd name="T81" fmla="*/ 27 h 60"/>
              <a:gd name="T82" fmla="*/ 45 w 61"/>
              <a:gd name="T83" fmla="*/ 28 h 60"/>
              <a:gd name="T84" fmla="*/ 45 w 61"/>
              <a:gd name="T85" fmla="*/ 29 h 60"/>
              <a:gd name="T86" fmla="*/ 45 w 61"/>
              <a:gd name="T87" fmla="*/ 31 h 60"/>
              <a:gd name="T88" fmla="*/ 47 w 61"/>
              <a:gd name="T89" fmla="*/ 33 h 60"/>
              <a:gd name="T90" fmla="*/ 52 w 61"/>
              <a:gd name="T91" fmla="*/ 36 h 60"/>
              <a:gd name="T92" fmla="*/ 56 w 61"/>
              <a:gd name="T93" fmla="*/ 41 h 60"/>
              <a:gd name="T94" fmla="*/ 59 w 61"/>
              <a:gd name="T95" fmla="*/ 42 h 60"/>
              <a:gd name="T96" fmla="*/ 60 w 61"/>
              <a:gd name="T97" fmla="*/ 45 h 60"/>
              <a:gd name="T98" fmla="*/ 57 w 61"/>
              <a:gd name="T99" fmla="*/ 51 h 60"/>
              <a:gd name="T100" fmla="*/ 56 w 61"/>
              <a:gd name="T101" fmla="*/ 59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61" h="60">
                <a:moveTo>
                  <a:pt x="56" y="59"/>
                </a:moveTo>
                <a:lnTo>
                  <a:pt x="52" y="59"/>
                </a:lnTo>
                <a:lnTo>
                  <a:pt x="49" y="58"/>
                </a:lnTo>
                <a:lnTo>
                  <a:pt x="46" y="55"/>
                </a:lnTo>
                <a:lnTo>
                  <a:pt x="45" y="54"/>
                </a:lnTo>
                <a:lnTo>
                  <a:pt x="41" y="50"/>
                </a:lnTo>
                <a:lnTo>
                  <a:pt x="38" y="48"/>
                </a:lnTo>
                <a:lnTo>
                  <a:pt x="36" y="46"/>
                </a:lnTo>
                <a:lnTo>
                  <a:pt x="28" y="41"/>
                </a:lnTo>
                <a:lnTo>
                  <a:pt x="19" y="35"/>
                </a:lnTo>
                <a:lnTo>
                  <a:pt x="10" y="29"/>
                </a:lnTo>
                <a:lnTo>
                  <a:pt x="0" y="24"/>
                </a:lnTo>
                <a:lnTo>
                  <a:pt x="0" y="23"/>
                </a:lnTo>
                <a:lnTo>
                  <a:pt x="1" y="22"/>
                </a:lnTo>
                <a:lnTo>
                  <a:pt x="4" y="20"/>
                </a:lnTo>
                <a:lnTo>
                  <a:pt x="9" y="15"/>
                </a:lnTo>
                <a:lnTo>
                  <a:pt x="10" y="13"/>
                </a:lnTo>
                <a:lnTo>
                  <a:pt x="12" y="10"/>
                </a:lnTo>
                <a:lnTo>
                  <a:pt x="14" y="6"/>
                </a:lnTo>
                <a:lnTo>
                  <a:pt x="14" y="5"/>
                </a:lnTo>
                <a:lnTo>
                  <a:pt x="14" y="3"/>
                </a:lnTo>
                <a:lnTo>
                  <a:pt x="15" y="2"/>
                </a:lnTo>
                <a:lnTo>
                  <a:pt x="18" y="0"/>
                </a:lnTo>
                <a:lnTo>
                  <a:pt x="20" y="0"/>
                </a:lnTo>
                <a:lnTo>
                  <a:pt x="23" y="0"/>
                </a:lnTo>
                <a:lnTo>
                  <a:pt x="25" y="0"/>
                </a:lnTo>
                <a:lnTo>
                  <a:pt x="28" y="1"/>
                </a:lnTo>
                <a:lnTo>
                  <a:pt x="28" y="6"/>
                </a:lnTo>
                <a:lnTo>
                  <a:pt x="29" y="11"/>
                </a:lnTo>
                <a:lnTo>
                  <a:pt x="31" y="16"/>
                </a:lnTo>
                <a:lnTo>
                  <a:pt x="32" y="17"/>
                </a:lnTo>
                <a:lnTo>
                  <a:pt x="34" y="18"/>
                </a:lnTo>
                <a:lnTo>
                  <a:pt x="38" y="18"/>
                </a:lnTo>
                <a:lnTo>
                  <a:pt x="38" y="17"/>
                </a:lnTo>
                <a:lnTo>
                  <a:pt x="39" y="16"/>
                </a:lnTo>
                <a:lnTo>
                  <a:pt x="42" y="16"/>
                </a:lnTo>
                <a:lnTo>
                  <a:pt x="45" y="19"/>
                </a:lnTo>
                <a:lnTo>
                  <a:pt x="46" y="21"/>
                </a:lnTo>
                <a:lnTo>
                  <a:pt x="46" y="23"/>
                </a:lnTo>
                <a:lnTo>
                  <a:pt x="46" y="24"/>
                </a:lnTo>
                <a:lnTo>
                  <a:pt x="45" y="27"/>
                </a:lnTo>
                <a:lnTo>
                  <a:pt x="45" y="28"/>
                </a:lnTo>
                <a:lnTo>
                  <a:pt x="45" y="29"/>
                </a:lnTo>
                <a:lnTo>
                  <a:pt x="45" y="31"/>
                </a:lnTo>
                <a:lnTo>
                  <a:pt x="47" y="33"/>
                </a:lnTo>
                <a:lnTo>
                  <a:pt x="52" y="36"/>
                </a:lnTo>
                <a:lnTo>
                  <a:pt x="56" y="41"/>
                </a:lnTo>
                <a:lnTo>
                  <a:pt x="59" y="42"/>
                </a:lnTo>
                <a:lnTo>
                  <a:pt x="60" y="45"/>
                </a:lnTo>
                <a:lnTo>
                  <a:pt x="57" y="51"/>
                </a:lnTo>
                <a:lnTo>
                  <a:pt x="56" y="59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3" name="Freeform 42">
            <a:extLst>
              <a:ext uri="{FF2B5EF4-FFF2-40B4-BE49-F238E27FC236}">
                <a16:creationId xmlns:a16="http://schemas.microsoft.com/office/drawing/2014/main" id="{8D6FCDE0-4FDF-9720-BA72-7770208C51AD}"/>
              </a:ext>
            </a:extLst>
          </p:cNvPr>
          <p:cNvSpPr>
            <a:spLocks/>
          </p:cNvSpPr>
          <p:nvPr/>
        </p:nvSpPr>
        <p:spPr bwMode="auto">
          <a:xfrm>
            <a:off x="5977900" y="4413096"/>
            <a:ext cx="225425" cy="155575"/>
          </a:xfrm>
          <a:custGeom>
            <a:avLst/>
            <a:gdLst>
              <a:gd name="T0" fmla="*/ 109 w 112"/>
              <a:gd name="T1" fmla="*/ 37 h 83"/>
              <a:gd name="T2" fmla="*/ 102 w 112"/>
              <a:gd name="T3" fmla="*/ 36 h 83"/>
              <a:gd name="T4" fmla="*/ 96 w 112"/>
              <a:gd name="T5" fmla="*/ 34 h 83"/>
              <a:gd name="T6" fmla="*/ 93 w 112"/>
              <a:gd name="T7" fmla="*/ 31 h 83"/>
              <a:gd name="T8" fmla="*/ 93 w 112"/>
              <a:gd name="T9" fmla="*/ 25 h 83"/>
              <a:gd name="T10" fmla="*/ 93 w 112"/>
              <a:gd name="T11" fmla="*/ 19 h 83"/>
              <a:gd name="T12" fmla="*/ 88 w 112"/>
              <a:gd name="T13" fmla="*/ 15 h 83"/>
              <a:gd name="T14" fmla="*/ 82 w 112"/>
              <a:gd name="T15" fmla="*/ 12 h 83"/>
              <a:gd name="T16" fmla="*/ 79 w 112"/>
              <a:gd name="T17" fmla="*/ 0 h 83"/>
              <a:gd name="T18" fmla="*/ 60 w 112"/>
              <a:gd name="T19" fmla="*/ 6 h 83"/>
              <a:gd name="T20" fmla="*/ 39 w 112"/>
              <a:gd name="T21" fmla="*/ 14 h 83"/>
              <a:gd name="T22" fmla="*/ 33 w 112"/>
              <a:gd name="T23" fmla="*/ 20 h 83"/>
              <a:gd name="T24" fmla="*/ 30 w 112"/>
              <a:gd name="T25" fmla="*/ 25 h 83"/>
              <a:gd name="T26" fmla="*/ 29 w 112"/>
              <a:gd name="T27" fmla="*/ 26 h 83"/>
              <a:gd name="T28" fmla="*/ 22 w 112"/>
              <a:gd name="T29" fmla="*/ 25 h 83"/>
              <a:gd name="T30" fmla="*/ 18 w 112"/>
              <a:gd name="T31" fmla="*/ 34 h 83"/>
              <a:gd name="T32" fmla="*/ 17 w 112"/>
              <a:gd name="T33" fmla="*/ 37 h 83"/>
              <a:gd name="T34" fmla="*/ 13 w 112"/>
              <a:gd name="T35" fmla="*/ 43 h 83"/>
              <a:gd name="T36" fmla="*/ 5 w 112"/>
              <a:gd name="T37" fmla="*/ 48 h 83"/>
              <a:gd name="T38" fmla="*/ 3 w 112"/>
              <a:gd name="T39" fmla="*/ 51 h 83"/>
              <a:gd name="T40" fmla="*/ 3 w 112"/>
              <a:gd name="T41" fmla="*/ 55 h 83"/>
              <a:gd name="T42" fmla="*/ 3 w 112"/>
              <a:gd name="T43" fmla="*/ 61 h 83"/>
              <a:gd name="T44" fmla="*/ 0 w 112"/>
              <a:gd name="T45" fmla="*/ 66 h 83"/>
              <a:gd name="T46" fmla="*/ 3 w 112"/>
              <a:gd name="T47" fmla="*/ 70 h 83"/>
              <a:gd name="T48" fmla="*/ 9 w 112"/>
              <a:gd name="T49" fmla="*/ 77 h 83"/>
              <a:gd name="T50" fmla="*/ 13 w 112"/>
              <a:gd name="T51" fmla="*/ 79 h 83"/>
              <a:gd name="T52" fmla="*/ 19 w 112"/>
              <a:gd name="T53" fmla="*/ 79 h 83"/>
              <a:gd name="T54" fmla="*/ 25 w 112"/>
              <a:gd name="T55" fmla="*/ 77 h 83"/>
              <a:gd name="T56" fmla="*/ 30 w 112"/>
              <a:gd name="T57" fmla="*/ 77 h 83"/>
              <a:gd name="T58" fmla="*/ 33 w 112"/>
              <a:gd name="T59" fmla="*/ 78 h 83"/>
              <a:gd name="T60" fmla="*/ 39 w 112"/>
              <a:gd name="T61" fmla="*/ 82 h 83"/>
              <a:gd name="T62" fmla="*/ 39 w 112"/>
              <a:gd name="T63" fmla="*/ 72 h 83"/>
              <a:gd name="T64" fmla="*/ 39 w 112"/>
              <a:gd name="T65" fmla="*/ 60 h 83"/>
              <a:gd name="T66" fmla="*/ 52 w 112"/>
              <a:gd name="T67" fmla="*/ 59 h 83"/>
              <a:gd name="T68" fmla="*/ 95 w 112"/>
              <a:gd name="T69" fmla="*/ 59 h 83"/>
              <a:gd name="T70" fmla="*/ 95 w 112"/>
              <a:gd name="T71" fmla="*/ 56 h 83"/>
              <a:gd name="T72" fmla="*/ 97 w 112"/>
              <a:gd name="T73" fmla="*/ 55 h 83"/>
              <a:gd name="T74" fmla="*/ 102 w 112"/>
              <a:gd name="T75" fmla="*/ 53 h 83"/>
              <a:gd name="T76" fmla="*/ 108 w 112"/>
              <a:gd name="T77" fmla="*/ 51 h 83"/>
              <a:gd name="T78" fmla="*/ 110 w 112"/>
              <a:gd name="T79" fmla="*/ 50 h 83"/>
              <a:gd name="T80" fmla="*/ 111 w 112"/>
              <a:gd name="T81" fmla="*/ 46 h 83"/>
              <a:gd name="T82" fmla="*/ 111 w 112"/>
              <a:gd name="T83" fmla="*/ 39 h 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2" h="83">
                <a:moveTo>
                  <a:pt x="111" y="39"/>
                </a:moveTo>
                <a:lnTo>
                  <a:pt x="109" y="37"/>
                </a:lnTo>
                <a:lnTo>
                  <a:pt x="107" y="37"/>
                </a:lnTo>
                <a:lnTo>
                  <a:pt x="102" y="36"/>
                </a:lnTo>
                <a:lnTo>
                  <a:pt x="97" y="34"/>
                </a:lnTo>
                <a:lnTo>
                  <a:pt x="96" y="34"/>
                </a:lnTo>
                <a:lnTo>
                  <a:pt x="94" y="33"/>
                </a:lnTo>
                <a:lnTo>
                  <a:pt x="93" y="31"/>
                </a:lnTo>
                <a:lnTo>
                  <a:pt x="93" y="29"/>
                </a:lnTo>
                <a:lnTo>
                  <a:pt x="93" y="25"/>
                </a:lnTo>
                <a:lnTo>
                  <a:pt x="93" y="21"/>
                </a:lnTo>
                <a:lnTo>
                  <a:pt x="93" y="19"/>
                </a:lnTo>
                <a:lnTo>
                  <a:pt x="92" y="18"/>
                </a:lnTo>
                <a:lnTo>
                  <a:pt x="88" y="15"/>
                </a:lnTo>
                <a:lnTo>
                  <a:pt x="84" y="14"/>
                </a:lnTo>
                <a:lnTo>
                  <a:pt x="82" y="12"/>
                </a:lnTo>
                <a:lnTo>
                  <a:pt x="81" y="10"/>
                </a:lnTo>
                <a:lnTo>
                  <a:pt x="79" y="0"/>
                </a:lnTo>
                <a:lnTo>
                  <a:pt x="69" y="3"/>
                </a:lnTo>
                <a:lnTo>
                  <a:pt x="60" y="6"/>
                </a:lnTo>
                <a:lnTo>
                  <a:pt x="42" y="12"/>
                </a:lnTo>
                <a:lnTo>
                  <a:pt x="39" y="14"/>
                </a:lnTo>
                <a:lnTo>
                  <a:pt x="37" y="15"/>
                </a:lnTo>
                <a:lnTo>
                  <a:pt x="33" y="20"/>
                </a:lnTo>
                <a:lnTo>
                  <a:pt x="32" y="23"/>
                </a:lnTo>
                <a:lnTo>
                  <a:pt x="30" y="25"/>
                </a:lnTo>
                <a:lnTo>
                  <a:pt x="29" y="25"/>
                </a:lnTo>
                <a:lnTo>
                  <a:pt x="29" y="26"/>
                </a:lnTo>
                <a:lnTo>
                  <a:pt x="26" y="26"/>
                </a:lnTo>
                <a:lnTo>
                  <a:pt x="22" y="25"/>
                </a:lnTo>
                <a:lnTo>
                  <a:pt x="18" y="25"/>
                </a:lnTo>
                <a:lnTo>
                  <a:pt x="18" y="34"/>
                </a:lnTo>
                <a:lnTo>
                  <a:pt x="18" y="36"/>
                </a:lnTo>
                <a:lnTo>
                  <a:pt x="17" y="37"/>
                </a:lnTo>
                <a:lnTo>
                  <a:pt x="16" y="41"/>
                </a:lnTo>
                <a:lnTo>
                  <a:pt x="13" y="43"/>
                </a:lnTo>
                <a:lnTo>
                  <a:pt x="11" y="45"/>
                </a:lnTo>
                <a:lnTo>
                  <a:pt x="5" y="48"/>
                </a:lnTo>
                <a:lnTo>
                  <a:pt x="4" y="50"/>
                </a:lnTo>
                <a:lnTo>
                  <a:pt x="3" y="51"/>
                </a:lnTo>
                <a:lnTo>
                  <a:pt x="3" y="53"/>
                </a:lnTo>
                <a:lnTo>
                  <a:pt x="3" y="55"/>
                </a:lnTo>
                <a:lnTo>
                  <a:pt x="3" y="57"/>
                </a:lnTo>
                <a:lnTo>
                  <a:pt x="3" y="61"/>
                </a:lnTo>
                <a:lnTo>
                  <a:pt x="2" y="63"/>
                </a:lnTo>
                <a:lnTo>
                  <a:pt x="0" y="66"/>
                </a:lnTo>
                <a:lnTo>
                  <a:pt x="2" y="68"/>
                </a:lnTo>
                <a:lnTo>
                  <a:pt x="3" y="70"/>
                </a:lnTo>
                <a:lnTo>
                  <a:pt x="7" y="75"/>
                </a:lnTo>
                <a:lnTo>
                  <a:pt x="9" y="77"/>
                </a:lnTo>
                <a:lnTo>
                  <a:pt x="12" y="78"/>
                </a:lnTo>
                <a:lnTo>
                  <a:pt x="13" y="79"/>
                </a:lnTo>
                <a:lnTo>
                  <a:pt x="16" y="81"/>
                </a:lnTo>
                <a:lnTo>
                  <a:pt x="19" y="79"/>
                </a:lnTo>
                <a:lnTo>
                  <a:pt x="22" y="78"/>
                </a:lnTo>
                <a:lnTo>
                  <a:pt x="25" y="77"/>
                </a:lnTo>
                <a:lnTo>
                  <a:pt x="29" y="76"/>
                </a:lnTo>
                <a:lnTo>
                  <a:pt x="30" y="77"/>
                </a:lnTo>
                <a:lnTo>
                  <a:pt x="31" y="77"/>
                </a:lnTo>
                <a:lnTo>
                  <a:pt x="33" y="78"/>
                </a:lnTo>
                <a:lnTo>
                  <a:pt x="35" y="81"/>
                </a:lnTo>
                <a:lnTo>
                  <a:pt x="39" y="82"/>
                </a:lnTo>
                <a:lnTo>
                  <a:pt x="39" y="78"/>
                </a:lnTo>
                <a:lnTo>
                  <a:pt x="39" y="72"/>
                </a:lnTo>
                <a:lnTo>
                  <a:pt x="39" y="65"/>
                </a:lnTo>
                <a:lnTo>
                  <a:pt x="39" y="60"/>
                </a:lnTo>
                <a:lnTo>
                  <a:pt x="45" y="59"/>
                </a:lnTo>
                <a:lnTo>
                  <a:pt x="52" y="59"/>
                </a:lnTo>
                <a:lnTo>
                  <a:pt x="69" y="59"/>
                </a:lnTo>
                <a:lnTo>
                  <a:pt x="95" y="59"/>
                </a:lnTo>
                <a:lnTo>
                  <a:pt x="95" y="57"/>
                </a:lnTo>
                <a:lnTo>
                  <a:pt x="95" y="56"/>
                </a:lnTo>
                <a:lnTo>
                  <a:pt x="96" y="56"/>
                </a:lnTo>
                <a:lnTo>
                  <a:pt x="97" y="55"/>
                </a:lnTo>
                <a:lnTo>
                  <a:pt x="100" y="54"/>
                </a:lnTo>
                <a:lnTo>
                  <a:pt x="102" y="53"/>
                </a:lnTo>
                <a:lnTo>
                  <a:pt x="106" y="52"/>
                </a:lnTo>
                <a:lnTo>
                  <a:pt x="108" y="51"/>
                </a:lnTo>
                <a:lnTo>
                  <a:pt x="109" y="50"/>
                </a:lnTo>
                <a:lnTo>
                  <a:pt x="110" y="50"/>
                </a:lnTo>
                <a:lnTo>
                  <a:pt x="111" y="47"/>
                </a:lnTo>
                <a:lnTo>
                  <a:pt x="111" y="46"/>
                </a:lnTo>
                <a:lnTo>
                  <a:pt x="111" y="41"/>
                </a:lnTo>
                <a:lnTo>
                  <a:pt x="111" y="39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4" name="Freeform 43">
            <a:extLst>
              <a:ext uri="{FF2B5EF4-FFF2-40B4-BE49-F238E27FC236}">
                <a16:creationId xmlns:a16="http://schemas.microsoft.com/office/drawing/2014/main" id="{BAEC83C3-D878-70AF-9B3A-C821BE80BC39}"/>
              </a:ext>
            </a:extLst>
          </p:cNvPr>
          <p:cNvSpPr>
            <a:spLocks/>
          </p:cNvSpPr>
          <p:nvPr/>
        </p:nvSpPr>
        <p:spPr bwMode="auto">
          <a:xfrm>
            <a:off x="5889000" y="4536921"/>
            <a:ext cx="179388" cy="176213"/>
          </a:xfrm>
          <a:custGeom>
            <a:avLst/>
            <a:gdLst>
              <a:gd name="T0" fmla="*/ 6 w 88"/>
              <a:gd name="T1" fmla="*/ 50 h 94"/>
              <a:gd name="T2" fmla="*/ 10 w 88"/>
              <a:gd name="T3" fmla="*/ 44 h 94"/>
              <a:gd name="T4" fmla="*/ 10 w 88"/>
              <a:gd name="T5" fmla="*/ 39 h 94"/>
              <a:gd name="T6" fmla="*/ 8 w 88"/>
              <a:gd name="T7" fmla="*/ 36 h 94"/>
              <a:gd name="T8" fmla="*/ 10 w 88"/>
              <a:gd name="T9" fmla="*/ 34 h 94"/>
              <a:gd name="T10" fmla="*/ 15 w 88"/>
              <a:gd name="T11" fmla="*/ 31 h 94"/>
              <a:gd name="T12" fmla="*/ 12 w 88"/>
              <a:gd name="T13" fmla="*/ 29 h 94"/>
              <a:gd name="T14" fmla="*/ 10 w 88"/>
              <a:gd name="T15" fmla="*/ 18 h 94"/>
              <a:gd name="T16" fmla="*/ 10 w 88"/>
              <a:gd name="T17" fmla="*/ 12 h 94"/>
              <a:gd name="T18" fmla="*/ 11 w 88"/>
              <a:gd name="T19" fmla="*/ 8 h 94"/>
              <a:gd name="T20" fmla="*/ 13 w 88"/>
              <a:gd name="T21" fmla="*/ 7 h 94"/>
              <a:gd name="T22" fmla="*/ 19 w 88"/>
              <a:gd name="T23" fmla="*/ 6 h 94"/>
              <a:gd name="T24" fmla="*/ 32 w 88"/>
              <a:gd name="T25" fmla="*/ 1 h 94"/>
              <a:gd name="T26" fmla="*/ 35 w 88"/>
              <a:gd name="T27" fmla="*/ 7 h 94"/>
              <a:gd name="T28" fmla="*/ 42 w 88"/>
              <a:gd name="T29" fmla="*/ 2 h 94"/>
              <a:gd name="T30" fmla="*/ 44 w 88"/>
              <a:gd name="T31" fmla="*/ 0 h 94"/>
              <a:gd name="T32" fmla="*/ 46 w 88"/>
              <a:gd name="T33" fmla="*/ 4 h 94"/>
              <a:gd name="T34" fmla="*/ 52 w 88"/>
              <a:gd name="T35" fmla="*/ 11 h 94"/>
              <a:gd name="T36" fmla="*/ 57 w 88"/>
              <a:gd name="T37" fmla="*/ 13 h 94"/>
              <a:gd name="T38" fmla="*/ 63 w 88"/>
              <a:gd name="T39" fmla="*/ 13 h 94"/>
              <a:gd name="T40" fmla="*/ 68 w 88"/>
              <a:gd name="T41" fmla="*/ 11 h 94"/>
              <a:gd name="T42" fmla="*/ 74 w 88"/>
              <a:gd name="T43" fmla="*/ 11 h 94"/>
              <a:gd name="T44" fmla="*/ 79 w 88"/>
              <a:gd name="T45" fmla="*/ 15 h 94"/>
              <a:gd name="T46" fmla="*/ 83 w 88"/>
              <a:gd name="T47" fmla="*/ 20 h 94"/>
              <a:gd name="T48" fmla="*/ 87 w 88"/>
              <a:gd name="T49" fmla="*/ 27 h 94"/>
              <a:gd name="T50" fmla="*/ 87 w 88"/>
              <a:gd name="T51" fmla="*/ 35 h 94"/>
              <a:gd name="T52" fmla="*/ 83 w 88"/>
              <a:gd name="T53" fmla="*/ 43 h 94"/>
              <a:gd name="T54" fmla="*/ 80 w 88"/>
              <a:gd name="T55" fmla="*/ 48 h 94"/>
              <a:gd name="T56" fmla="*/ 77 w 88"/>
              <a:gd name="T57" fmla="*/ 55 h 94"/>
              <a:gd name="T58" fmla="*/ 77 w 88"/>
              <a:gd name="T59" fmla="*/ 65 h 94"/>
              <a:gd name="T60" fmla="*/ 82 w 88"/>
              <a:gd name="T61" fmla="*/ 79 h 94"/>
              <a:gd name="T62" fmla="*/ 85 w 88"/>
              <a:gd name="T63" fmla="*/ 83 h 94"/>
              <a:gd name="T64" fmla="*/ 85 w 88"/>
              <a:gd name="T65" fmla="*/ 88 h 94"/>
              <a:gd name="T66" fmla="*/ 74 w 88"/>
              <a:gd name="T67" fmla="*/ 83 h 94"/>
              <a:gd name="T68" fmla="*/ 65 w 88"/>
              <a:gd name="T69" fmla="*/ 81 h 94"/>
              <a:gd name="T70" fmla="*/ 54 w 88"/>
              <a:gd name="T71" fmla="*/ 81 h 94"/>
              <a:gd name="T72" fmla="*/ 48 w 88"/>
              <a:gd name="T73" fmla="*/ 83 h 94"/>
              <a:gd name="T74" fmla="*/ 38 w 88"/>
              <a:gd name="T75" fmla="*/ 87 h 94"/>
              <a:gd name="T76" fmla="*/ 29 w 88"/>
              <a:gd name="T77" fmla="*/ 90 h 94"/>
              <a:gd name="T78" fmla="*/ 17 w 88"/>
              <a:gd name="T79" fmla="*/ 93 h 94"/>
              <a:gd name="T80" fmla="*/ 20 w 88"/>
              <a:gd name="T81" fmla="*/ 79 h 94"/>
              <a:gd name="T82" fmla="*/ 17 w 88"/>
              <a:gd name="T83" fmla="*/ 75 h 94"/>
              <a:gd name="T84" fmla="*/ 8 w 88"/>
              <a:gd name="T85" fmla="*/ 67 h 94"/>
              <a:gd name="T86" fmla="*/ 6 w 88"/>
              <a:gd name="T87" fmla="*/ 63 h 94"/>
              <a:gd name="T88" fmla="*/ 6 w 88"/>
              <a:gd name="T89" fmla="*/ 61 h 94"/>
              <a:gd name="T90" fmla="*/ 7 w 88"/>
              <a:gd name="T91" fmla="*/ 57 h 94"/>
              <a:gd name="T92" fmla="*/ 6 w 88"/>
              <a:gd name="T93" fmla="*/ 53 h 94"/>
              <a:gd name="T94" fmla="*/ 0 w 88"/>
              <a:gd name="T95" fmla="*/ 50 h 94"/>
              <a:gd name="T96" fmla="*/ 0 w 88"/>
              <a:gd name="T97" fmla="*/ 52 h 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88" h="94">
                <a:moveTo>
                  <a:pt x="3" y="50"/>
                </a:moveTo>
                <a:lnTo>
                  <a:pt x="6" y="50"/>
                </a:lnTo>
                <a:lnTo>
                  <a:pt x="8" y="47"/>
                </a:lnTo>
                <a:lnTo>
                  <a:pt x="10" y="44"/>
                </a:lnTo>
                <a:lnTo>
                  <a:pt x="10" y="41"/>
                </a:lnTo>
                <a:lnTo>
                  <a:pt x="10" y="39"/>
                </a:lnTo>
                <a:lnTo>
                  <a:pt x="9" y="37"/>
                </a:lnTo>
                <a:lnTo>
                  <a:pt x="8" y="36"/>
                </a:lnTo>
                <a:lnTo>
                  <a:pt x="7" y="34"/>
                </a:lnTo>
                <a:lnTo>
                  <a:pt x="10" y="34"/>
                </a:lnTo>
                <a:lnTo>
                  <a:pt x="12" y="34"/>
                </a:lnTo>
                <a:lnTo>
                  <a:pt x="15" y="31"/>
                </a:lnTo>
                <a:lnTo>
                  <a:pt x="13" y="31"/>
                </a:lnTo>
                <a:lnTo>
                  <a:pt x="12" y="29"/>
                </a:lnTo>
                <a:lnTo>
                  <a:pt x="12" y="24"/>
                </a:lnTo>
                <a:lnTo>
                  <a:pt x="10" y="18"/>
                </a:lnTo>
                <a:lnTo>
                  <a:pt x="10" y="13"/>
                </a:lnTo>
                <a:lnTo>
                  <a:pt x="10" y="12"/>
                </a:lnTo>
                <a:lnTo>
                  <a:pt x="10" y="10"/>
                </a:lnTo>
                <a:lnTo>
                  <a:pt x="11" y="8"/>
                </a:lnTo>
                <a:lnTo>
                  <a:pt x="12" y="8"/>
                </a:lnTo>
                <a:lnTo>
                  <a:pt x="13" y="7"/>
                </a:lnTo>
                <a:lnTo>
                  <a:pt x="16" y="7"/>
                </a:lnTo>
                <a:lnTo>
                  <a:pt x="19" y="6"/>
                </a:lnTo>
                <a:lnTo>
                  <a:pt x="24" y="6"/>
                </a:lnTo>
                <a:lnTo>
                  <a:pt x="32" y="1"/>
                </a:lnTo>
                <a:lnTo>
                  <a:pt x="34" y="3"/>
                </a:lnTo>
                <a:lnTo>
                  <a:pt x="35" y="7"/>
                </a:lnTo>
                <a:lnTo>
                  <a:pt x="40" y="4"/>
                </a:lnTo>
                <a:lnTo>
                  <a:pt x="42" y="2"/>
                </a:lnTo>
                <a:lnTo>
                  <a:pt x="43" y="0"/>
                </a:lnTo>
                <a:lnTo>
                  <a:pt x="44" y="0"/>
                </a:lnTo>
                <a:lnTo>
                  <a:pt x="46" y="2"/>
                </a:lnTo>
                <a:lnTo>
                  <a:pt x="46" y="4"/>
                </a:lnTo>
                <a:lnTo>
                  <a:pt x="51" y="9"/>
                </a:lnTo>
                <a:lnTo>
                  <a:pt x="52" y="11"/>
                </a:lnTo>
                <a:lnTo>
                  <a:pt x="55" y="13"/>
                </a:lnTo>
                <a:lnTo>
                  <a:pt x="57" y="13"/>
                </a:lnTo>
                <a:lnTo>
                  <a:pt x="60" y="15"/>
                </a:lnTo>
                <a:lnTo>
                  <a:pt x="63" y="13"/>
                </a:lnTo>
                <a:lnTo>
                  <a:pt x="65" y="13"/>
                </a:lnTo>
                <a:lnTo>
                  <a:pt x="68" y="11"/>
                </a:lnTo>
                <a:lnTo>
                  <a:pt x="72" y="10"/>
                </a:lnTo>
                <a:lnTo>
                  <a:pt x="74" y="11"/>
                </a:lnTo>
                <a:lnTo>
                  <a:pt x="77" y="13"/>
                </a:lnTo>
                <a:lnTo>
                  <a:pt x="79" y="15"/>
                </a:lnTo>
                <a:lnTo>
                  <a:pt x="83" y="16"/>
                </a:lnTo>
                <a:lnTo>
                  <a:pt x="83" y="20"/>
                </a:lnTo>
                <a:lnTo>
                  <a:pt x="85" y="23"/>
                </a:lnTo>
                <a:lnTo>
                  <a:pt x="87" y="27"/>
                </a:lnTo>
                <a:lnTo>
                  <a:pt x="87" y="31"/>
                </a:lnTo>
                <a:lnTo>
                  <a:pt x="87" y="35"/>
                </a:lnTo>
                <a:lnTo>
                  <a:pt x="86" y="39"/>
                </a:lnTo>
                <a:lnTo>
                  <a:pt x="83" y="43"/>
                </a:lnTo>
                <a:lnTo>
                  <a:pt x="82" y="45"/>
                </a:lnTo>
                <a:lnTo>
                  <a:pt x="80" y="48"/>
                </a:lnTo>
                <a:lnTo>
                  <a:pt x="78" y="51"/>
                </a:lnTo>
                <a:lnTo>
                  <a:pt x="77" y="55"/>
                </a:lnTo>
                <a:lnTo>
                  <a:pt x="77" y="58"/>
                </a:lnTo>
                <a:lnTo>
                  <a:pt x="77" y="65"/>
                </a:lnTo>
                <a:lnTo>
                  <a:pt x="79" y="72"/>
                </a:lnTo>
                <a:lnTo>
                  <a:pt x="82" y="79"/>
                </a:lnTo>
                <a:lnTo>
                  <a:pt x="83" y="81"/>
                </a:lnTo>
                <a:lnTo>
                  <a:pt x="85" y="83"/>
                </a:lnTo>
                <a:lnTo>
                  <a:pt x="85" y="85"/>
                </a:lnTo>
                <a:lnTo>
                  <a:pt x="85" y="88"/>
                </a:lnTo>
                <a:lnTo>
                  <a:pt x="80" y="86"/>
                </a:lnTo>
                <a:lnTo>
                  <a:pt x="74" y="83"/>
                </a:lnTo>
                <a:lnTo>
                  <a:pt x="69" y="82"/>
                </a:lnTo>
                <a:lnTo>
                  <a:pt x="65" y="81"/>
                </a:lnTo>
                <a:lnTo>
                  <a:pt x="62" y="81"/>
                </a:lnTo>
                <a:lnTo>
                  <a:pt x="54" y="81"/>
                </a:lnTo>
                <a:lnTo>
                  <a:pt x="51" y="82"/>
                </a:lnTo>
                <a:lnTo>
                  <a:pt x="48" y="83"/>
                </a:lnTo>
                <a:lnTo>
                  <a:pt x="43" y="85"/>
                </a:lnTo>
                <a:lnTo>
                  <a:pt x="38" y="87"/>
                </a:lnTo>
                <a:lnTo>
                  <a:pt x="34" y="89"/>
                </a:lnTo>
                <a:lnTo>
                  <a:pt x="29" y="90"/>
                </a:lnTo>
                <a:lnTo>
                  <a:pt x="24" y="93"/>
                </a:lnTo>
                <a:lnTo>
                  <a:pt x="17" y="93"/>
                </a:lnTo>
                <a:lnTo>
                  <a:pt x="19" y="85"/>
                </a:lnTo>
                <a:lnTo>
                  <a:pt x="20" y="79"/>
                </a:lnTo>
                <a:lnTo>
                  <a:pt x="19" y="76"/>
                </a:lnTo>
                <a:lnTo>
                  <a:pt x="17" y="75"/>
                </a:lnTo>
                <a:lnTo>
                  <a:pt x="12" y="70"/>
                </a:lnTo>
                <a:lnTo>
                  <a:pt x="8" y="67"/>
                </a:lnTo>
                <a:lnTo>
                  <a:pt x="6" y="65"/>
                </a:lnTo>
                <a:lnTo>
                  <a:pt x="6" y="63"/>
                </a:lnTo>
                <a:lnTo>
                  <a:pt x="6" y="62"/>
                </a:lnTo>
                <a:lnTo>
                  <a:pt x="6" y="61"/>
                </a:lnTo>
                <a:lnTo>
                  <a:pt x="7" y="58"/>
                </a:lnTo>
                <a:lnTo>
                  <a:pt x="7" y="57"/>
                </a:lnTo>
                <a:lnTo>
                  <a:pt x="7" y="55"/>
                </a:lnTo>
                <a:lnTo>
                  <a:pt x="6" y="53"/>
                </a:lnTo>
                <a:lnTo>
                  <a:pt x="3" y="50"/>
                </a:lnTo>
                <a:lnTo>
                  <a:pt x="0" y="50"/>
                </a:lnTo>
                <a:lnTo>
                  <a:pt x="0" y="51"/>
                </a:lnTo>
                <a:lnTo>
                  <a:pt x="0" y="52"/>
                </a:lnTo>
                <a:lnTo>
                  <a:pt x="3" y="5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5" name="Freeform 44">
            <a:extLst>
              <a:ext uri="{FF2B5EF4-FFF2-40B4-BE49-F238E27FC236}">
                <a16:creationId xmlns:a16="http://schemas.microsoft.com/office/drawing/2014/main" id="{DE5E2F95-BC0F-387E-FADA-A7095C6B645A}"/>
              </a:ext>
            </a:extLst>
          </p:cNvPr>
          <p:cNvSpPr>
            <a:spLocks/>
          </p:cNvSpPr>
          <p:nvPr/>
        </p:nvSpPr>
        <p:spPr bwMode="auto">
          <a:xfrm>
            <a:off x="6049338" y="4527396"/>
            <a:ext cx="128588" cy="176213"/>
          </a:xfrm>
          <a:custGeom>
            <a:avLst/>
            <a:gdLst>
              <a:gd name="T0" fmla="*/ 63 w 64"/>
              <a:gd name="T1" fmla="*/ 75 h 94"/>
              <a:gd name="T2" fmla="*/ 53 w 64"/>
              <a:gd name="T3" fmla="*/ 79 h 94"/>
              <a:gd name="T4" fmla="*/ 49 w 64"/>
              <a:gd name="T5" fmla="*/ 80 h 94"/>
              <a:gd name="T6" fmla="*/ 44 w 64"/>
              <a:gd name="T7" fmla="*/ 81 h 94"/>
              <a:gd name="T8" fmla="*/ 37 w 64"/>
              <a:gd name="T9" fmla="*/ 85 h 94"/>
              <a:gd name="T10" fmla="*/ 31 w 64"/>
              <a:gd name="T11" fmla="*/ 89 h 94"/>
              <a:gd name="T12" fmla="*/ 23 w 64"/>
              <a:gd name="T13" fmla="*/ 92 h 94"/>
              <a:gd name="T14" fmla="*/ 18 w 64"/>
              <a:gd name="T15" fmla="*/ 93 h 94"/>
              <a:gd name="T16" fmla="*/ 14 w 64"/>
              <a:gd name="T17" fmla="*/ 93 h 94"/>
              <a:gd name="T18" fmla="*/ 10 w 64"/>
              <a:gd name="T19" fmla="*/ 93 h 94"/>
              <a:gd name="T20" fmla="*/ 7 w 64"/>
              <a:gd name="T21" fmla="*/ 93 h 94"/>
              <a:gd name="T22" fmla="*/ 5 w 64"/>
              <a:gd name="T23" fmla="*/ 86 h 94"/>
              <a:gd name="T24" fmla="*/ 3 w 64"/>
              <a:gd name="T25" fmla="*/ 76 h 94"/>
              <a:gd name="T26" fmla="*/ 0 w 64"/>
              <a:gd name="T27" fmla="*/ 70 h 94"/>
              <a:gd name="T28" fmla="*/ 0 w 64"/>
              <a:gd name="T29" fmla="*/ 66 h 94"/>
              <a:gd name="T30" fmla="*/ 0 w 64"/>
              <a:gd name="T31" fmla="*/ 64 h 94"/>
              <a:gd name="T32" fmla="*/ 0 w 64"/>
              <a:gd name="T33" fmla="*/ 60 h 94"/>
              <a:gd name="T34" fmla="*/ 0 w 64"/>
              <a:gd name="T35" fmla="*/ 57 h 94"/>
              <a:gd name="T36" fmla="*/ 4 w 64"/>
              <a:gd name="T37" fmla="*/ 51 h 94"/>
              <a:gd name="T38" fmla="*/ 8 w 64"/>
              <a:gd name="T39" fmla="*/ 44 h 94"/>
              <a:gd name="T40" fmla="*/ 9 w 64"/>
              <a:gd name="T41" fmla="*/ 41 h 94"/>
              <a:gd name="T42" fmla="*/ 9 w 64"/>
              <a:gd name="T43" fmla="*/ 37 h 94"/>
              <a:gd name="T44" fmla="*/ 9 w 64"/>
              <a:gd name="T45" fmla="*/ 32 h 94"/>
              <a:gd name="T46" fmla="*/ 7 w 64"/>
              <a:gd name="T47" fmla="*/ 28 h 94"/>
              <a:gd name="T48" fmla="*/ 6 w 64"/>
              <a:gd name="T49" fmla="*/ 26 h 94"/>
              <a:gd name="T50" fmla="*/ 5 w 64"/>
              <a:gd name="T51" fmla="*/ 22 h 94"/>
              <a:gd name="T52" fmla="*/ 4 w 64"/>
              <a:gd name="T53" fmla="*/ 18 h 94"/>
              <a:gd name="T54" fmla="*/ 4 w 64"/>
              <a:gd name="T55" fmla="*/ 12 h 94"/>
              <a:gd name="T56" fmla="*/ 4 w 64"/>
              <a:gd name="T57" fmla="*/ 5 h 94"/>
              <a:gd name="T58" fmla="*/ 5 w 64"/>
              <a:gd name="T59" fmla="*/ 0 h 94"/>
              <a:gd name="T60" fmla="*/ 10 w 64"/>
              <a:gd name="T61" fmla="*/ 0 h 94"/>
              <a:gd name="T62" fmla="*/ 18 w 64"/>
              <a:gd name="T63" fmla="*/ 0 h 94"/>
              <a:gd name="T64" fmla="*/ 34 w 64"/>
              <a:gd name="T65" fmla="*/ 0 h 94"/>
              <a:gd name="T66" fmla="*/ 44 w 64"/>
              <a:gd name="T67" fmla="*/ 0 h 94"/>
              <a:gd name="T68" fmla="*/ 45 w 64"/>
              <a:gd name="T69" fmla="*/ 4 h 94"/>
              <a:gd name="T70" fmla="*/ 47 w 64"/>
              <a:gd name="T71" fmla="*/ 9 h 94"/>
              <a:gd name="T72" fmla="*/ 49 w 64"/>
              <a:gd name="T73" fmla="*/ 12 h 94"/>
              <a:gd name="T74" fmla="*/ 50 w 64"/>
              <a:gd name="T75" fmla="*/ 14 h 94"/>
              <a:gd name="T76" fmla="*/ 50 w 64"/>
              <a:gd name="T77" fmla="*/ 16 h 94"/>
              <a:gd name="T78" fmla="*/ 49 w 64"/>
              <a:gd name="T79" fmla="*/ 19 h 94"/>
              <a:gd name="T80" fmla="*/ 49 w 64"/>
              <a:gd name="T81" fmla="*/ 22 h 94"/>
              <a:gd name="T82" fmla="*/ 49 w 64"/>
              <a:gd name="T83" fmla="*/ 23 h 94"/>
              <a:gd name="T84" fmla="*/ 49 w 64"/>
              <a:gd name="T85" fmla="*/ 24 h 94"/>
              <a:gd name="T86" fmla="*/ 50 w 64"/>
              <a:gd name="T87" fmla="*/ 24 h 94"/>
              <a:gd name="T88" fmla="*/ 51 w 64"/>
              <a:gd name="T89" fmla="*/ 27 h 94"/>
              <a:gd name="T90" fmla="*/ 52 w 64"/>
              <a:gd name="T91" fmla="*/ 28 h 94"/>
              <a:gd name="T92" fmla="*/ 53 w 64"/>
              <a:gd name="T93" fmla="*/ 32 h 94"/>
              <a:gd name="T94" fmla="*/ 53 w 64"/>
              <a:gd name="T95" fmla="*/ 34 h 94"/>
              <a:gd name="T96" fmla="*/ 53 w 64"/>
              <a:gd name="T97" fmla="*/ 37 h 94"/>
              <a:gd name="T98" fmla="*/ 53 w 64"/>
              <a:gd name="T99" fmla="*/ 40 h 94"/>
              <a:gd name="T100" fmla="*/ 54 w 64"/>
              <a:gd name="T101" fmla="*/ 41 h 94"/>
              <a:gd name="T102" fmla="*/ 54 w 64"/>
              <a:gd name="T103" fmla="*/ 61 h 94"/>
              <a:gd name="T104" fmla="*/ 52 w 64"/>
              <a:gd name="T105" fmla="*/ 62 h 94"/>
              <a:gd name="T106" fmla="*/ 50 w 64"/>
              <a:gd name="T107" fmla="*/ 64 h 94"/>
              <a:gd name="T108" fmla="*/ 53 w 64"/>
              <a:gd name="T109" fmla="*/ 67 h 94"/>
              <a:gd name="T110" fmla="*/ 56 w 64"/>
              <a:gd name="T111" fmla="*/ 70 h 94"/>
              <a:gd name="T112" fmla="*/ 61 w 64"/>
              <a:gd name="T113" fmla="*/ 75 h 94"/>
              <a:gd name="T114" fmla="*/ 63 w 64"/>
              <a:gd name="T115" fmla="*/ 75 h 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64" h="94">
                <a:moveTo>
                  <a:pt x="63" y="75"/>
                </a:moveTo>
                <a:lnTo>
                  <a:pt x="53" y="79"/>
                </a:lnTo>
                <a:lnTo>
                  <a:pt x="49" y="80"/>
                </a:lnTo>
                <a:lnTo>
                  <a:pt x="44" y="81"/>
                </a:lnTo>
                <a:lnTo>
                  <a:pt x="37" y="85"/>
                </a:lnTo>
                <a:lnTo>
                  <a:pt x="31" y="89"/>
                </a:lnTo>
                <a:lnTo>
                  <a:pt x="23" y="92"/>
                </a:lnTo>
                <a:lnTo>
                  <a:pt x="18" y="93"/>
                </a:lnTo>
                <a:lnTo>
                  <a:pt x="14" y="93"/>
                </a:lnTo>
                <a:lnTo>
                  <a:pt x="10" y="93"/>
                </a:lnTo>
                <a:lnTo>
                  <a:pt x="7" y="93"/>
                </a:lnTo>
                <a:lnTo>
                  <a:pt x="5" y="86"/>
                </a:lnTo>
                <a:lnTo>
                  <a:pt x="3" y="76"/>
                </a:lnTo>
                <a:lnTo>
                  <a:pt x="0" y="70"/>
                </a:lnTo>
                <a:lnTo>
                  <a:pt x="0" y="66"/>
                </a:lnTo>
                <a:lnTo>
                  <a:pt x="0" y="64"/>
                </a:lnTo>
                <a:lnTo>
                  <a:pt x="0" y="60"/>
                </a:lnTo>
                <a:lnTo>
                  <a:pt x="0" y="57"/>
                </a:lnTo>
                <a:lnTo>
                  <a:pt x="4" y="51"/>
                </a:lnTo>
                <a:lnTo>
                  <a:pt x="8" y="44"/>
                </a:lnTo>
                <a:lnTo>
                  <a:pt x="9" y="41"/>
                </a:lnTo>
                <a:lnTo>
                  <a:pt x="9" y="37"/>
                </a:lnTo>
                <a:lnTo>
                  <a:pt x="9" y="32"/>
                </a:lnTo>
                <a:lnTo>
                  <a:pt x="7" y="28"/>
                </a:lnTo>
                <a:lnTo>
                  <a:pt x="6" y="26"/>
                </a:lnTo>
                <a:lnTo>
                  <a:pt x="5" y="22"/>
                </a:lnTo>
                <a:lnTo>
                  <a:pt x="4" y="18"/>
                </a:lnTo>
                <a:lnTo>
                  <a:pt x="4" y="12"/>
                </a:lnTo>
                <a:lnTo>
                  <a:pt x="4" y="5"/>
                </a:lnTo>
                <a:lnTo>
                  <a:pt x="5" y="0"/>
                </a:lnTo>
                <a:lnTo>
                  <a:pt x="10" y="0"/>
                </a:lnTo>
                <a:lnTo>
                  <a:pt x="18" y="0"/>
                </a:lnTo>
                <a:lnTo>
                  <a:pt x="34" y="0"/>
                </a:lnTo>
                <a:lnTo>
                  <a:pt x="44" y="0"/>
                </a:lnTo>
                <a:lnTo>
                  <a:pt x="45" y="4"/>
                </a:lnTo>
                <a:lnTo>
                  <a:pt x="47" y="9"/>
                </a:lnTo>
                <a:lnTo>
                  <a:pt x="49" y="12"/>
                </a:lnTo>
                <a:lnTo>
                  <a:pt x="50" y="14"/>
                </a:lnTo>
                <a:lnTo>
                  <a:pt x="50" y="16"/>
                </a:lnTo>
                <a:lnTo>
                  <a:pt x="49" y="19"/>
                </a:lnTo>
                <a:lnTo>
                  <a:pt x="49" y="22"/>
                </a:lnTo>
                <a:lnTo>
                  <a:pt x="49" y="23"/>
                </a:lnTo>
                <a:lnTo>
                  <a:pt x="49" y="24"/>
                </a:lnTo>
                <a:lnTo>
                  <a:pt x="50" y="24"/>
                </a:lnTo>
                <a:lnTo>
                  <a:pt x="51" y="27"/>
                </a:lnTo>
                <a:lnTo>
                  <a:pt x="52" y="28"/>
                </a:lnTo>
                <a:lnTo>
                  <a:pt x="53" y="32"/>
                </a:lnTo>
                <a:lnTo>
                  <a:pt x="53" y="34"/>
                </a:lnTo>
                <a:lnTo>
                  <a:pt x="53" y="37"/>
                </a:lnTo>
                <a:lnTo>
                  <a:pt x="53" y="40"/>
                </a:lnTo>
                <a:lnTo>
                  <a:pt x="54" y="41"/>
                </a:lnTo>
                <a:lnTo>
                  <a:pt x="54" y="61"/>
                </a:lnTo>
                <a:lnTo>
                  <a:pt x="52" y="62"/>
                </a:lnTo>
                <a:lnTo>
                  <a:pt x="50" y="64"/>
                </a:lnTo>
                <a:lnTo>
                  <a:pt x="53" y="67"/>
                </a:lnTo>
                <a:lnTo>
                  <a:pt x="56" y="70"/>
                </a:lnTo>
                <a:lnTo>
                  <a:pt x="61" y="75"/>
                </a:lnTo>
                <a:lnTo>
                  <a:pt x="63" y="75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6" name="Freeform 45">
            <a:extLst>
              <a:ext uri="{FF2B5EF4-FFF2-40B4-BE49-F238E27FC236}">
                <a16:creationId xmlns:a16="http://schemas.microsoft.com/office/drawing/2014/main" id="{ECB72957-2185-2E10-B382-1520F994D818}"/>
              </a:ext>
            </a:extLst>
          </p:cNvPr>
          <p:cNvSpPr>
            <a:spLocks/>
          </p:cNvSpPr>
          <p:nvPr/>
        </p:nvSpPr>
        <p:spPr bwMode="auto">
          <a:xfrm>
            <a:off x="6049338" y="4527396"/>
            <a:ext cx="128588" cy="176213"/>
          </a:xfrm>
          <a:custGeom>
            <a:avLst/>
            <a:gdLst>
              <a:gd name="T0" fmla="*/ 63 w 64"/>
              <a:gd name="T1" fmla="*/ 75 h 94"/>
              <a:gd name="T2" fmla="*/ 53 w 64"/>
              <a:gd name="T3" fmla="*/ 79 h 94"/>
              <a:gd name="T4" fmla="*/ 49 w 64"/>
              <a:gd name="T5" fmla="*/ 80 h 94"/>
              <a:gd name="T6" fmla="*/ 44 w 64"/>
              <a:gd name="T7" fmla="*/ 81 h 94"/>
              <a:gd name="T8" fmla="*/ 37 w 64"/>
              <a:gd name="T9" fmla="*/ 85 h 94"/>
              <a:gd name="T10" fmla="*/ 31 w 64"/>
              <a:gd name="T11" fmla="*/ 89 h 94"/>
              <a:gd name="T12" fmla="*/ 23 w 64"/>
              <a:gd name="T13" fmla="*/ 92 h 94"/>
              <a:gd name="T14" fmla="*/ 18 w 64"/>
              <a:gd name="T15" fmla="*/ 93 h 94"/>
              <a:gd name="T16" fmla="*/ 14 w 64"/>
              <a:gd name="T17" fmla="*/ 93 h 94"/>
              <a:gd name="T18" fmla="*/ 10 w 64"/>
              <a:gd name="T19" fmla="*/ 93 h 94"/>
              <a:gd name="T20" fmla="*/ 7 w 64"/>
              <a:gd name="T21" fmla="*/ 93 h 94"/>
              <a:gd name="T22" fmla="*/ 5 w 64"/>
              <a:gd name="T23" fmla="*/ 86 h 94"/>
              <a:gd name="T24" fmla="*/ 3 w 64"/>
              <a:gd name="T25" fmla="*/ 76 h 94"/>
              <a:gd name="T26" fmla="*/ 0 w 64"/>
              <a:gd name="T27" fmla="*/ 70 h 94"/>
              <a:gd name="T28" fmla="*/ 0 w 64"/>
              <a:gd name="T29" fmla="*/ 66 h 94"/>
              <a:gd name="T30" fmla="*/ 0 w 64"/>
              <a:gd name="T31" fmla="*/ 64 h 94"/>
              <a:gd name="T32" fmla="*/ 0 w 64"/>
              <a:gd name="T33" fmla="*/ 60 h 94"/>
              <a:gd name="T34" fmla="*/ 0 w 64"/>
              <a:gd name="T35" fmla="*/ 57 h 94"/>
              <a:gd name="T36" fmla="*/ 4 w 64"/>
              <a:gd name="T37" fmla="*/ 51 h 94"/>
              <a:gd name="T38" fmla="*/ 8 w 64"/>
              <a:gd name="T39" fmla="*/ 44 h 94"/>
              <a:gd name="T40" fmla="*/ 9 w 64"/>
              <a:gd name="T41" fmla="*/ 41 h 94"/>
              <a:gd name="T42" fmla="*/ 9 w 64"/>
              <a:gd name="T43" fmla="*/ 37 h 94"/>
              <a:gd name="T44" fmla="*/ 9 w 64"/>
              <a:gd name="T45" fmla="*/ 32 h 94"/>
              <a:gd name="T46" fmla="*/ 7 w 64"/>
              <a:gd name="T47" fmla="*/ 28 h 94"/>
              <a:gd name="T48" fmla="*/ 6 w 64"/>
              <a:gd name="T49" fmla="*/ 26 h 94"/>
              <a:gd name="T50" fmla="*/ 5 w 64"/>
              <a:gd name="T51" fmla="*/ 22 h 94"/>
              <a:gd name="T52" fmla="*/ 4 w 64"/>
              <a:gd name="T53" fmla="*/ 18 h 94"/>
              <a:gd name="T54" fmla="*/ 4 w 64"/>
              <a:gd name="T55" fmla="*/ 12 h 94"/>
              <a:gd name="T56" fmla="*/ 4 w 64"/>
              <a:gd name="T57" fmla="*/ 5 h 94"/>
              <a:gd name="T58" fmla="*/ 5 w 64"/>
              <a:gd name="T59" fmla="*/ 0 h 94"/>
              <a:gd name="T60" fmla="*/ 10 w 64"/>
              <a:gd name="T61" fmla="*/ 0 h 94"/>
              <a:gd name="T62" fmla="*/ 18 w 64"/>
              <a:gd name="T63" fmla="*/ 0 h 94"/>
              <a:gd name="T64" fmla="*/ 34 w 64"/>
              <a:gd name="T65" fmla="*/ 0 h 94"/>
              <a:gd name="T66" fmla="*/ 44 w 64"/>
              <a:gd name="T67" fmla="*/ 0 h 94"/>
              <a:gd name="T68" fmla="*/ 45 w 64"/>
              <a:gd name="T69" fmla="*/ 4 h 94"/>
              <a:gd name="T70" fmla="*/ 47 w 64"/>
              <a:gd name="T71" fmla="*/ 9 h 94"/>
              <a:gd name="T72" fmla="*/ 49 w 64"/>
              <a:gd name="T73" fmla="*/ 12 h 94"/>
              <a:gd name="T74" fmla="*/ 50 w 64"/>
              <a:gd name="T75" fmla="*/ 14 h 94"/>
              <a:gd name="T76" fmla="*/ 50 w 64"/>
              <a:gd name="T77" fmla="*/ 16 h 94"/>
              <a:gd name="T78" fmla="*/ 49 w 64"/>
              <a:gd name="T79" fmla="*/ 19 h 94"/>
              <a:gd name="T80" fmla="*/ 49 w 64"/>
              <a:gd name="T81" fmla="*/ 22 h 94"/>
              <a:gd name="T82" fmla="*/ 49 w 64"/>
              <a:gd name="T83" fmla="*/ 23 h 94"/>
              <a:gd name="T84" fmla="*/ 49 w 64"/>
              <a:gd name="T85" fmla="*/ 24 h 94"/>
              <a:gd name="T86" fmla="*/ 50 w 64"/>
              <a:gd name="T87" fmla="*/ 24 h 94"/>
              <a:gd name="T88" fmla="*/ 51 w 64"/>
              <a:gd name="T89" fmla="*/ 27 h 94"/>
              <a:gd name="T90" fmla="*/ 52 w 64"/>
              <a:gd name="T91" fmla="*/ 28 h 94"/>
              <a:gd name="T92" fmla="*/ 53 w 64"/>
              <a:gd name="T93" fmla="*/ 32 h 94"/>
              <a:gd name="T94" fmla="*/ 53 w 64"/>
              <a:gd name="T95" fmla="*/ 34 h 94"/>
              <a:gd name="T96" fmla="*/ 53 w 64"/>
              <a:gd name="T97" fmla="*/ 37 h 94"/>
              <a:gd name="T98" fmla="*/ 53 w 64"/>
              <a:gd name="T99" fmla="*/ 40 h 94"/>
              <a:gd name="T100" fmla="*/ 54 w 64"/>
              <a:gd name="T101" fmla="*/ 41 h 94"/>
              <a:gd name="T102" fmla="*/ 54 w 64"/>
              <a:gd name="T103" fmla="*/ 61 h 94"/>
              <a:gd name="T104" fmla="*/ 52 w 64"/>
              <a:gd name="T105" fmla="*/ 62 h 94"/>
              <a:gd name="T106" fmla="*/ 50 w 64"/>
              <a:gd name="T107" fmla="*/ 64 h 94"/>
              <a:gd name="T108" fmla="*/ 53 w 64"/>
              <a:gd name="T109" fmla="*/ 67 h 94"/>
              <a:gd name="T110" fmla="*/ 56 w 64"/>
              <a:gd name="T111" fmla="*/ 70 h 94"/>
              <a:gd name="T112" fmla="*/ 61 w 64"/>
              <a:gd name="T113" fmla="*/ 75 h 94"/>
              <a:gd name="T114" fmla="*/ 63 w 64"/>
              <a:gd name="T115" fmla="*/ 75 h 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64" h="94">
                <a:moveTo>
                  <a:pt x="63" y="75"/>
                </a:moveTo>
                <a:lnTo>
                  <a:pt x="53" y="79"/>
                </a:lnTo>
                <a:lnTo>
                  <a:pt x="49" y="80"/>
                </a:lnTo>
                <a:lnTo>
                  <a:pt x="44" y="81"/>
                </a:lnTo>
                <a:lnTo>
                  <a:pt x="37" y="85"/>
                </a:lnTo>
                <a:lnTo>
                  <a:pt x="31" y="89"/>
                </a:lnTo>
                <a:lnTo>
                  <a:pt x="23" y="92"/>
                </a:lnTo>
                <a:lnTo>
                  <a:pt x="18" y="93"/>
                </a:lnTo>
                <a:lnTo>
                  <a:pt x="14" y="93"/>
                </a:lnTo>
                <a:lnTo>
                  <a:pt x="10" y="93"/>
                </a:lnTo>
                <a:lnTo>
                  <a:pt x="7" y="93"/>
                </a:lnTo>
                <a:lnTo>
                  <a:pt x="5" y="86"/>
                </a:lnTo>
                <a:lnTo>
                  <a:pt x="3" y="76"/>
                </a:lnTo>
                <a:lnTo>
                  <a:pt x="0" y="70"/>
                </a:lnTo>
                <a:lnTo>
                  <a:pt x="0" y="66"/>
                </a:lnTo>
                <a:lnTo>
                  <a:pt x="0" y="64"/>
                </a:lnTo>
                <a:lnTo>
                  <a:pt x="0" y="60"/>
                </a:lnTo>
                <a:lnTo>
                  <a:pt x="0" y="57"/>
                </a:lnTo>
                <a:lnTo>
                  <a:pt x="4" y="51"/>
                </a:lnTo>
                <a:lnTo>
                  <a:pt x="8" y="44"/>
                </a:lnTo>
                <a:lnTo>
                  <a:pt x="9" y="41"/>
                </a:lnTo>
                <a:lnTo>
                  <a:pt x="9" y="37"/>
                </a:lnTo>
                <a:lnTo>
                  <a:pt x="9" y="32"/>
                </a:lnTo>
                <a:lnTo>
                  <a:pt x="7" y="28"/>
                </a:lnTo>
                <a:lnTo>
                  <a:pt x="6" y="26"/>
                </a:lnTo>
                <a:lnTo>
                  <a:pt x="5" y="22"/>
                </a:lnTo>
                <a:lnTo>
                  <a:pt x="4" y="18"/>
                </a:lnTo>
                <a:lnTo>
                  <a:pt x="4" y="12"/>
                </a:lnTo>
                <a:lnTo>
                  <a:pt x="4" y="5"/>
                </a:lnTo>
                <a:lnTo>
                  <a:pt x="5" y="0"/>
                </a:lnTo>
                <a:lnTo>
                  <a:pt x="10" y="0"/>
                </a:lnTo>
                <a:lnTo>
                  <a:pt x="18" y="0"/>
                </a:lnTo>
                <a:lnTo>
                  <a:pt x="34" y="0"/>
                </a:lnTo>
                <a:lnTo>
                  <a:pt x="44" y="0"/>
                </a:lnTo>
                <a:lnTo>
                  <a:pt x="45" y="4"/>
                </a:lnTo>
                <a:lnTo>
                  <a:pt x="47" y="9"/>
                </a:lnTo>
                <a:lnTo>
                  <a:pt x="49" y="12"/>
                </a:lnTo>
                <a:lnTo>
                  <a:pt x="50" y="14"/>
                </a:lnTo>
                <a:lnTo>
                  <a:pt x="50" y="16"/>
                </a:lnTo>
                <a:lnTo>
                  <a:pt x="49" y="19"/>
                </a:lnTo>
                <a:lnTo>
                  <a:pt x="49" y="22"/>
                </a:lnTo>
                <a:lnTo>
                  <a:pt x="49" y="23"/>
                </a:lnTo>
                <a:lnTo>
                  <a:pt x="49" y="24"/>
                </a:lnTo>
                <a:lnTo>
                  <a:pt x="50" y="24"/>
                </a:lnTo>
                <a:lnTo>
                  <a:pt x="51" y="27"/>
                </a:lnTo>
                <a:lnTo>
                  <a:pt x="52" y="28"/>
                </a:lnTo>
                <a:lnTo>
                  <a:pt x="53" y="32"/>
                </a:lnTo>
                <a:lnTo>
                  <a:pt x="53" y="34"/>
                </a:lnTo>
                <a:lnTo>
                  <a:pt x="53" y="37"/>
                </a:lnTo>
                <a:lnTo>
                  <a:pt x="53" y="40"/>
                </a:lnTo>
                <a:lnTo>
                  <a:pt x="54" y="41"/>
                </a:lnTo>
                <a:lnTo>
                  <a:pt x="54" y="61"/>
                </a:lnTo>
                <a:lnTo>
                  <a:pt x="52" y="62"/>
                </a:lnTo>
                <a:lnTo>
                  <a:pt x="50" y="64"/>
                </a:lnTo>
                <a:lnTo>
                  <a:pt x="53" y="67"/>
                </a:lnTo>
                <a:lnTo>
                  <a:pt x="56" y="70"/>
                </a:lnTo>
                <a:lnTo>
                  <a:pt x="61" y="75"/>
                </a:lnTo>
                <a:lnTo>
                  <a:pt x="63" y="75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7" name="Freeform 46">
            <a:extLst>
              <a:ext uri="{FF2B5EF4-FFF2-40B4-BE49-F238E27FC236}">
                <a16:creationId xmlns:a16="http://schemas.microsoft.com/office/drawing/2014/main" id="{DE34BF2D-4B95-7849-8AD6-D678C8260794}"/>
              </a:ext>
            </a:extLst>
          </p:cNvPr>
          <p:cNvSpPr>
            <a:spLocks/>
          </p:cNvSpPr>
          <p:nvPr/>
        </p:nvSpPr>
        <p:spPr bwMode="auto">
          <a:xfrm>
            <a:off x="6138238" y="4527396"/>
            <a:ext cx="57150" cy="142875"/>
          </a:xfrm>
          <a:custGeom>
            <a:avLst/>
            <a:gdLst>
              <a:gd name="T0" fmla="*/ 16 w 27"/>
              <a:gd name="T1" fmla="*/ 75 h 76"/>
              <a:gd name="T2" fmla="*/ 11 w 27"/>
              <a:gd name="T3" fmla="*/ 70 h 76"/>
              <a:gd name="T4" fmla="*/ 8 w 27"/>
              <a:gd name="T5" fmla="*/ 67 h 76"/>
              <a:gd name="T6" fmla="*/ 5 w 27"/>
              <a:gd name="T7" fmla="*/ 63 h 76"/>
              <a:gd name="T8" fmla="*/ 7 w 27"/>
              <a:gd name="T9" fmla="*/ 62 h 76"/>
              <a:gd name="T10" fmla="*/ 9 w 27"/>
              <a:gd name="T11" fmla="*/ 61 h 76"/>
              <a:gd name="T12" fmla="*/ 9 w 27"/>
              <a:gd name="T13" fmla="*/ 41 h 76"/>
              <a:gd name="T14" fmla="*/ 9 w 27"/>
              <a:gd name="T15" fmla="*/ 40 h 76"/>
              <a:gd name="T16" fmla="*/ 8 w 27"/>
              <a:gd name="T17" fmla="*/ 37 h 76"/>
              <a:gd name="T18" fmla="*/ 8 w 27"/>
              <a:gd name="T19" fmla="*/ 34 h 76"/>
              <a:gd name="T20" fmla="*/ 7 w 27"/>
              <a:gd name="T21" fmla="*/ 28 h 76"/>
              <a:gd name="T22" fmla="*/ 6 w 27"/>
              <a:gd name="T23" fmla="*/ 27 h 76"/>
              <a:gd name="T24" fmla="*/ 5 w 27"/>
              <a:gd name="T25" fmla="*/ 24 h 76"/>
              <a:gd name="T26" fmla="*/ 4 w 27"/>
              <a:gd name="T27" fmla="*/ 24 h 76"/>
              <a:gd name="T28" fmla="*/ 4 w 27"/>
              <a:gd name="T29" fmla="*/ 23 h 76"/>
              <a:gd name="T30" fmla="*/ 3 w 27"/>
              <a:gd name="T31" fmla="*/ 22 h 76"/>
              <a:gd name="T32" fmla="*/ 4 w 27"/>
              <a:gd name="T33" fmla="*/ 21 h 76"/>
              <a:gd name="T34" fmla="*/ 4 w 27"/>
              <a:gd name="T35" fmla="*/ 19 h 76"/>
              <a:gd name="T36" fmla="*/ 5 w 27"/>
              <a:gd name="T37" fmla="*/ 16 h 76"/>
              <a:gd name="T38" fmla="*/ 5 w 27"/>
              <a:gd name="T39" fmla="*/ 14 h 76"/>
              <a:gd name="T40" fmla="*/ 4 w 27"/>
              <a:gd name="T41" fmla="*/ 12 h 76"/>
              <a:gd name="T42" fmla="*/ 3 w 27"/>
              <a:gd name="T43" fmla="*/ 9 h 76"/>
              <a:gd name="T44" fmla="*/ 2 w 27"/>
              <a:gd name="T45" fmla="*/ 7 h 76"/>
              <a:gd name="T46" fmla="*/ 0 w 27"/>
              <a:gd name="T47" fmla="*/ 4 h 76"/>
              <a:gd name="T48" fmla="*/ 0 w 27"/>
              <a:gd name="T49" fmla="*/ 2 h 76"/>
              <a:gd name="T50" fmla="*/ 0 w 27"/>
              <a:gd name="T51" fmla="*/ 0 h 76"/>
              <a:gd name="T52" fmla="*/ 16 w 27"/>
              <a:gd name="T53" fmla="*/ 0 h 76"/>
              <a:gd name="T54" fmla="*/ 14 w 27"/>
              <a:gd name="T55" fmla="*/ 1 h 76"/>
              <a:gd name="T56" fmla="*/ 13 w 27"/>
              <a:gd name="T57" fmla="*/ 3 h 76"/>
              <a:gd name="T58" fmla="*/ 12 w 27"/>
              <a:gd name="T59" fmla="*/ 5 h 76"/>
              <a:gd name="T60" fmla="*/ 12 w 27"/>
              <a:gd name="T61" fmla="*/ 7 h 76"/>
              <a:gd name="T62" fmla="*/ 12 w 27"/>
              <a:gd name="T63" fmla="*/ 9 h 76"/>
              <a:gd name="T64" fmla="*/ 13 w 27"/>
              <a:gd name="T65" fmla="*/ 10 h 76"/>
              <a:gd name="T66" fmla="*/ 13 w 27"/>
              <a:gd name="T67" fmla="*/ 12 h 76"/>
              <a:gd name="T68" fmla="*/ 14 w 27"/>
              <a:gd name="T69" fmla="*/ 14 h 76"/>
              <a:gd name="T70" fmla="*/ 17 w 27"/>
              <a:gd name="T71" fmla="*/ 16 h 76"/>
              <a:gd name="T72" fmla="*/ 20 w 27"/>
              <a:gd name="T73" fmla="*/ 18 h 76"/>
              <a:gd name="T74" fmla="*/ 20 w 27"/>
              <a:gd name="T75" fmla="*/ 21 h 76"/>
              <a:gd name="T76" fmla="*/ 21 w 27"/>
              <a:gd name="T77" fmla="*/ 27 h 76"/>
              <a:gd name="T78" fmla="*/ 22 w 27"/>
              <a:gd name="T79" fmla="*/ 34 h 76"/>
              <a:gd name="T80" fmla="*/ 22 w 27"/>
              <a:gd name="T81" fmla="*/ 43 h 76"/>
              <a:gd name="T82" fmla="*/ 22 w 27"/>
              <a:gd name="T83" fmla="*/ 52 h 76"/>
              <a:gd name="T84" fmla="*/ 24 w 27"/>
              <a:gd name="T85" fmla="*/ 69 h 76"/>
              <a:gd name="T86" fmla="*/ 25 w 27"/>
              <a:gd name="T87" fmla="*/ 70 h 76"/>
              <a:gd name="T88" fmla="*/ 25 w 27"/>
              <a:gd name="T89" fmla="*/ 71 h 76"/>
              <a:gd name="T90" fmla="*/ 26 w 27"/>
              <a:gd name="T91" fmla="*/ 71 h 76"/>
              <a:gd name="T92" fmla="*/ 16 w 27"/>
              <a:gd name="T93" fmla="*/ 75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7" h="76">
                <a:moveTo>
                  <a:pt x="16" y="75"/>
                </a:moveTo>
                <a:lnTo>
                  <a:pt x="11" y="70"/>
                </a:lnTo>
                <a:lnTo>
                  <a:pt x="8" y="67"/>
                </a:lnTo>
                <a:lnTo>
                  <a:pt x="5" y="63"/>
                </a:lnTo>
                <a:lnTo>
                  <a:pt x="7" y="62"/>
                </a:lnTo>
                <a:lnTo>
                  <a:pt x="9" y="61"/>
                </a:lnTo>
                <a:lnTo>
                  <a:pt x="9" y="41"/>
                </a:lnTo>
                <a:lnTo>
                  <a:pt x="9" y="40"/>
                </a:lnTo>
                <a:lnTo>
                  <a:pt x="8" y="37"/>
                </a:lnTo>
                <a:lnTo>
                  <a:pt x="8" y="34"/>
                </a:lnTo>
                <a:lnTo>
                  <a:pt x="7" y="28"/>
                </a:lnTo>
                <a:lnTo>
                  <a:pt x="6" y="27"/>
                </a:lnTo>
                <a:lnTo>
                  <a:pt x="5" y="24"/>
                </a:lnTo>
                <a:lnTo>
                  <a:pt x="4" y="24"/>
                </a:lnTo>
                <a:lnTo>
                  <a:pt x="4" y="23"/>
                </a:lnTo>
                <a:lnTo>
                  <a:pt x="3" y="22"/>
                </a:lnTo>
                <a:lnTo>
                  <a:pt x="4" y="21"/>
                </a:lnTo>
                <a:lnTo>
                  <a:pt x="4" y="19"/>
                </a:lnTo>
                <a:lnTo>
                  <a:pt x="5" y="16"/>
                </a:lnTo>
                <a:lnTo>
                  <a:pt x="5" y="14"/>
                </a:lnTo>
                <a:lnTo>
                  <a:pt x="4" y="12"/>
                </a:lnTo>
                <a:lnTo>
                  <a:pt x="3" y="9"/>
                </a:lnTo>
                <a:lnTo>
                  <a:pt x="2" y="7"/>
                </a:lnTo>
                <a:lnTo>
                  <a:pt x="0" y="4"/>
                </a:lnTo>
                <a:lnTo>
                  <a:pt x="0" y="2"/>
                </a:lnTo>
                <a:lnTo>
                  <a:pt x="0" y="0"/>
                </a:lnTo>
                <a:lnTo>
                  <a:pt x="16" y="0"/>
                </a:lnTo>
                <a:lnTo>
                  <a:pt x="14" y="1"/>
                </a:lnTo>
                <a:lnTo>
                  <a:pt x="13" y="3"/>
                </a:lnTo>
                <a:lnTo>
                  <a:pt x="12" y="5"/>
                </a:lnTo>
                <a:lnTo>
                  <a:pt x="12" y="7"/>
                </a:lnTo>
                <a:lnTo>
                  <a:pt x="12" y="9"/>
                </a:lnTo>
                <a:lnTo>
                  <a:pt x="13" y="10"/>
                </a:lnTo>
                <a:lnTo>
                  <a:pt x="13" y="12"/>
                </a:lnTo>
                <a:lnTo>
                  <a:pt x="14" y="14"/>
                </a:lnTo>
                <a:lnTo>
                  <a:pt x="17" y="16"/>
                </a:lnTo>
                <a:lnTo>
                  <a:pt x="20" y="18"/>
                </a:lnTo>
                <a:lnTo>
                  <a:pt x="20" y="21"/>
                </a:lnTo>
                <a:lnTo>
                  <a:pt x="21" y="27"/>
                </a:lnTo>
                <a:lnTo>
                  <a:pt x="22" y="34"/>
                </a:lnTo>
                <a:lnTo>
                  <a:pt x="22" y="43"/>
                </a:lnTo>
                <a:lnTo>
                  <a:pt x="22" y="52"/>
                </a:lnTo>
                <a:lnTo>
                  <a:pt x="24" y="69"/>
                </a:lnTo>
                <a:lnTo>
                  <a:pt x="25" y="70"/>
                </a:lnTo>
                <a:lnTo>
                  <a:pt x="25" y="71"/>
                </a:lnTo>
                <a:lnTo>
                  <a:pt x="26" y="71"/>
                </a:lnTo>
                <a:lnTo>
                  <a:pt x="16" y="75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8" name="Freeform 47">
            <a:extLst>
              <a:ext uri="{FF2B5EF4-FFF2-40B4-BE49-F238E27FC236}">
                <a16:creationId xmlns:a16="http://schemas.microsoft.com/office/drawing/2014/main" id="{DA86A733-0BE7-2F5C-5645-5F344EEA2309}"/>
              </a:ext>
            </a:extLst>
          </p:cNvPr>
          <p:cNvSpPr>
            <a:spLocks/>
          </p:cNvSpPr>
          <p:nvPr/>
        </p:nvSpPr>
        <p:spPr bwMode="auto">
          <a:xfrm>
            <a:off x="6163638" y="4492471"/>
            <a:ext cx="85725" cy="169863"/>
          </a:xfrm>
          <a:custGeom>
            <a:avLst/>
            <a:gdLst>
              <a:gd name="T0" fmla="*/ 13 w 42"/>
              <a:gd name="T1" fmla="*/ 90 h 91"/>
              <a:gd name="T2" fmla="*/ 20 w 42"/>
              <a:gd name="T3" fmla="*/ 88 h 91"/>
              <a:gd name="T4" fmla="*/ 28 w 42"/>
              <a:gd name="T5" fmla="*/ 86 h 91"/>
              <a:gd name="T6" fmla="*/ 27 w 42"/>
              <a:gd name="T7" fmla="*/ 49 h 91"/>
              <a:gd name="T8" fmla="*/ 36 w 42"/>
              <a:gd name="T9" fmla="*/ 38 h 91"/>
              <a:gd name="T10" fmla="*/ 37 w 42"/>
              <a:gd name="T11" fmla="*/ 35 h 91"/>
              <a:gd name="T12" fmla="*/ 39 w 42"/>
              <a:gd name="T13" fmla="*/ 31 h 91"/>
              <a:gd name="T14" fmla="*/ 40 w 42"/>
              <a:gd name="T15" fmla="*/ 27 h 91"/>
              <a:gd name="T16" fmla="*/ 41 w 42"/>
              <a:gd name="T17" fmla="*/ 24 h 91"/>
              <a:gd name="T18" fmla="*/ 41 w 42"/>
              <a:gd name="T19" fmla="*/ 19 h 91"/>
              <a:gd name="T20" fmla="*/ 40 w 42"/>
              <a:gd name="T21" fmla="*/ 15 h 91"/>
              <a:gd name="T22" fmla="*/ 37 w 42"/>
              <a:gd name="T23" fmla="*/ 11 h 91"/>
              <a:gd name="T24" fmla="*/ 36 w 42"/>
              <a:gd name="T25" fmla="*/ 9 h 91"/>
              <a:gd name="T26" fmla="*/ 30 w 42"/>
              <a:gd name="T27" fmla="*/ 4 h 91"/>
              <a:gd name="T28" fmla="*/ 28 w 42"/>
              <a:gd name="T29" fmla="*/ 2 h 91"/>
              <a:gd name="T30" fmla="*/ 27 w 42"/>
              <a:gd name="T31" fmla="*/ 0 h 91"/>
              <a:gd name="T32" fmla="*/ 22 w 42"/>
              <a:gd name="T33" fmla="*/ 0 h 91"/>
              <a:gd name="T34" fmla="*/ 19 w 42"/>
              <a:gd name="T35" fmla="*/ 1 h 91"/>
              <a:gd name="T36" fmla="*/ 18 w 42"/>
              <a:gd name="T37" fmla="*/ 1 h 91"/>
              <a:gd name="T38" fmla="*/ 19 w 42"/>
              <a:gd name="T39" fmla="*/ 0 h 91"/>
              <a:gd name="T40" fmla="*/ 19 w 42"/>
              <a:gd name="T41" fmla="*/ 4 h 91"/>
              <a:gd name="T42" fmla="*/ 19 w 42"/>
              <a:gd name="T43" fmla="*/ 6 h 91"/>
              <a:gd name="T44" fmla="*/ 18 w 42"/>
              <a:gd name="T45" fmla="*/ 8 h 91"/>
              <a:gd name="T46" fmla="*/ 17 w 42"/>
              <a:gd name="T47" fmla="*/ 9 h 91"/>
              <a:gd name="T48" fmla="*/ 14 w 42"/>
              <a:gd name="T49" fmla="*/ 10 h 91"/>
              <a:gd name="T50" fmla="*/ 10 w 42"/>
              <a:gd name="T51" fmla="*/ 11 h 91"/>
              <a:gd name="T52" fmla="*/ 5 w 42"/>
              <a:gd name="T53" fmla="*/ 13 h 91"/>
              <a:gd name="T54" fmla="*/ 3 w 42"/>
              <a:gd name="T55" fmla="*/ 15 h 91"/>
              <a:gd name="T56" fmla="*/ 3 w 42"/>
              <a:gd name="T57" fmla="*/ 16 h 91"/>
              <a:gd name="T58" fmla="*/ 3 w 42"/>
              <a:gd name="T59" fmla="*/ 18 h 91"/>
              <a:gd name="T60" fmla="*/ 2 w 42"/>
              <a:gd name="T61" fmla="*/ 19 h 91"/>
              <a:gd name="T62" fmla="*/ 0 w 42"/>
              <a:gd name="T63" fmla="*/ 22 h 91"/>
              <a:gd name="T64" fmla="*/ 0 w 42"/>
              <a:gd name="T65" fmla="*/ 23 h 91"/>
              <a:gd name="T66" fmla="*/ 0 w 42"/>
              <a:gd name="T67" fmla="*/ 25 h 91"/>
              <a:gd name="T68" fmla="*/ 0 w 42"/>
              <a:gd name="T69" fmla="*/ 28 h 91"/>
              <a:gd name="T70" fmla="*/ 1 w 42"/>
              <a:gd name="T71" fmla="*/ 31 h 91"/>
              <a:gd name="T72" fmla="*/ 2 w 42"/>
              <a:gd name="T73" fmla="*/ 32 h 91"/>
              <a:gd name="T74" fmla="*/ 5 w 42"/>
              <a:gd name="T75" fmla="*/ 35 h 91"/>
              <a:gd name="T76" fmla="*/ 8 w 42"/>
              <a:gd name="T77" fmla="*/ 36 h 91"/>
              <a:gd name="T78" fmla="*/ 8 w 42"/>
              <a:gd name="T79" fmla="*/ 39 h 91"/>
              <a:gd name="T80" fmla="*/ 9 w 42"/>
              <a:gd name="T81" fmla="*/ 45 h 91"/>
              <a:gd name="T82" fmla="*/ 10 w 42"/>
              <a:gd name="T83" fmla="*/ 53 h 91"/>
              <a:gd name="T84" fmla="*/ 10 w 42"/>
              <a:gd name="T85" fmla="*/ 61 h 91"/>
              <a:gd name="T86" fmla="*/ 10 w 42"/>
              <a:gd name="T87" fmla="*/ 70 h 91"/>
              <a:gd name="T88" fmla="*/ 12 w 42"/>
              <a:gd name="T89" fmla="*/ 88 h 91"/>
              <a:gd name="T90" fmla="*/ 13 w 42"/>
              <a:gd name="T91" fmla="*/ 9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2" h="91">
                <a:moveTo>
                  <a:pt x="13" y="90"/>
                </a:moveTo>
                <a:lnTo>
                  <a:pt x="20" y="88"/>
                </a:lnTo>
                <a:lnTo>
                  <a:pt x="28" y="86"/>
                </a:lnTo>
                <a:lnTo>
                  <a:pt x="27" y="49"/>
                </a:lnTo>
                <a:lnTo>
                  <a:pt x="36" y="38"/>
                </a:lnTo>
                <a:lnTo>
                  <a:pt x="37" y="35"/>
                </a:lnTo>
                <a:lnTo>
                  <a:pt x="39" y="31"/>
                </a:lnTo>
                <a:lnTo>
                  <a:pt x="40" y="27"/>
                </a:lnTo>
                <a:lnTo>
                  <a:pt x="41" y="24"/>
                </a:lnTo>
                <a:lnTo>
                  <a:pt x="41" y="19"/>
                </a:lnTo>
                <a:lnTo>
                  <a:pt x="40" y="15"/>
                </a:lnTo>
                <a:lnTo>
                  <a:pt x="37" y="11"/>
                </a:lnTo>
                <a:lnTo>
                  <a:pt x="36" y="9"/>
                </a:lnTo>
                <a:lnTo>
                  <a:pt x="30" y="4"/>
                </a:lnTo>
                <a:lnTo>
                  <a:pt x="28" y="2"/>
                </a:lnTo>
                <a:lnTo>
                  <a:pt x="27" y="0"/>
                </a:lnTo>
                <a:lnTo>
                  <a:pt x="22" y="0"/>
                </a:lnTo>
                <a:lnTo>
                  <a:pt x="19" y="1"/>
                </a:lnTo>
                <a:lnTo>
                  <a:pt x="18" y="1"/>
                </a:lnTo>
                <a:lnTo>
                  <a:pt x="19" y="0"/>
                </a:lnTo>
                <a:lnTo>
                  <a:pt x="19" y="4"/>
                </a:lnTo>
                <a:lnTo>
                  <a:pt x="19" y="6"/>
                </a:lnTo>
                <a:lnTo>
                  <a:pt x="18" y="8"/>
                </a:lnTo>
                <a:lnTo>
                  <a:pt x="17" y="9"/>
                </a:lnTo>
                <a:lnTo>
                  <a:pt x="14" y="10"/>
                </a:lnTo>
                <a:lnTo>
                  <a:pt x="10" y="11"/>
                </a:lnTo>
                <a:lnTo>
                  <a:pt x="5" y="13"/>
                </a:lnTo>
                <a:lnTo>
                  <a:pt x="3" y="15"/>
                </a:lnTo>
                <a:lnTo>
                  <a:pt x="3" y="16"/>
                </a:lnTo>
                <a:lnTo>
                  <a:pt x="3" y="18"/>
                </a:lnTo>
                <a:lnTo>
                  <a:pt x="2" y="19"/>
                </a:lnTo>
                <a:lnTo>
                  <a:pt x="0" y="22"/>
                </a:lnTo>
                <a:lnTo>
                  <a:pt x="0" y="23"/>
                </a:lnTo>
                <a:lnTo>
                  <a:pt x="0" y="25"/>
                </a:lnTo>
                <a:lnTo>
                  <a:pt x="0" y="28"/>
                </a:lnTo>
                <a:lnTo>
                  <a:pt x="1" y="31"/>
                </a:lnTo>
                <a:lnTo>
                  <a:pt x="2" y="32"/>
                </a:lnTo>
                <a:lnTo>
                  <a:pt x="5" y="35"/>
                </a:lnTo>
                <a:lnTo>
                  <a:pt x="8" y="36"/>
                </a:lnTo>
                <a:lnTo>
                  <a:pt x="8" y="39"/>
                </a:lnTo>
                <a:lnTo>
                  <a:pt x="9" y="45"/>
                </a:lnTo>
                <a:lnTo>
                  <a:pt x="10" y="53"/>
                </a:lnTo>
                <a:lnTo>
                  <a:pt x="10" y="61"/>
                </a:lnTo>
                <a:lnTo>
                  <a:pt x="10" y="70"/>
                </a:lnTo>
                <a:lnTo>
                  <a:pt x="12" y="88"/>
                </a:lnTo>
                <a:lnTo>
                  <a:pt x="13" y="9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9" name="Freeform 48">
            <a:extLst>
              <a:ext uri="{FF2B5EF4-FFF2-40B4-BE49-F238E27FC236}">
                <a16:creationId xmlns:a16="http://schemas.microsoft.com/office/drawing/2014/main" id="{8F594EBC-8225-21D5-0C4D-BE8183D497C1}"/>
              </a:ext>
            </a:extLst>
          </p:cNvPr>
          <p:cNvSpPr>
            <a:spLocks/>
          </p:cNvSpPr>
          <p:nvPr/>
        </p:nvSpPr>
        <p:spPr bwMode="auto">
          <a:xfrm>
            <a:off x="6222375" y="4446434"/>
            <a:ext cx="342900" cy="269875"/>
          </a:xfrm>
          <a:custGeom>
            <a:avLst/>
            <a:gdLst>
              <a:gd name="T0" fmla="*/ 66 w 170"/>
              <a:gd name="T1" fmla="*/ 141 h 145"/>
              <a:gd name="T2" fmla="*/ 48 w 170"/>
              <a:gd name="T3" fmla="*/ 143 h 145"/>
              <a:gd name="T4" fmla="*/ 41 w 170"/>
              <a:gd name="T5" fmla="*/ 138 h 145"/>
              <a:gd name="T6" fmla="*/ 35 w 170"/>
              <a:gd name="T7" fmla="*/ 127 h 145"/>
              <a:gd name="T8" fmla="*/ 27 w 170"/>
              <a:gd name="T9" fmla="*/ 115 h 145"/>
              <a:gd name="T10" fmla="*/ 18 w 170"/>
              <a:gd name="T11" fmla="*/ 111 h 145"/>
              <a:gd name="T12" fmla="*/ 0 w 170"/>
              <a:gd name="T13" fmla="*/ 111 h 145"/>
              <a:gd name="T14" fmla="*/ 9 w 170"/>
              <a:gd name="T15" fmla="*/ 60 h 145"/>
              <a:gd name="T16" fmla="*/ 13 w 170"/>
              <a:gd name="T17" fmla="*/ 49 h 145"/>
              <a:gd name="T18" fmla="*/ 9 w 170"/>
              <a:gd name="T19" fmla="*/ 36 h 145"/>
              <a:gd name="T20" fmla="*/ 13 w 170"/>
              <a:gd name="T21" fmla="*/ 16 h 145"/>
              <a:gd name="T22" fmla="*/ 25 w 170"/>
              <a:gd name="T23" fmla="*/ 3 h 145"/>
              <a:gd name="T24" fmla="*/ 34 w 170"/>
              <a:gd name="T25" fmla="*/ 0 h 145"/>
              <a:gd name="T26" fmla="*/ 44 w 170"/>
              <a:gd name="T27" fmla="*/ 2 h 145"/>
              <a:gd name="T28" fmla="*/ 54 w 170"/>
              <a:gd name="T29" fmla="*/ 12 h 145"/>
              <a:gd name="T30" fmla="*/ 61 w 170"/>
              <a:gd name="T31" fmla="*/ 13 h 145"/>
              <a:gd name="T32" fmla="*/ 66 w 170"/>
              <a:gd name="T33" fmla="*/ 9 h 145"/>
              <a:gd name="T34" fmla="*/ 74 w 170"/>
              <a:gd name="T35" fmla="*/ 8 h 145"/>
              <a:gd name="T36" fmla="*/ 81 w 170"/>
              <a:gd name="T37" fmla="*/ 13 h 145"/>
              <a:gd name="T38" fmla="*/ 90 w 170"/>
              <a:gd name="T39" fmla="*/ 16 h 145"/>
              <a:gd name="T40" fmla="*/ 99 w 170"/>
              <a:gd name="T41" fmla="*/ 12 h 145"/>
              <a:gd name="T42" fmla="*/ 105 w 170"/>
              <a:gd name="T43" fmla="*/ 8 h 145"/>
              <a:gd name="T44" fmla="*/ 114 w 170"/>
              <a:gd name="T45" fmla="*/ 6 h 145"/>
              <a:gd name="T46" fmla="*/ 123 w 170"/>
              <a:gd name="T47" fmla="*/ 8 h 145"/>
              <a:gd name="T48" fmla="*/ 133 w 170"/>
              <a:gd name="T49" fmla="*/ 11 h 145"/>
              <a:gd name="T50" fmla="*/ 140 w 170"/>
              <a:gd name="T51" fmla="*/ 8 h 145"/>
              <a:gd name="T52" fmla="*/ 151 w 170"/>
              <a:gd name="T53" fmla="*/ 0 h 145"/>
              <a:gd name="T54" fmla="*/ 156 w 170"/>
              <a:gd name="T55" fmla="*/ 7 h 145"/>
              <a:gd name="T56" fmla="*/ 162 w 170"/>
              <a:gd name="T57" fmla="*/ 18 h 145"/>
              <a:gd name="T58" fmla="*/ 167 w 170"/>
              <a:gd name="T59" fmla="*/ 24 h 145"/>
              <a:gd name="T60" fmla="*/ 162 w 170"/>
              <a:gd name="T61" fmla="*/ 39 h 145"/>
              <a:gd name="T62" fmla="*/ 155 w 170"/>
              <a:gd name="T63" fmla="*/ 49 h 145"/>
              <a:gd name="T64" fmla="*/ 146 w 170"/>
              <a:gd name="T65" fmla="*/ 68 h 145"/>
              <a:gd name="T66" fmla="*/ 141 w 170"/>
              <a:gd name="T67" fmla="*/ 79 h 145"/>
              <a:gd name="T68" fmla="*/ 136 w 170"/>
              <a:gd name="T69" fmla="*/ 82 h 145"/>
              <a:gd name="T70" fmla="*/ 130 w 170"/>
              <a:gd name="T71" fmla="*/ 101 h 145"/>
              <a:gd name="T72" fmla="*/ 124 w 170"/>
              <a:gd name="T73" fmla="*/ 111 h 145"/>
              <a:gd name="T74" fmla="*/ 120 w 170"/>
              <a:gd name="T75" fmla="*/ 112 h 145"/>
              <a:gd name="T76" fmla="*/ 117 w 170"/>
              <a:gd name="T77" fmla="*/ 111 h 145"/>
              <a:gd name="T78" fmla="*/ 109 w 170"/>
              <a:gd name="T79" fmla="*/ 106 h 145"/>
              <a:gd name="T80" fmla="*/ 96 w 170"/>
              <a:gd name="T81" fmla="*/ 114 h 145"/>
              <a:gd name="T82" fmla="*/ 87 w 170"/>
              <a:gd name="T83" fmla="*/ 126 h 145"/>
              <a:gd name="T84" fmla="*/ 84 w 170"/>
              <a:gd name="T85" fmla="*/ 136 h 145"/>
              <a:gd name="T86" fmla="*/ 79 w 170"/>
              <a:gd name="T87" fmla="*/ 139 h 1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70" h="145">
                <a:moveTo>
                  <a:pt x="79" y="139"/>
                </a:moveTo>
                <a:lnTo>
                  <a:pt x="74" y="140"/>
                </a:lnTo>
                <a:lnTo>
                  <a:pt x="66" y="141"/>
                </a:lnTo>
                <a:lnTo>
                  <a:pt x="58" y="143"/>
                </a:lnTo>
                <a:lnTo>
                  <a:pt x="52" y="144"/>
                </a:lnTo>
                <a:lnTo>
                  <a:pt x="48" y="143"/>
                </a:lnTo>
                <a:lnTo>
                  <a:pt x="45" y="142"/>
                </a:lnTo>
                <a:lnTo>
                  <a:pt x="43" y="141"/>
                </a:lnTo>
                <a:lnTo>
                  <a:pt x="41" y="138"/>
                </a:lnTo>
                <a:lnTo>
                  <a:pt x="39" y="136"/>
                </a:lnTo>
                <a:lnTo>
                  <a:pt x="38" y="133"/>
                </a:lnTo>
                <a:lnTo>
                  <a:pt x="35" y="127"/>
                </a:lnTo>
                <a:lnTo>
                  <a:pt x="31" y="121"/>
                </a:lnTo>
                <a:lnTo>
                  <a:pt x="29" y="118"/>
                </a:lnTo>
                <a:lnTo>
                  <a:pt x="27" y="115"/>
                </a:lnTo>
                <a:lnTo>
                  <a:pt x="25" y="114"/>
                </a:lnTo>
                <a:lnTo>
                  <a:pt x="22" y="111"/>
                </a:lnTo>
                <a:lnTo>
                  <a:pt x="18" y="111"/>
                </a:lnTo>
                <a:lnTo>
                  <a:pt x="13" y="111"/>
                </a:lnTo>
                <a:lnTo>
                  <a:pt x="7" y="111"/>
                </a:lnTo>
                <a:lnTo>
                  <a:pt x="0" y="111"/>
                </a:lnTo>
                <a:lnTo>
                  <a:pt x="0" y="75"/>
                </a:lnTo>
                <a:lnTo>
                  <a:pt x="8" y="63"/>
                </a:lnTo>
                <a:lnTo>
                  <a:pt x="9" y="60"/>
                </a:lnTo>
                <a:lnTo>
                  <a:pt x="11" y="56"/>
                </a:lnTo>
                <a:lnTo>
                  <a:pt x="12" y="52"/>
                </a:lnTo>
                <a:lnTo>
                  <a:pt x="13" y="49"/>
                </a:lnTo>
                <a:lnTo>
                  <a:pt x="13" y="44"/>
                </a:lnTo>
                <a:lnTo>
                  <a:pt x="12" y="40"/>
                </a:lnTo>
                <a:lnTo>
                  <a:pt x="9" y="36"/>
                </a:lnTo>
                <a:lnTo>
                  <a:pt x="8" y="34"/>
                </a:lnTo>
                <a:lnTo>
                  <a:pt x="11" y="22"/>
                </a:lnTo>
                <a:lnTo>
                  <a:pt x="13" y="16"/>
                </a:lnTo>
                <a:lnTo>
                  <a:pt x="16" y="11"/>
                </a:lnTo>
                <a:lnTo>
                  <a:pt x="20" y="6"/>
                </a:lnTo>
                <a:lnTo>
                  <a:pt x="25" y="3"/>
                </a:lnTo>
                <a:lnTo>
                  <a:pt x="27" y="2"/>
                </a:lnTo>
                <a:lnTo>
                  <a:pt x="30" y="0"/>
                </a:lnTo>
                <a:lnTo>
                  <a:pt x="34" y="0"/>
                </a:lnTo>
                <a:lnTo>
                  <a:pt x="38" y="0"/>
                </a:lnTo>
                <a:lnTo>
                  <a:pt x="41" y="0"/>
                </a:lnTo>
                <a:lnTo>
                  <a:pt x="44" y="2"/>
                </a:lnTo>
                <a:lnTo>
                  <a:pt x="47" y="4"/>
                </a:lnTo>
                <a:lnTo>
                  <a:pt x="49" y="7"/>
                </a:lnTo>
                <a:lnTo>
                  <a:pt x="54" y="12"/>
                </a:lnTo>
                <a:lnTo>
                  <a:pt x="56" y="13"/>
                </a:lnTo>
                <a:lnTo>
                  <a:pt x="58" y="13"/>
                </a:lnTo>
                <a:lnTo>
                  <a:pt x="61" y="13"/>
                </a:lnTo>
                <a:lnTo>
                  <a:pt x="62" y="13"/>
                </a:lnTo>
                <a:lnTo>
                  <a:pt x="65" y="11"/>
                </a:lnTo>
                <a:lnTo>
                  <a:pt x="66" y="9"/>
                </a:lnTo>
                <a:lnTo>
                  <a:pt x="68" y="8"/>
                </a:lnTo>
                <a:lnTo>
                  <a:pt x="70" y="8"/>
                </a:lnTo>
                <a:lnTo>
                  <a:pt x="74" y="8"/>
                </a:lnTo>
                <a:lnTo>
                  <a:pt x="75" y="9"/>
                </a:lnTo>
                <a:lnTo>
                  <a:pt x="79" y="12"/>
                </a:lnTo>
                <a:lnTo>
                  <a:pt x="81" y="13"/>
                </a:lnTo>
                <a:lnTo>
                  <a:pt x="84" y="13"/>
                </a:lnTo>
                <a:lnTo>
                  <a:pt x="87" y="14"/>
                </a:lnTo>
                <a:lnTo>
                  <a:pt x="90" y="16"/>
                </a:lnTo>
                <a:lnTo>
                  <a:pt x="94" y="14"/>
                </a:lnTo>
                <a:lnTo>
                  <a:pt x="97" y="13"/>
                </a:lnTo>
                <a:lnTo>
                  <a:pt x="99" y="12"/>
                </a:lnTo>
                <a:lnTo>
                  <a:pt x="101" y="11"/>
                </a:lnTo>
                <a:lnTo>
                  <a:pt x="104" y="9"/>
                </a:lnTo>
                <a:lnTo>
                  <a:pt x="105" y="8"/>
                </a:lnTo>
                <a:lnTo>
                  <a:pt x="107" y="7"/>
                </a:lnTo>
                <a:lnTo>
                  <a:pt x="110" y="6"/>
                </a:lnTo>
                <a:lnTo>
                  <a:pt x="114" y="6"/>
                </a:lnTo>
                <a:lnTo>
                  <a:pt x="117" y="6"/>
                </a:lnTo>
                <a:lnTo>
                  <a:pt x="119" y="6"/>
                </a:lnTo>
                <a:lnTo>
                  <a:pt x="123" y="8"/>
                </a:lnTo>
                <a:lnTo>
                  <a:pt x="126" y="9"/>
                </a:lnTo>
                <a:lnTo>
                  <a:pt x="129" y="9"/>
                </a:lnTo>
                <a:lnTo>
                  <a:pt x="133" y="11"/>
                </a:lnTo>
                <a:lnTo>
                  <a:pt x="136" y="9"/>
                </a:lnTo>
                <a:lnTo>
                  <a:pt x="138" y="9"/>
                </a:lnTo>
                <a:lnTo>
                  <a:pt x="140" y="8"/>
                </a:lnTo>
                <a:lnTo>
                  <a:pt x="143" y="7"/>
                </a:lnTo>
                <a:lnTo>
                  <a:pt x="146" y="3"/>
                </a:lnTo>
                <a:lnTo>
                  <a:pt x="151" y="0"/>
                </a:lnTo>
                <a:lnTo>
                  <a:pt x="153" y="3"/>
                </a:lnTo>
                <a:lnTo>
                  <a:pt x="155" y="5"/>
                </a:lnTo>
                <a:lnTo>
                  <a:pt x="156" y="7"/>
                </a:lnTo>
                <a:lnTo>
                  <a:pt x="158" y="9"/>
                </a:lnTo>
                <a:lnTo>
                  <a:pt x="160" y="13"/>
                </a:lnTo>
                <a:lnTo>
                  <a:pt x="162" y="18"/>
                </a:lnTo>
                <a:lnTo>
                  <a:pt x="163" y="20"/>
                </a:lnTo>
                <a:lnTo>
                  <a:pt x="165" y="22"/>
                </a:lnTo>
                <a:lnTo>
                  <a:pt x="167" y="24"/>
                </a:lnTo>
                <a:lnTo>
                  <a:pt x="169" y="25"/>
                </a:lnTo>
                <a:lnTo>
                  <a:pt x="167" y="39"/>
                </a:lnTo>
                <a:lnTo>
                  <a:pt x="162" y="39"/>
                </a:lnTo>
                <a:lnTo>
                  <a:pt x="159" y="39"/>
                </a:lnTo>
                <a:lnTo>
                  <a:pt x="156" y="45"/>
                </a:lnTo>
                <a:lnTo>
                  <a:pt x="155" y="49"/>
                </a:lnTo>
                <a:lnTo>
                  <a:pt x="153" y="55"/>
                </a:lnTo>
                <a:lnTo>
                  <a:pt x="151" y="60"/>
                </a:lnTo>
                <a:lnTo>
                  <a:pt x="146" y="68"/>
                </a:lnTo>
                <a:lnTo>
                  <a:pt x="143" y="78"/>
                </a:lnTo>
                <a:lnTo>
                  <a:pt x="142" y="78"/>
                </a:lnTo>
                <a:lnTo>
                  <a:pt x="141" y="79"/>
                </a:lnTo>
                <a:lnTo>
                  <a:pt x="139" y="81"/>
                </a:lnTo>
                <a:lnTo>
                  <a:pt x="137" y="81"/>
                </a:lnTo>
                <a:lnTo>
                  <a:pt x="136" y="82"/>
                </a:lnTo>
                <a:lnTo>
                  <a:pt x="136" y="83"/>
                </a:lnTo>
                <a:lnTo>
                  <a:pt x="133" y="90"/>
                </a:lnTo>
                <a:lnTo>
                  <a:pt x="130" y="101"/>
                </a:lnTo>
                <a:lnTo>
                  <a:pt x="128" y="105"/>
                </a:lnTo>
                <a:lnTo>
                  <a:pt x="126" y="109"/>
                </a:lnTo>
                <a:lnTo>
                  <a:pt x="124" y="111"/>
                </a:lnTo>
                <a:lnTo>
                  <a:pt x="123" y="111"/>
                </a:lnTo>
                <a:lnTo>
                  <a:pt x="121" y="112"/>
                </a:lnTo>
                <a:lnTo>
                  <a:pt x="120" y="112"/>
                </a:lnTo>
                <a:lnTo>
                  <a:pt x="119" y="112"/>
                </a:lnTo>
                <a:lnTo>
                  <a:pt x="118" y="111"/>
                </a:lnTo>
                <a:lnTo>
                  <a:pt x="117" y="111"/>
                </a:lnTo>
                <a:lnTo>
                  <a:pt x="116" y="110"/>
                </a:lnTo>
                <a:lnTo>
                  <a:pt x="114" y="104"/>
                </a:lnTo>
                <a:lnTo>
                  <a:pt x="109" y="106"/>
                </a:lnTo>
                <a:lnTo>
                  <a:pt x="103" y="108"/>
                </a:lnTo>
                <a:lnTo>
                  <a:pt x="98" y="111"/>
                </a:lnTo>
                <a:lnTo>
                  <a:pt x="96" y="114"/>
                </a:lnTo>
                <a:lnTo>
                  <a:pt x="94" y="115"/>
                </a:lnTo>
                <a:lnTo>
                  <a:pt x="89" y="121"/>
                </a:lnTo>
                <a:lnTo>
                  <a:pt x="87" y="126"/>
                </a:lnTo>
                <a:lnTo>
                  <a:pt x="85" y="129"/>
                </a:lnTo>
                <a:lnTo>
                  <a:pt x="84" y="132"/>
                </a:lnTo>
                <a:lnTo>
                  <a:pt x="84" y="136"/>
                </a:lnTo>
                <a:lnTo>
                  <a:pt x="84" y="139"/>
                </a:lnTo>
                <a:lnTo>
                  <a:pt x="83" y="139"/>
                </a:lnTo>
                <a:lnTo>
                  <a:pt x="79" y="139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0" name="Freeform 49">
            <a:extLst>
              <a:ext uri="{FF2B5EF4-FFF2-40B4-BE49-F238E27FC236}">
                <a16:creationId xmlns:a16="http://schemas.microsoft.com/office/drawing/2014/main" id="{68599FC8-18A7-D3C6-6F9C-D41242CFBD52}"/>
              </a:ext>
            </a:extLst>
          </p:cNvPr>
          <p:cNvSpPr>
            <a:spLocks/>
          </p:cNvSpPr>
          <p:nvPr/>
        </p:nvSpPr>
        <p:spPr bwMode="auto">
          <a:xfrm>
            <a:off x="6389063" y="4462309"/>
            <a:ext cx="225425" cy="327025"/>
          </a:xfrm>
          <a:custGeom>
            <a:avLst/>
            <a:gdLst>
              <a:gd name="T0" fmla="*/ 1 w 111"/>
              <a:gd name="T1" fmla="*/ 123 h 175"/>
              <a:gd name="T2" fmla="*/ 6 w 111"/>
              <a:gd name="T3" fmla="*/ 111 h 175"/>
              <a:gd name="T4" fmla="*/ 10 w 111"/>
              <a:gd name="T5" fmla="*/ 106 h 175"/>
              <a:gd name="T6" fmla="*/ 15 w 111"/>
              <a:gd name="T7" fmla="*/ 102 h 175"/>
              <a:gd name="T8" fmla="*/ 23 w 111"/>
              <a:gd name="T9" fmla="*/ 98 h 175"/>
              <a:gd name="T10" fmla="*/ 31 w 111"/>
              <a:gd name="T11" fmla="*/ 95 h 175"/>
              <a:gd name="T12" fmla="*/ 35 w 111"/>
              <a:gd name="T13" fmla="*/ 102 h 175"/>
              <a:gd name="T14" fmla="*/ 38 w 111"/>
              <a:gd name="T15" fmla="*/ 103 h 175"/>
              <a:gd name="T16" fmla="*/ 43 w 111"/>
              <a:gd name="T17" fmla="*/ 100 h 175"/>
              <a:gd name="T18" fmla="*/ 45 w 111"/>
              <a:gd name="T19" fmla="*/ 96 h 175"/>
              <a:gd name="T20" fmla="*/ 50 w 111"/>
              <a:gd name="T21" fmla="*/ 81 h 175"/>
              <a:gd name="T22" fmla="*/ 53 w 111"/>
              <a:gd name="T23" fmla="*/ 73 h 175"/>
              <a:gd name="T24" fmla="*/ 56 w 111"/>
              <a:gd name="T25" fmla="*/ 72 h 175"/>
              <a:gd name="T26" fmla="*/ 59 w 111"/>
              <a:gd name="T27" fmla="*/ 69 h 175"/>
              <a:gd name="T28" fmla="*/ 63 w 111"/>
              <a:gd name="T29" fmla="*/ 59 h 175"/>
              <a:gd name="T30" fmla="*/ 70 w 111"/>
              <a:gd name="T31" fmla="*/ 46 h 175"/>
              <a:gd name="T32" fmla="*/ 73 w 111"/>
              <a:gd name="T33" fmla="*/ 36 h 175"/>
              <a:gd name="T34" fmla="*/ 80 w 111"/>
              <a:gd name="T35" fmla="*/ 30 h 175"/>
              <a:gd name="T36" fmla="*/ 86 w 111"/>
              <a:gd name="T37" fmla="*/ 16 h 175"/>
              <a:gd name="T38" fmla="*/ 80 w 111"/>
              <a:gd name="T39" fmla="*/ 11 h 175"/>
              <a:gd name="T40" fmla="*/ 77 w 111"/>
              <a:gd name="T41" fmla="*/ 4 h 175"/>
              <a:gd name="T42" fmla="*/ 77 w 111"/>
              <a:gd name="T43" fmla="*/ 0 h 175"/>
              <a:gd name="T44" fmla="*/ 81 w 111"/>
              <a:gd name="T45" fmla="*/ 0 h 175"/>
              <a:gd name="T46" fmla="*/ 84 w 111"/>
              <a:gd name="T47" fmla="*/ 5 h 175"/>
              <a:gd name="T48" fmla="*/ 91 w 111"/>
              <a:gd name="T49" fmla="*/ 16 h 175"/>
              <a:gd name="T50" fmla="*/ 93 w 111"/>
              <a:gd name="T51" fmla="*/ 20 h 175"/>
              <a:gd name="T52" fmla="*/ 93 w 111"/>
              <a:gd name="T53" fmla="*/ 36 h 175"/>
              <a:gd name="T54" fmla="*/ 95 w 111"/>
              <a:gd name="T55" fmla="*/ 43 h 175"/>
              <a:gd name="T56" fmla="*/ 94 w 111"/>
              <a:gd name="T57" fmla="*/ 49 h 175"/>
              <a:gd name="T58" fmla="*/ 82 w 111"/>
              <a:gd name="T59" fmla="*/ 51 h 175"/>
              <a:gd name="T60" fmla="*/ 76 w 111"/>
              <a:gd name="T61" fmla="*/ 52 h 175"/>
              <a:gd name="T62" fmla="*/ 76 w 111"/>
              <a:gd name="T63" fmla="*/ 54 h 175"/>
              <a:gd name="T64" fmla="*/ 88 w 111"/>
              <a:gd name="T65" fmla="*/ 63 h 175"/>
              <a:gd name="T66" fmla="*/ 96 w 111"/>
              <a:gd name="T67" fmla="*/ 74 h 175"/>
              <a:gd name="T68" fmla="*/ 100 w 111"/>
              <a:gd name="T69" fmla="*/ 84 h 175"/>
              <a:gd name="T70" fmla="*/ 100 w 111"/>
              <a:gd name="T71" fmla="*/ 88 h 175"/>
              <a:gd name="T72" fmla="*/ 94 w 111"/>
              <a:gd name="T73" fmla="*/ 93 h 175"/>
              <a:gd name="T74" fmla="*/ 89 w 111"/>
              <a:gd name="T75" fmla="*/ 101 h 175"/>
              <a:gd name="T76" fmla="*/ 86 w 111"/>
              <a:gd name="T77" fmla="*/ 108 h 175"/>
              <a:gd name="T78" fmla="*/ 85 w 111"/>
              <a:gd name="T79" fmla="*/ 115 h 175"/>
              <a:gd name="T80" fmla="*/ 88 w 111"/>
              <a:gd name="T81" fmla="*/ 127 h 175"/>
              <a:gd name="T82" fmla="*/ 94 w 111"/>
              <a:gd name="T83" fmla="*/ 139 h 175"/>
              <a:gd name="T84" fmla="*/ 103 w 111"/>
              <a:gd name="T85" fmla="*/ 151 h 175"/>
              <a:gd name="T86" fmla="*/ 110 w 111"/>
              <a:gd name="T87" fmla="*/ 163 h 175"/>
              <a:gd name="T88" fmla="*/ 105 w 111"/>
              <a:gd name="T89" fmla="*/ 174 h 175"/>
              <a:gd name="T90" fmla="*/ 96 w 111"/>
              <a:gd name="T91" fmla="*/ 172 h 175"/>
              <a:gd name="T92" fmla="*/ 90 w 111"/>
              <a:gd name="T93" fmla="*/ 170 h 175"/>
              <a:gd name="T94" fmla="*/ 68 w 111"/>
              <a:gd name="T95" fmla="*/ 169 h 175"/>
              <a:gd name="T96" fmla="*/ 38 w 111"/>
              <a:gd name="T97" fmla="*/ 167 h 175"/>
              <a:gd name="T98" fmla="*/ 17 w 111"/>
              <a:gd name="T99" fmla="*/ 169 h 175"/>
              <a:gd name="T100" fmla="*/ 18 w 111"/>
              <a:gd name="T101" fmla="*/ 166 h 175"/>
              <a:gd name="T102" fmla="*/ 18 w 111"/>
              <a:gd name="T103" fmla="*/ 160 h 175"/>
              <a:gd name="T104" fmla="*/ 16 w 111"/>
              <a:gd name="T105" fmla="*/ 151 h 175"/>
              <a:gd name="T106" fmla="*/ 16 w 111"/>
              <a:gd name="T107" fmla="*/ 145 h 175"/>
              <a:gd name="T108" fmla="*/ 18 w 111"/>
              <a:gd name="T109" fmla="*/ 139 h 175"/>
              <a:gd name="T110" fmla="*/ 11 w 111"/>
              <a:gd name="T111" fmla="*/ 138 h 175"/>
              <a:gd name="T112" fmla="*/ 6 w 111"/>
              <a:gd name="T113" fmla="*/ 136 h 175"/>
              <a:gd name="T114" fmla="*/ 0 w 111"/>
              <a:gd name="T115" fmla="*/ 131 h 175"/>
              <a:gd name="T116" fmla="*/ 0 w 111"/>
              <a:gd name="T117" fmla="*/ 131 h 1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1" h="175">
                <a:moveTo>
                  <a:pt x="0" y="130"/>
                </a:moveTo>
                <a:lnTo>
                  <a:pt x="1" y="123"/>
                </a:lnTo>
                <a:lnTo>
                  <a:pt x="3" y="117"/>
                </a:lnTo>
                <a:lnTo>
                  <a:pt x="6" y="111"/>
                </a:lnTo>
                <a:lnTo>
                  <a:pt x="8" y="109"/>
                </a:lnTo>
                <a:lnTo>
                  <a:pt x="10" y="106"/>
                </a:lnTo>
                <a:lnTo>
                  <a:pt x="13" y="105"/>
                </a:lnTo>
                <a:lnTo>
                  <a:pt x="15" y="102"/>
                </a:lnTo>
                <a:lnTo>
                  <a:pt x="20" y="98"/>
                </a:lnTo>
                <a:lnTo>
                  <a:pt x="23" y="98"/>
                </a:lnTo>
                <a:lnTo>
                  <a:pt x="26" y="97"/>
                </a:lnTo>
                <a:lnTo>
                  <a:pt x="31" y="95"/>
                </a:lnTo>
                <a:lnTo>
                  <a:pt x="33" y="101"/>
                </a:lnTo>
                <a:lnTo>
                  <a:pt x="35" y="102"/>
                </a:lnTo>
                <a:lnTo>
                  <a:pt x="36" y="103"/>
                </a:lnTo>
                <a:lnTo>
                  <a:pt x="38" y="103"/>
                </a:lnTo>
                <a:lnTo>
                  <a:pt x="40" y="102"/>
                </a:lnTo>
                <a:lnTo>
                  <a:pt x="43" y="100"/>
                </a:lnTo>
                <a:lnTo>
                  <a:pt x="44" y="98"/>
                </a:lnTo>
                <a:lnTo>
                  <a:pt x="45" y="96"/>
                </a:lnTo>
                <a:lnTo>
                  <a:pt x="46" y="91"/>
                </a:lnTo>
                <a:lnTo>
                  <a:pt x="50" y="81"/>
                </a:lnTo>
                <a:lnTo>
                  <a:pt x="53" y="74"/>
                </a:lnTo>
                <a:lnTo>
                  <a:pt x="53" y="73"/>
                </a:lnTo>
                <a:lnTo>
                  <a:pt x="54" y="72"/>
                </a:lnTo>
                <a:lnTo>
                  <a:pt x="56" y="72"/>
                </a:lnTo>
                <a:lnTo>
                  <a:pt x="58" y="70"/>
                </a:lnTo>
                <a:lnTo>
                  <a:pt x="59" y="69"/>
                </a:lnTo>
                <a:lnTo>
                  <a:pt x="60" y="68"/>
                </a:lnTo>
                <a:lnTo>
                  <a:pt x="63" y="59"/>
                </a:lnTo>
                <a:lnTo>
                  <a:pt x="68" y="51"/>
                </a:lnTo>
                <a:lnTo>
                  <a:pt x="70" y="46"/>
                </a:lnTo>
                <a:lnTo>
                  <a:pt x="72" y="40"/>
                </a:lnTo>
                <a:lnTo>
                  <a:pt x="73" y="36"/>
                </a:lnTo>
                <a:lnTo>
                  <a:pt x="76" y="29"/>
                </a:lnTo>
                <a:lnTo>
                  <a:pt x="80" y="30"/>
                </a:lnTo>
                <a:lnTo>
                  <a:pt x="84" y="29"/>
                </a:lnTo>
                <a:lnTo>
                  <a:pt x="86" y="16"/>
                </a:lnTo>
                <a:lnTo>
                  <a:pt x="82" y="13"/>
                </a:lnTo>
                <a:lnTo>
                  <a:pt x="80" y="11"/>
                </a:lnTo>
                <a:lnTo>
                  <a:pt x="80" y="9"/>
                </a:lnTo>
                <a:lnTo>
                  <a:pt x="77" y="4"/>
                </a:lnTo>
                <a:lnTo>
                  <a:pt x="75" y="0"/>
                </a:lnTo>
                <a:lnTo>
                  <a:pt x="77" y="0"/>
                </a:lnTo>
                <a:lnTo>
                  <a:pt x="78" y="0"/>
                </a:lnTo>
                <a:lnTo>
                  <a:pt x="81" y="0"/>
                </a:lnTo>
                <a:lnTo>
                  <a:pt x="83" y="3"/>
                </a:lnTo>
                <a:lnTo>
                  <a:pt x="84" y="5"/>
                </a:lnTo>
                <a:lnTo>
                  <a:pt x="89" y="11"/>
                </a:lnTo>
                <a:lnTo>
                  <a:pt x="91" y="16"/>
                </a:lnTo>
                <a:lnTo>
                  <a:pt x="93" y="17"/>
                </a:lnTo>
                <a:lnTo>
                  <a:pt x="93" y="20"/>
                </a:lnTo>
                <a:lnTo>
                  <a:pt x="93" y="26"/>
                </a:lnTo>
                <a:lnTo>
                  <a:pt x="93" y="36"/>
                </a:lnTo>
                <a:lnTo>
                  <a:pt x="93" y="39"/>
                </a:lnTo>
                <a:lnTo>
                  <a:pt x="95" y="43"/>
                </a:lnTo>
                <a:lnTo>
                  <a:pt x="100" y="49"/>
                </a:lnTo>
                <a:lnTo>
                  <a:pt x="94" y="49"/>
                </a:lnTo>
                <a:lnTo>
                  <a:pt x="86" y="49"/>
                </a:lnTo>
                <a:lnTo>
                  <a:pt x="82" y="51"/>
                </a:lnTo>
                <a:lnTo>
                  <a:pt x="80" y="51"/>
                </a:lnTo>
                <a:lnTo>
                  <a:pt x="76" y="52"/>
                </a:lnTo>
                <a:lnTo>
                  <a:pt x="76" y="53"/>
                </a:lnTo>
                <a:lnTo>
                  <a:pt x="76" y="54"/>
                </a:lnTo>
                <a:lnTo>
                  <a:pt x="80" y="57"/>
                </a:lnTo>
                <a:lnTo>
                  <a:pt x="88" y="63"/>
                </a:lnTo>
                <a:lnTo>
                  <a:pt x="93" y="68"/>
                </a:lnTo>
                <a:lnTo>
                  <a:pt x="96" y="74"/>
                </a:lnTo>
                <a:lnTo>
                  <a:pt x="100" y="80"/>
                </a:lnTo>
                <a:lnTo>
                  <a:pt x="100" y="84"/>
                </a:lnTo>
                <a:lnTo>
                  <a:pt x="102" y="88"/>
                </a:lnTo>
                <a:lnTo>
                  <a:pt x="100" y="88"/>
                </a:lnTo>
                <a:lnTo>
                  <a:pt x="97" y="90"/>
                </a:lnTo>
                <a:lnTo>
                  <a:pt x="94" y="93"/>
                </a:lnTo>
                <a:lnTo>
                  <a:pt x="91" y="97"/>
                </a:lnTo>
                <a:lnTo>
                  <a:pt x="89" y="101"/>
                </a:lnTo>
                <a:lnTo>
                  <a:pt x="86" y="105"/>
                </a:lnTo>
                <a:lnTo>
                  <a:pt x="86" y="108"/>
                </a:lnTo>
                <a:lnTo>
                  <a:pt x="85" y="111"/>
                </a:lnTo>
                <a:lnTo>
                  <a:pt x="85" y="115"/>
                </a:lnTo>
                <a:lnTo>
                  <a:pt x="86" y="120"/>
                </a:lnTo>
                <a:lnTo>
                  <a:pt x="88" y="127"/>
                </a:lnTo>
                <a:lnTo>
                  <a:pt x="90" y="133"/>
                </a:lnTo>
                <a:lnTo>
                  <a:pt x="94" y="139"/>
                </a:lnTo>
                <a:lnTo>
                  <a:pt x="98" y="145"/>
                </a:lnTo>
                <a:lnTo>
                  <a:pt x="103" y="151"/>
                </a:lnTo>
                <a:lnTo>
                  <a:pt x="106" y="156"/>
                </a:lnTo>
                <a:lnTo>
                  <a:pt x="110" y="163"/>
                </a:lnTo>
                <a:lnTo>
                  <a:pt x="110" y="174"/>
                </a:lnTo>
                <a:lnTo>
                  <a:pt x="105" y="174"/>
                </a:lnTo>
                <a:lnTo>
                  <a:pt x="100" y="173"/>
                </a:lnTo>
                <a:lnTo>
                  <a:pt x="96" y="172"/>
                </a:lnTo>
                <a:lnTo>
                  <a:pt x="93" y="170"/>
                </a:lnTo>
                <a:lnTo>
                  <a:pt x="90" y="170"/>
                </a:lnTo>
                <a:lnTo>
                  <a:pt x="90" y="169"/>
                </a:lnTo>
                <a:lnTo>
                  <a:pt x="68" y="169"/>
                </a:lnTo>
                <a:lnTo>
                  <a:pt x="68" y="167"/>
                </a:lnTo>
                <a:lnTo>
                  <a:pt x="38" y="167"/>
                </a:lnTo>
                <a:lnTo>
                  <a:pt x="38" y="169"/>
                </a:lnTo>
                <a:lnTo>
                  <a:pt x="17" y="169"/>
                </a:lnTo>
                <a:lnTo>
                  <a:pt x="17" y="168"/>
                </a:lnTo>
                <a:lnTo>
                  <a:pt x="18" y="166"/>
                </a:lnTo>
                <a:lnTo>
                  <a:pt x="18" y="164"/>
                </a:lnTo>
                <a:lnTo>
                  <a:pt x="18" y="160"/>
                </a:lnTo>
                <a:lnTo>
                  <a:pt x="17" y="157"/>
                </a:lnTo>
                <a:lnTo>
                  <a:pt x="16" y="151"/>
                </a:lnTo>
                <a:lnTo>
                  <a:pt x="15" y="147"/>
                </a:lnTo>
                <a:lnTo>
                  <a:pt x="16" y="145"/>
                </a:lnTo>
                <a:lnTo>
                  <a:pt x="16" y="142"/>
                </a:lnTo>
                <a:lnTo>
                  <a:pt x="18" y="139"/>
                </a:lnTo>
                <a:lnTo>
                  <a:pt x="14" y="139"/>
                </a:lnTo>
                <a:lnTo>
                  <a:pt x="11" y="138"/>
                </a:lnTo>
                <a:lnTo>
                  <a:pt x="9" y="137"/>
                </a:lnTo>
                <a:lnTo>
                  <a:pt x="6" y="136"/>
                </a:lnTo>
                <a:lnTo>
                  <a:pt x="4" y="133"/>
                </a:lnTo>
                <a:lnTo>
                  <a:pt x="0" y="131"/>
                </a:lnTo>
                <a:lnTo>
                  <a:pt x="0" y="130"/>
                </a:lnTo>
                <a:lnTo>
                  <a:pt x="0" y="131"/>
                </a:lnTo>
                <a:lnTo>
                  <a:pt x="0" y="13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1" name="Freeform 50">
            <a:extLst>
              <a:ext uri="{FF2B5EF4-FFF2-40B4-BE49-F238E27FC236}">
                <a16:creationId xmlns:a16="http://schemas.microsoft.com/office/drawing/2014/main" id="{D319EDB9-0942-D763-036B-2D74CA6CDB5C}"/>
              </a:ext>
            </a:extLst>
          </p:cNvPr>
          <p:cNvSpPr>
            <a:spLocks/>
          </p:cNvSpPr>
          <p:nvPr/>
        </p:nvSpPr>
        <p:spPr bwMode="auto">
          <a:xfrm>
            <a:off x="6417638" y="4775046"/>
            <a:ext cx="55563" cy="41275"/>
          </a:xfrm>
          <a:custGeom>
            <a:avLst/>
            <a:gdLst>
              <a:gd name="T0" fmla="*/ 26 w 27"/>
              <a:gd name="T1" fmla="*/ 20 h 22"/>
              <a:gd name="T2" fmla="*/ 16 w 27"/>
              <a:gd name="T3" fmla="*/ 21 h 22"/>
              <a:gd name="T4" fmla="*/ 13 w 27"/>
              <a:gd name="T5" fmla="*/ 20 h 22"/>
              <a:gd name="T6" fmla="*/ 9 w 27"/>
              <a:gd name="T7" fmla="*/ 19 h 22"/>
              <a:gd name="T8" fmla="*/ 7 w 27"/>
              <a:gd name="T9" fmla="*/ 19 h 22"/>
              <a:gd name="T10" fmla="*/ 5 w 27"/>
              <a:gd name="T11" fmla="*/ 19 h 22"/>
              <a:gd name="T12" fmla="*/ 0 w 27"/>
              <a:gd name="T13" fmla="*/ 18 h 22"/>
              <a:gd name="T14" fmla="*/ 2 w 27"/>
              <a:gd name="T15" fmla="*/ 9 h 22"/>
              <a:gd name="T16" fmla="*/ 3 w 27"/>
              <a:gd name="T17" fmla="*/ 5 h 22"/>
              <a:gd name="T18" fmla="*/ 4 w 27"/>
              <a:gd name="T19" fmla="*/ 1 h 22"/>
              <a:gd name="T20" fmla="*/ 24 w 27"/>
              <a:gd name="T21" fmla="*/ 1 h 22"/>
              <a:gd name="T22" fmla="*/ 24 w 27"/>
              <a:gd name="T23" fmla="*/ 0 h 22"/>
              <a:gd name="T24" fmla="*/ 26 w 27"/>
              <a:gd name="T25" fmla="*/ 20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7" h="22">
                <a:moveTo>
                  <a:pt x="26" y="20"/>
                </a:moveTo>
                <a:lnTo>
                  <a:pt x="16" y="21"/>
                </a:lnTo>
                <a:lnTo>
                  <a:pt x="13" y="20"/>
                </a:lnTo>
                <a:lnTo>
                  <a:pt x="9" y="19"/>
                </a:lnTo>
                <a:lnTo>
                  <a:pt x="7" y="19"/>
                </a:lnTo>
                <a:lnTo>
                  <a:pt x="5" y="19"/>
                </a:lnTo>
                <a:lnTo>
                  <a:pt x="0" y="18"/>
                </a:lnTo>
                <a:lnTo>
                  <a:pt x="2" y="9"/>
                </a:lnTo>
                <a:lnTo>
                  <a:pt x="3" y="5"/>
                </a:lnTo>
                <a:lnTo>
                  <a:pt x="4" y="1"/>
                </a:lnTo>
                <a:lnTo>
                  <a:pt x="24" y="1"/>
                </a:lnTo>
                <a:lnTo>
                  <a:pt x="24" y="0"/>
                </a:lnTo>
                <a:lnTo>
                  <a:pt x="26" y="2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2" name="Freeform 51">
            <a:extLst>
              <a:ext uri="{FF2B5EF4-FFF2-40B4-BE49-F238E27FC236}">
                <a16:creationId xmlns:a16="http://schemas.microsoft.com/office/drawing/2014/main" id="{46B1006E-F9E4-F0DF-6C62-F30EE9D8C82C}"/>
              </a:ext>
            </a:extLst>
          </p:cNvPr>
          <p:cNvSpPr>
            <a:spLocks/>
          </p:cNvSpPr>
          <p:nvPr/>
        </p:nvSpPr>
        <p:spPr bwMode="auto">
          <a:xfrm>
            <a:off x="6401763" y="4775046"/>
            <a:ext cx="161925" cy="171450"/>
          </a:xfrm>
          <a:custGeom>
            <a:avLst/>
            <a:gdLst>
              <a:gd name="T0" fmla="*/ 33 w 80"/>
              <a:gd name="T1" fmla="*/ 20 h 92"/>
              <a:gd name="T2" fmla="*/ 32 w 80"/>
              <a:gd name="T3" fmla="*/ 13 h 92"/>
              <a:gd name="T4" fmla="*/ 33 w 80"/>
              <a:gd name="T5" fmla="*/ 19 h 92"/>
              <a:gd name="T6" fmla="*/ 20 w 80"/>
              <a:gd name="T7" fmla="*/ 19 h 92"/>
              <a:gd name="T8" fmla="*/ 15 w 80"/>
              <a:gd name="T9" fmla="*/ 18 h 92"/>
              <a:gd name="T10" fmla="*/ 7 w 80"/>
              <a:gd name="T11" fmla="*/ 17 h 92"/>
              <a:gd name="T12" fmla="*/ 0 w 80"/>
              <a:gd name="T13" fmla="*/ 41 h 92"/>
              <a:gd name="T14" fmla="*/ 0 w 80"/>
              <a:gd name="T15" fmla="*/ 51 h 92"/>
              <a:gd name="T16" fmla="*/ 2 w 80"/>
              <a:gd name="T17" fmla="*/ 59 h 92"/>
              <a:gd name="T18" fmla="*/ 5 w 80"/>
              <a:gd name="T19" fmla="*/ 64 h 92"/>
              <a:gd name="T20" fmla="*/ 13 w 80"/>
              <a:gd name="T21" fmla="*/ 72 h 92"/>
              <a:gd name="T22" fmla="*/ 29 w 80"/>
              <a:gd name="T23" fmla="*/ 86 h 92"/>
              <a:gd name="T24" fmla="*/ 35 w 80"/>
              <a:gd name="T25" fmla="*/ 91 h 92"/>
              <a:gd name="T26" fmla="*/ 38 w 80"/>
              <a:gd name="T27" fmla="*/ 90 h 92"/>
              <a:gd name="T28" fmla="*/ 39 w 80"/>
              <a:gd name="T29" fmla="*/ 86 h 92"/>
              <a:gd name="T30" fmla="*/ 39 w 80"/>
              <a:gd name="T31" fmla="*/ 81 h 92"/>
              <a:gd name="T32" fmla="*/ 37 w 80"/>
              <a:gd name="T33" fmla="*/ 77 h 92"/>
              <a:gd name="T34" fmla="*/ 38 w 80"/>
              <a:gd name="T35" fmla="*/ 73 h 92"/>
              <a:gd name="T36" fmla="*/ 40 w 80"/>
              <a:gd name="T37" fmla="*/ 71 h 92"/>
              <a:gd name="T38" fmla="*/ 49 w 80"/>
              <a:gd name="T39" fmla="*/ 69 h 92"/>
              <a:gd name="T40" fmla="*/ 49 w 80"/>
              <a:gd name="T41" fmla="*/ 65 h 92"/>
              <a:gd name="T42" fmla="*/ 52 w 80"/>
              <a:gd name="T43" fmla="*/ 61 h 92"/>
              <a:gd name="T44" fmla="*/ 55 w 80"/>
              <a:gd name="T45" fmla="*/ 64 h 92"/>
              <a:gd name="T46" fmla="*/ 59 w 80"/>
              <a:gd name="T47" fmla="*/ 70 h 92"/>
              <a:gd name="T48" fmla="*/ 62 w 80"/>
              <a:gd name="T49" fmla="*/ 71 h 92"/>
              <a:gd name="T50" fmla="*/ 69 w 80"/>
              <a:gd name="T51" fmla="*/ 69 h 92"/>
              <a:gd name="T52" fmla="*/ 73 w 80"/>
              <a:gd name="T53" fmla="*/ 71 h 92"/>
              <a:gd name="T54" fmla="*/ 75 w 80"/>
              <a:gd name="T55" fmla="*/ 69 h 92"/>
              <a:gd name="T56" fmla="*/ 78 w 80"/>
              <a:gd name="T57" fmla="*/ 59 h 92"/>
              <a:gd name="T58" fmla="*/ 75 w 80"/>
              <a:gd name="T59" fmla="*/ 41 h 92"/>
              <a:gd name="T60" fmla="*/ 73 w 80"/>
              <a:gd name="T61" fmla="*/ 40 h 92"/>
              <a:gd name="T62" fmla="*/ 71 w 80"/>
              <a:gd name="T63" fmla="*/ 37 h 92"/>
              <a:gd name="T64" fmla="*/ 70 w 80"/>
              <a:gd name="T65" fmla="*/ 31 h 92"/>
              <a:gd name="T66" fmla="*/ 72 w 80"/>
              <a:gd name="T67" fmla="*/ 27 h 92"/>
              <a:gd name="T68" fmla="*/ 75 w 80"/>
              <a:gd name="T69" fmla="*/ 25 h 92"/>
              <a:gd name="T70" fmla="*/ 78 w 80"/>
              <a:gd name="T71" fmla="*/ 22 h 92"/>
              <a:gd name="T72" fmla="*/ 78 w 80"/>
              <a:gd name="T73" fmla="*/ 18 h 92"/>
              <a:gd name="T74" fmla="*/ 75 w 80"/>
              <a:gd name="T75" fmla="*/ 15 h 92"/>
              <a:gd name="T76" fmla="*/ 70 w 80"/>
              <a:gd name="T77" fmla="*/ 13 h 92"/>
              <a:gd name="T78" fmla="*/ 61 w 80"/>
              <a:gd name="T79" fmla="*/ 13 h 92"/>
              <a:gd name="T80" fmla="*/ 32 w 80"/>
              <a:gd name="T81" fmla="*/ 0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0" h="92">
                <a:moveTo>
                  <a:pt x="32" y="20"/>
                </a:moveTo>
                <a:lnTo>
                  <a:pt x="33" y="20"/>
                </a:lnTo>
                <a:lnTo>
                  <a:pt x="32" y="17"/>
                </a:lnTo>
                <a:lnTo>
                  <a:pt x="32" y="13"/>
                </a:lnTo>
                <a:lnTo>
                  <a:pt x="32" y="0"/>
                </a:lnTo>
                <a:lnTo>
                  <a:pt x="33" y="19"/>
                </a:lnTo>
                <a:lnTo>
                  <a:pt x="24" y="20"/>
                </a:lnTo>
                <a:lnTo>
                  <a:pt x="20" y="19"/>
                </a:lnTo>
                <a:lnTo>
                  <a:pt x="16" y="18"/>
                </a:lnTo>
                <a:lnTo>
                  <a:pt x="15" y="18"/>
                </a:lnTo>
                <a:lnTo>
                  <a:pt x="13" y="18"/>
                </a:lnTo>
                <a:lnTo>
                  <a:pt x="7" y="17"/>
                </a:lnTo>
                <a:lnTo>
                  <a:pt x="3" y="33"/>
                </a:lnTo>
                <a:lnTo>
                  <a:pt x="0" y="41"/>
                </a:lnTo>
                <a:lnTo>
                  <a:pt x="0" y="47"/>
                </a:lnTo>
                <a:lnTo>
                  <a:pt x="0" y="51"/>
                </a:lnTo>
                <a:lnTo>
                  <a:pt x="0" y="55"/>
                </a:lnTo>
                <a:lnTo>
                  <a:pt x="2" y="59"/>
                </a:lnTo>
                <a:lnTo>
                  <a:pt x="3" y="61"/>
                </a:lnTo>
                <a:lnTo>
                  <a:pt x="5" y="64"/>
                </a:lnTo>
                <a:lnTo>
                  <a:pt x="7" y="67"/>
                </a:lnTo>
                <a:lnTo>
                  <a:pt x="13" y="72"/>
                </a:lnTo>
                <a:lnTo>
                  <a:pt x="24" y="81"/>
                </a:lnTo>
                <a:lnTo>
                  <a:pt x="29" y="86"/>
                </a:lnTo>
                <a:lnTo>
                  <a:pt x="32" y="87"/>
                </a:lnTo>
                <a:lnTo>
                  <a:pt x="35" y="91"/>
                </a:lnTo>
                <a:lnTo>
                  <a:pt x="36" y="91"/>
                </a:lnTo>
                <a:lnTo>
                  <a:pt x="38" y="90"/>
                </a:lnTo>
                <a:lnTo>
                  <a:pt x="39" y="87"/>
                </a:lnTo>
                <a:lnTo>
                  <a:pt x="39" y="86"/>
                </a:lnTo>
                <a:lnTo>
                  <a:pt x="39" y="83"/>
                </a:lnTo>
                <a:lnTo>
                  <a:pt x="39" y="81"/>
                </a:lnTo>
                <a:lnTo>
                  <a:pt x="38" y="80"/>
                </a:lnTo>
                <a:lnTo>
                  <a:pt x="37" y="77"/>
                </a:lnTo>
                <a:lnTo>
                  <a:pt x="38" y="74"/>
                </a:lnTo>
                <a:lnTo>
                  <a:pt x="38" y="73"/>
                </a:lnTo>
                <a:lnTo>
                  <a:pt x="39" y="72"/>
                </a:lnTo>
                <a:lnTo>
                  <a:pt x="40" y="71"/>
                </a:lnTo>
                <a:lnTo>
                  <a:pt x="44" y="70"/>
                </a:lnTo>
                <a:lnTo>
                  <a:pt x="49" y="69"/>
                </a:lnTo>
                <a:lnTo>
                  <a:pt x="49" y="67"/>
                </a:lnTo>
                <a:lnTo>
                  <a:pt x="49" y="65"/>
                </a:lnTo>
                <a:lnTo>
                  <a:pt x="51" y="64"/>
                </a:lnTo>
                <a:lnTo>
                  <a:pt x="52" y="61"/>
                </a:lnTo>
                <a:lnTo>
                  <a:pt x="53" y="64"/>
                </a:lnTo>
                <a:lnTo>
                  <a:pt x="55" y="64"/>
                </a:lnTo>
                <a:lnTo>
                  <a:pt x="57" y="68"/>
                </a:lnTo>
                <a:lnTo>
                  <a:pt x="59" y="70"/>
                </a:lnTo>
                <a:lnTo>
                  <a:pt x="61" y="71"/>
                </a:lnTo>
                <a:lnTo>
                  <a:pt x="62" y="71"/>
                </a:lnTo>
                <a:lnTo>
                  <a:pt x="65" y="71"/>
                </a:lnTo>
                <a:lnTo>
                  <a:pt x="69" y="69"/>
                </a:lnTo>
                <a:lnTo>
                  <a:pt x="71" y="70"/>
                </a:lnTo>
                <a:lnTo>
                  <a:pt x="73" y="71"/>
                </a:lnTo>
                <a:lnTo>
                  <a:pt x="74" y="70"/>
                </a:lnTo>
                <a:lnTo>
                  <a:pt x="75" y="69"/>
                </a:lnTo>
                <a:lnTo>
                  <a:pt x="76" y="65"/>
                </a:lnTo>
                <a:lnTo>
                  <a:pt x="78" y="59"/>
                </a:lnTo>
                <a:lnTo>
                  <a:pt x="78" y="41"/>
                </a:lnTo>
                <a:lnTo>
                  <a:pt x="75" y="41"/>
                </a:lnTo>
                <a:lnTo>
                  <a:pt x="75" y="40"/>
                </a:lnTo>
                <a:lnTo>
                  <a:pt x="73" y="40"/>
                </a:lnTo>
                <a:lnTo>
                  <a:pt x="72" y="38"/>
                </a:lnTo>
                <a:lnTo>
                  <a:pt x="71" y="37"/>
                </a:lnTo>
                <a:lnTo>
                  <a:pt x="71" y="34"/>
                </a:lnTo>
                <a:lnTo>
                  <a:pt x="70" y="31"/>
                </a:lnTo>
                <a:lnTo>
                  <a:pt x="71" y="29"/>
                </a:lnTo>
                <a:lnTo>
                  <a:pt x="72" y="27"/>
                </a:lnTo>
                <a:lnTo>
                  <a:pt x="73" y="26"/>
                </a:lnTo>
                <a:lnTo>
                  <a:pt x="75" y="25"/>
                </a:lnTo>
                <a:lnTo>
                  <a:pt x="76" y="23"/>
                </a:lnTo>
                <a:lnTo>
                  <a:pt x="78" y="22"/>
                </a:lnTo>
                <a:lnTo>
                  <a:pt x="79" y="20"/>
                </a:lnTo>
                <a:lnTo>
                  <a:pt x="78" y="18"/>
                </a:lnTo>
                <a:lnTo>
                  <a:pt x="76" y="16"/>
                </a:lnTo>
                <a:lnTo>
                  <a:pt x="75" y="15"/>
                </a:lnTo>
                <a:lnTo>
                  <a:pt x="73" y="13"/>
                </a:lnTo>
                <a:lnTo>
                  <a:pt x="70" y="13"/>
                </a:lnTo>
                <a:lnTo>
                  <a:pt x="67" y="13"/>
                </a:lnTo>
                <a:lnTo>
                  <a:pt x="61" y="13"/>
                </a:lnTo>
                <a:lnTo>
                  <a:pt x="62" y="0"/>
                </a:lnTo>
                <a:lnTo>
                  <a:pt x="32" y="0"/>
                </a:lnTo>
                <a:lnTo>
                  <a:pt x="32" y="2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3" name="Freeform 52">
            <a:extLst>
              <a:ext uri="{FF2B5EF4-FFF2-40B4-BE49-F238E27FC236}">
                <a16:creationId xmlns:a16="http://schemas.microsoft.com/office/drawing/2014/main" id="{39B6C23B-83EC-DCFE-366B-9A86F097DE1A}"/>
              </a:ext>
            </a:extLst>
          </p:cNvPr>
          <p:cNvSpPr>
            <a:spLocks/>
          </p:cNvSpPr>
          <p:nvPr/>
        </p:nvSpPr>
        <p:spPr bwMode="auto">
          <a:xfrm>
            <a:off x="6490663" y="4970309"/>
            <a:ext cx="34925" cy="30163"/>
          </a:xfrm>
          <a:custGeom>
            <a:avLst/>
            <a:gdLst>
              <a:gd name="T0" fmla="*/ 6 w 17"/>
              <a:gd name="T1" fmla="*/ 16 h 17"/>
              <a:gd name="T2" fmla="*/ 0 w 17"/>
              <a:gd name="T3" fmla="*/ 5 h 17"/>
              <a:gd name="T4" fmla="*/ 2 w 17"/>
              <a:gd name="T5" fmla="*/ 4 h 17"/>
              <a:gd name="T6" fmla="*/ 5 w 17"/>
              <a:gd name="T7" fmla="*/ 1 h 17"/>
              <a:gd name="T8" fmla="*/ 9 w 17"/>
              <a:gd name="T9" fmla="*/ 0 h 17"/>
              <a:gd name="T10" fmla="*/ 12 w 17"/>
              <a:gd name="T11" fmla="*/ 0 h 17"/>
              <a:gd name="T12" fmla="*/ 14 w 17"/>
              <a:gd name="T13" fmla="*/ 0 h 17"/>
              <a:gd name="T14" fmla="*/ 15 w 17"/>
              <a:gd name="T15" fmla="*/ 0 h 17"/>
              <a:gd name="T16" fmla="*/ 16 w 17"/>
              <a:gd name="T17" fmla="*/ 2 h 17"/>
              <a:gd name="T18" fmla="*/ 14 w 17"/>
              <a:gd name="T19" fmla="*/ 4 h 17"/>
              <a:gd name="T20" fmla="*/ 11 w 17"/>
              <a:gd name="T21" fmla="*/ 5 h 17"/>
              <a:gd name="T22" fmla="*/ 10 w 17"/>
              <a:gd name="T23" fmla="*/ 5 h 17"/>
              <a:gd name="T24" fmla="*/ 9 w 17"/>
              <a:gd name="T25" fmla="*/ 7 h 17"/>
              <a:gd name="T26" fmla="*/ 8 w 17"/>
              <a:gd name="T27" fmla="*/ 9 h 17"/>
              <a:gd name="T28" fmla="*/ 8 w 17"/>
              <a:gd name="T29" fmla="*/ 10 h 17"/>
              <a:gd name="T30" fmla="*/ 6 w 17"/>
              <a:gd name="T31" fmla="*/ 14 h 17"/>
              <a:gd name="T32" fmla="*/ 6 w 17"/>
              <a:gd name="T33" fmla="*/ 16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7" h="17">
                <a:moveTo>
                  <a:pt x="6" y="16"/>
                </a:moveTo>
                <a:lnTo>
                  <a:pt x="0" y="5"/>
                </a:lnTo>
                <a:lnTo>
                  <a:pt x="2" y="4"/>
                </a:lnTo>
                <a:lnTo>
                  <a:pt x="5" y="1"/>
                </a:lnTo>
                <a:lnTo>
                  <a:pt x="9" y="0"/>
                </a:lnTo>
                <a:lnTo>
                  <a:pt x="12" y="0"/>
                </a:lnTo>
                <a:lnTo>
                  <a:pt x="14" y="0"/>
                </a:lnTo>
                <a:lnTo>
                  <a:pt x="15" y="0"/>
                </a:lnTo>
                <a:lnTo>
                  <a:pt x="16" y="2"/>
                </a:lnTo>
                <a:lnTo>
                  <a:pt x="14" y="4"/>
                </a:lnTo>
                <a:lnTo>
                  <a:pt x="11" y="5"/>
                </a:lnTo>
                <a:lnTo>
                  <a:pt x="10" y="5"/>
                </a:lnTo>
                <a:lnTo>
                  <a:pt x="9" y="7"/>
                </a:lnTo>
                <a:lnTo>
                  <a:pt x="8" y="9"/>
                </a:lnTo>
                <a:lnTo>
                  <a:pt x="8" y="10"/>
                </a:lnTo>
                <a:lnTo>
                  <a:pt x="6" y="14"/>
                </a:lnTo>
                <a:lnTo>
                  <a:pt x="6" y="16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4" name="Freeform 53">
            <a:extLst>
              <a:ext uri="{FF2B5EF4-FFF2-40B4-BE49-F238E27FC236}">
                <a16:creationId xmlns:a16="http://schemas.microsoft.com/office/drawing/2014/main" id="{E2ABC7BB-5C65-261C-09AC-7BE66213FBA3}"/>
              </a:ext>
            </a:extLst>
          </p:cNvPr>
          <p:cNvSpPr>
            <a:spLocks/>
          </p:cNvSpPr>
          <p:nvPr/>
        </p:nvSpPr>
        <p:spPr bwMode="auto">
          <a:xfrm>
            <a:off x="6474788" y="4740121"/>
            <a:ext cx="206375" cy="241300"/>
          </a:xfrm>
          <a:custGeom>
            <a:avLst/>
            <a:gdLst>
              <a:gd name="T0" fmla="*/ 21 w 102"/>
              <a:gd name="T1" fmla="*/ 123 h 130"/>
              <a:gd name="T2" fmla="*/ 16 w 102"/>
              <a:gd name="T3" fmla="*/ 122 h 130"/>
              <a:gd name="T4" fmla="*/ 9 w 102"/>
              <a:gd name="T5" fmla="*/ 129 h 130"/>
              <a:gd name="T6" fmla="*/ 0 w 102"/>
              <a:gd name="T7" fmla="*/ 110 h 130"/>
              <a:gd name="T8" fmla="*/ 4 w 102"/>
              <a:gd name="T9" fmla="*/ 105 h 130"/>
              <a:gd name="T10" fmla="*/ 3 w 102"/>
              <a:gd name="T11" fmla="*/ 100 h 130"/>
              <a:gd name="T12" fmla="*/ 3 w 102"/>
              <a:gd name="T13" fmla="*/ 92 h 130"/>
              <a:gd name="T14" fmla="*/ 9 w 102"/>
              <a:gd name="T15" fmla="*/ 89 h 130"/>
              <a:gd name="T16" fmla="*/ 14 w 102"/>
              <a:gd name="T17" fmla="*/ 85 h 130"/>
              <a:gd name="T18" fmla="*/ 18 w 102"/>
              <a:gd name="T19" fmla="*/ 83 h 130"/>
              <a:gd name="T20" fmla="*/ 24 w 102"/>
              <a:gd name="T21" fmla="*/ 89 h 130"/>
              <a:gd name="T22" fmla="*/ 29 w 102"/>
              <a:gd name="T23" fmla="*/ 91 h 130"/>
              <a:gd name="T24" fmla="*/ 35 w 102"/>
              <a:gd name="T25" fmla="*/ 89 h 130"/>
              <a:gd name="T26" fmla="*/ 39 w 102"/>
              <a:gd name="T27" fmla="*/ 89 h 130"/>
              <a:gd name="T28" fmla="*/ 42 w 102"/>
              <a:gd name="T29" fmla="*/ 61 h 130"/>
              <a:gd name="T30" fmla="*/ 37 w 102"/>
              <a:gd name="T31" fmla="*/ 59 h 130"/>
              <a:gd name="T32" fmla="*/ 35 w 102"/>
              <a:gd name="T33" fmla="*/ 54 h 130"/>
              <a:gd name="T34" fmla="*/ 36 w 102"/>
              <a:gd name="T35" fmla="*/ 47 h 130"/>
              <a:gd name="T36" fmla="*/ 40 w 102"/>
              <a:gd name="T37" fmla="*/ 43 h 130"/>
              <a:gd name="T38" fmla="*/ 42 w 102"/>
              <a:gd name="T39" fmla="*/ 38 h 130"/>
              <a:gd name="T40" fmla="*/ 37 w 102"/>
              <a:gd name="T41" fmla="*/ 33 h 130"/>
              <a:gd name="T42" fmla="*/ 25 w 102"/>
              <a:gd name="T43" fmla="*/ 33 h 130"/>
              <a:gd name="T44" fmla="*/ 48 w 102"/>
              <a:gd name="T45" fmla="*/ 22 h 130"/>
              <a:gd name="T46" fmla="*/ 58 w 102"/>
              <a:gd name="T47" fmla="*/ 25 h 130"/>
              <a:gd name="T48" fmla="*/ 67 w 102"/>
              <a:gd name="T49" fmla="*/ 15 h 130"/>
              <a:gd name="T50" fmla="*/ 74 w 102"/>
              <a:gd name="T51" fmla="*/ 3 h 130"/>
              <a:gd name="T52" fmla="*/ 83 w 102"/>
              <a:gd name="T53" fmla="*/ 0 h 130"/>
              <a:gd name="T54" fmla="*/ 98 w 102"/>
              <a:gd name="T55" fmla="*/ 2 h 130"/>
              <a:gd name="T56" fmla="*/ 101 w 102"/>
              <a:gd name="T57" fmla="*/ 6 h 130"/>
              <a:gd name="T58" fmla="*/ 95 w 102"/>
              <a:gd name="T59" fmla="*/ 29 h 130"/>
              <a:gd name="T60" fmla="*/ 86 w 102"/>
              <a:gd name="T61" fmla="*/ 56 h 130"/>
              <a:gd name="T62" fmla="*/ 86 w 102"/>
              <a:gd name="T63" fmla="*/ 64 h 130"/>
              <a:gd name="T64" fmla="*/ 82 w 102"/>
              <a:gd name="T65" fmla="*/ 67 h 130"/>
              <a:gd name="T66" fmla="*/ 76 w 102"/>
              <a:gd name="T67" fmla="*/ 72 h 130"/>
              <a:gd name="T68" fmla="*/ 72 w 102"/>
              <a:gd name="T69" fmla="*/ 81 h 130"/>
              <a:gd name="T70" fmla="*/ 68 w 102"/>
              <a:gd name="T71" fmla="*/ 88 h 130"/>
              <a:gd name="T72" fmla="*/ 64 w 102"/>
              <a:gd name="T73" fmla="*/ 95 h 130"/>
              <a:gd name="T74" fmla="*/ 61 w 102"/>
              <a:gd name="T75" fmla="*/ 112 h 130"/>
              <a:gd name="T76" fmla="*/ 55 w 102"/>
              <a:gd name="T77" fmla="*/ 122 h 130"/>
              <a:gd name="T78" fmla="*/ 48 w 102"/>
              <a:gd name="T79" fmla="*/ 125 h 130"/>
              <a:gd name="T80" fmla="*/ 43 w 102"/>
              <a:gd name="T81" fmla="*/ 125 h 130"/>
              <a:gd name="T82" fmla="*/ 42 w 102"/>
              <a:gd name="T83" fmla="*/ 123 h 130"/>
              <a:gd name="T84" fmla="*/ 37 w 102"/>
              <a:gd name="T85" fmla="*/ 121 h 130"/>
              <a:gd name="T86" fmla="*/ 33 w 102"/>
              <a:gd name="T87" fmla="*/ 123 h 130"/>
              <a:gd name="T88" fmla="*/ 27 w 102"/>
              <a:gd name="T89" fmla="*/ 127 h 130"/>
              <a:gd name="T90" fmla="*/ 21 w 102"/>
              <a:gd name="T91" fmla="*/ 125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02" h="130">
                <a:moveTo>
                  <a:pt x="21" y="125"/>
                </a:moveTo>
                <a:lnTo>
                  <a:pt x="21" y="125"/>
                </a:lnTo>
                <a:lnTo>
                  <a:pt x="21" y="123"/>
                </a:lnTo>
                <a:lnTo>
                  <a:pt x="20" y="122"/>
                </a:lnTo>
                <a:lnTo>
                  <a:pt x="18" y="122"/>
                </a:lnTo>
                <a:lnTo>
                  <a:pt x="16" y="122"/>
                </a:lnTo>
                <a:lnTo>
                  <a:pt x="13" y="124"/>
                </a:lnTo>
                <a:lnTo>
                  <a:pt x="11" y="127"/>
                </a:lnTo>
                <a:lnTo>
                  <a:pt x="9" y="129"/>
                </a:lnTo>
                <a:lnTo>
                  <a:pt x="5" y="119"/>
                </a:lnTo>
                <a:lnTo>
                  <a:pt x="2" y="114"/>
                </a:lnTo>
                <a:lnTo>
                  <a:pt x="0" y="110"/>
                </a:lnTo>
                <a:lnTo>
                  <a:pt x="3" y="109"/>
                </a:lnTo>
                <a:lnTo>
                  <a:pt x="4" y="107"/>
                </a:lnTo>
                <a:lnTo>
                  <a:pt x="4" y="105"/>
                </a:lnTo>
                <a:lnTo>
                  <a:pt x="4" y="102"/>
                </a:lnTo>
                <a:lnTo>
                  <a:pt x="3" y="101"/>
                </a:lnTo>
                <a:lnTo>
                  <a:pt x="3" y="100"/>
                </a:lnTo>
                <a:lnTo>
                  <a:pt x="2" y="97"/>
                </a:lnTo>
                <a:lnTo>
                  <a:pt x="3" y="94"/>
                </a:lnTo>
                <a:lnTo>
                  <a:pt x="3" y="92"/>
                </a:lnTo>
                <a:lnTo>
                  <a:pt x="4" y="92"/>
                </a:lnTo>
                <a:lnTo>
                  <a:pt x="5" y="91"/>
                </a:lnTo>
                <a:lnTo>
                  <a:pt x="9" y="89"/>
                </a:lnTo>
                <a:lnTo>
                  <a:pt x="13" y="89"/>
                </a:lnTo>
                <a:lnTo>
                  <a:pt x="13" y="87"/>
                </a:lnTo>
                <a:lnTo>
                  <a:pt x="14" y="85"/>
                </a:lnTo>
                <a:lnTo>
                  <a:pt x="15" y="83"/>
                </a:lnTo>
                <a:lnTo>
                  <a:pt x="17" y="81"/>
                </a:lnTo>
                <a:lnTo>
                  <a:pt x="18" y="83"/>
                </a:lnTo>
                <a:lnTo>
                  <a:pt x="20" y="84"/>
                </a:lnTo>
                <a:lnTo>
                  <a:pt x="21" y="88"/>
                </a:lnTo>
                <a:lnTo>
                  <a:pt x="24" y="89"/>
                </a:lnTo>
                <a:lnTo>
                  <a:pt x="25" y="91"/>
                </a:lnTo>
                <a:lnTo>
                  <a:pt x="27" y="91"/>
                </a:lnTo>
                <a:lnTo>
                  <a:pt x="29" y="91"/>
                </a:lnTo>
                <a:lnTo>
                  <a:pt x="30" y="91"/>
                </a:lnTo>
                <a:lnTo>
                  <a:pt x="33" y="89"/>
                </a:lnTo>
                <a:lnTo>
                  <a:pt x="35" y="89"/>
                </a:lnTo>
                <a:lnTo>
                  <a:pt x="37" y="91"/>
                </a:lnTo>
                <a:lnTo>
                  <a:pt x="38" y="89"/>
                </a:lnTo>
                <a:lnTo>
                  <a:pt x="39" y="89"/>
                </a:lnTo>
                <a:lnTo>
                  <a:pt x="40" y="85"/>
                </a:lnTo>
                <a:lnTo>
                  <a:pt x="42" y="79"/>
                </a:lnTo>
                <a:lnTo>
                  <a:pt x="42" y="61"/>
                </a:lnTo>
                <a:lnTo>
                  <a:pt x="39" y="61"/>
                </a:lnTo>
                <a:lnTo>
                  <a:pt x="39" y="60"/>
                </a:lnTo>
                <a:lnTo>
                  <a:pt x="37" y="59"/>
                </a:lnTo>
                <a:lnTo>
                  <a:pt x="36" y="58"/>
                </a:lnTo>
                <a:lnTo>
                  <a:pt x="35" y="56"/>
                </a:lnTo>
                <a:lnTo>
                  <a:pt x="35" y="54"/>
                </a:lnTo>
                <a:lnTo>
                  <a:pt x="34" y="51"/>
                </a:lnTo>
                <a:lnTo>
                  <a:pt x="35" y="49"/>
                </a:lnTo>
                <a:lnTo>
                  <a:pt x="36" y="47"/>
                </a:lnTo>
                <a:lnTo>
                  <a:pt x="37" y="46"/>
                </a:lnTo>
                <a:lnTo>
                  <a:pt x="39" y="45"/>
                </a:lnTo>
                <a:lnTo>
                  <a:pt x="40" y="43"/>
                </a:lnTo>
                <a:lnTo>
                  <a:pt x="42" y="42"/>
                </a:lnTo>
                <a:lnTo>
                  <a:pt x="42" y="39"/>
                </a:lnTo>
                <a:lnTo>
                  <a:pt x="42" y="38"/>
                </a:lnTo>
                <a:lnTo>
                  <a:pt x="40" y="36"/>
                </a:lnTo>
                <a:lnTo>
                  <a:pt x="39" y="35"/>
                </a:lnTo>
                <a:lnTo>
                  <a:pt x="37" y="33"/>
                </a:lnTo>
                <a:lnTo>
                  <a:pt x="34" y="33"/>
                </a:lnTo>
                <a:lnTo>
                  <a:pt x="31" y="33"/>
                </a:lnTo>
                <a:lnTo>
                  <a:pt x="25" y="33"/>
                </a:lnTo>
                <a:lnTo>
                  <a:pt x="26" y="21"/>
                </a:lnTo>
                <a:lnTo>
                  <a:pt x="47" y="21"/>
                </a:lnTo>
                <a:lnTo>
                  <a:pt x="48" y="22"/>
                </a:lnTo>
                <a:lnTo>
                  <a:pt x="50" y="23"/>
                </a:lnTo>
                <a:lnTo>
                  <a:pt x="53" y="24"/>
                </a:lnTo>
                <a:lnTo>
                  <a:pt x="58" y="25"/>
                </a:lnTo>
                <a:lnTo>
                  <a:pt x="62" y="26"/>
                </a:lnTo>
                <a:lnTo>
                  <a:pt x="67" y="26"/>
                </a:lnTo>
                <a:lnTo>
                  <a:pt x="67" y="15"/>
                </a:lnTo>
                <a:lnTo>
                  <a:pt x="70" y="7"/>
                </a:lnTo>
                <a:lnTo>
                  <a:pt x="73" y="4"/>
                </a:lnTo>
                <a:lnTo>
                  <a:pt x="74" y="3"/>
                </a:lnTo>
                <a:lnTo>
                  <a:pt x="76" y="2"/>
                </a:lnTo>
                <a:lnTo>
                  <a:pt x="79" y="0"/>
                </a:lnTo>
                <a:lnTo>
                  <a:pt x="83" y="0"/>
                </a:lnTo>
                <a:lnTo>
                  <a:pt x="88" y="0"/>
                </a:lnTo>
                <a:lnTo>
                  <a:pt x="98" y="0"/>
                </a:lnTo>
                <a:lnTo>
                  <a:pt x="98" y="2"/>
                </a:lnTo>
                <a:lnTo>
                  <a:pt x="99" y="3"/>
                </a:lnTo>
                <a:lnTo>
                  <a:pt x="100" y="4"/>
                </a:lnTo>
                <a:lnTo>
                  <a:pt x="101" y="6"/>
                </a:lnTo>
                <a:lnTo>
                  <a:pt x="100" y="11"/>
                </a:lnTo>
                <a:lnTo>
                  <a:pt x="99" y="16"/>
                </a:lnTo>
                <a:lnTo>
                  <a:pt x="95" y="29"/>
                </a:lnTo>
                <a:lnTo>
                  <a:pt x="91" y="40"/>
                </a:lnTo>
                <a:lnTo>
                  <a:pt x="87" y="52"/>
                </a:lnTo>
                <a:lnTo>
                  <a:pt x="86" y="56"/>
                </a:lnTo>
                <a:lnTo>
                  <a:pt x="86" y="59"/>
                </a:lnTo>
                <a:lnTo>
                  <a:pt x="87" y="62"/>
                </a:lnTo>
                <a:lnTo>
                  <a:pt x="86" y="64"/>
                </a:lnTo>
                <a:lnTo>
                  <a:pt x="86" y="65"/>
                </a:lnTo>
                <a:lnTo>
                  <a:pt x="84" y="66"/>
                </a:lnTo>
                <a:lnTo>
                  <a:pt x="82" y="67"/>
                </a:lnTo>
                <a:lnTo>
                  <a:pt x="79" y="69"/>
                </a:lnTo>
                <a:lnTo>
                  <a:pt x="78" y="71"/>
                </a:lnTo>
                <a:lnTo>
                  <a:pt x="76" y="72"/>
                </a:lnTo>
                <a:lnTo>
                  <a:pt x="74" y="74"/>
                </a:lnTo>
                <a:lnTo>
                  <a:pt x="73" y="76"/>
                </a:lnTo>
                <a:lnTo>
                  <a:pt x="72" y="81"/>
                </a:lnTo>
                <a:lnTo>
                  <a:pt x="70" y="85"/>
                </a:lnTo>
                <a:lnTo>
                  <a:pt x="70" y="87"/>
                </a:lnTo>
                <a:lnTo>
                  <a:pt x="68" y="88"/>
                </a:lnTo>
                <a:lnTo>
                  <a:pt x="67" y="89"/>
                </a:lnTo>
                <a:lnTo>
                  <a:pt x="64" y="91"/>
                </a:lnTo>
                <a:lnTo>
                  <a:pt x="64" y="95"/>
                </a:lnTo>
                <a:lnTo>
                  <a:pt x="64" y="101"/>
                </a:lnTo>
                <a:lnTo>
                  <a:pt x="62" y="106"/>
                </a:lnTo>
                <a:lnTo>
                  <a:pt x="61" y="112"/>
                </a:lnTo>
                <a:lnTo>
                  <a:pt x="58" y="118"/>
                </a:lnTo>
                <a:lnTo>
                  <a:pt x="56" y="120"/>
                </a:lnTo>
                <a:lnTo>
                  <a:pt x="55" y="122"/>
                </a:lnTo>
                <a:lnTo>
                  <a:pt x="52" y="124"/>
                </a:lnTo>
                <a:lnTo>
                  <a:pt x="51" y="125"/>
                </a:lnTo>
                <a:lnTo>
                  <a:pt x="48" y="125"/>
                </a:lnTo>
                <a:lnTo>
                  <a:pt x="46" y="127"/>
                </a:lnTo>
                <a:lnTo>
                  <a:pt x="44" y="125"/>
                </a:lnTo>
                <a:lnTo>
                  <a:pt x="43" y="125"/>
                </a:lnTo>
                <a:lnTo>
                  <a:pt x="42" y="125"/>
                </a:lnTo>
                <a:lnTo>
                  <a:pt x="42" y="124"/>
                </a:lnTo>
                <a:lnTo>
                  <a:pt x="42" y="123"/>
                </a:lnTo>
                <a:lnTo>
                  <a:pt x="40" y="122"/>
                </a:lnTo>
                <a:lnTo>
                  <a:pt x="39" y="121"/>
                </a:lnTo>
                <a:lnTo>
                  <a:pt x="37" y="121"/>
                </a:lnTo>
                <a:lnTo>
                  <a:pt x="36" y="121"/>
                </a:lnTo>
                <a:lnTo>
                  <a:pt x="34" y="121"/>
                </a:lnTo>
                <a:lnTo>
                  <a:pt x="33" y="123"/>
                </a:lnTo>
                <a:lnTo>
                  <a:pt x="30" y="125"/>
                </a:lnTo>
                <a:lnTo>
                  <a:pt x="29" y="125"/>
                </a:lnTo>
                <a:lnTo>
                  <a:pt x="27" y="127"/>
                </a:lnTo>
                <a:lnTo>
                  <a:pt x="26" y="127"/>
                </a:lnTo>
                <a:lnTo>
                  <a:pt x="24" y="125"/>
                </a:lnTo>
                <a:lnTo>
                  <a:pt x="21" y="125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5" name="Freeform 54">
            <a:extLst>
              <a:ext uri="{FF2B5EF4-FFF2-40B4-BE49-F238E27FC236}">
                <a16:creationId xmlns:a16="http://schemas.microsoft.com/office/drawing/2014/main" id="{651DFB5C-B29A-2061-0474-9D379CCD975E}"/>
              </a:ext>
            </a:extLst>
          </p:cNvPr>
          <p:cNvSpPr>
            <a:spLocks/>
          </p:cNvSpPr>
          <p:nvPr/>
        </p:nvSpPr>
        <p:spPr bwMode="auto">
          <a:xfrm>
            <a:off x="6479550" y="5329084"/>
            <a:ext cx="388938" cy="339725"/>
          </a:xfrm>
          <a:custGeom>
            <a:avLst/>
            <a:gdLst>
              <a:gd name="T0" fmla="*/ 144 w 193"/>
              <a:gd name="T1" fmla="*/ 12 h 182"/>
              <a:gd name="T2" fmla="*/ 97 w 193"/>
              <a:gd name="T3" fmla="*/ 10 h 182"/>
              <a:gd name="T4" fmla="*/ 94 w 193"/>
              <a:gd name="T5" fmla="*/ 6 h 182"/>
              <a:gd name="T6" fmla="*/ 29 w 193"/>
              <a:gd name="T7" fmla="*/ 6 h 182"/>
              <a:gd name="T8" fmla="*/ 22 w 193"/>
              <a:gd name="T9" fmla="*/ 0 h 182"/>
              <a:gd name="T10" fmla="*/ 19 w 193"/>
              <a:gd name="T11" fmla="*/ 0 h 182"/>
              <a:gd name="T12" fmla="*/ 9 w 193"/>
              <a:gd name="T13" fmla="*/ 1 h 182"/>
              <a:gd name="T14" fmla="*/ 4 w 193"/>
              <a:gd name="T15" fmla="*/ 1 h 182"/>
              <a:gd name="T16" fmla="*/ 0 w 193"/>
              <a:gd name="T17" fmla="*/ 0 h 182"/>
              <a:gd name="T18" fmla="*/ 1 w 193"/>
              <a:gd name="T19" fmla="*/ 12 h 182"/>
              <a:gd name="T20" fmla="*/ 6 w 193"/>
              <a:gd name="T21" fmla="*/ 24 h 182"/>
              <a:gd name="T22" fmla="*/ 19 w 193"/>
              <a:gd name="T23" fmla="*/ 45 h 182"/>
              <a:gd name="T24" fmla="*/ 29 w 193"/>
              <a:gd name="T25" fmla="*/ 59 h 182"/>
              <a:gd name="T26" fmla="*/ 33 w 193"/>
              <a:gd name="T27" fmla="*/ 69 h 182"/>
              <a:gd name="T28" fmla="*/ 37 w 193"/>
              <a:gd name="T29" fmla="*/ 82 h 182"/>
              <a:gd name="T30" fmla="*/ 37 w 193"/>
              <a:gd name="T31" fmla="*/ 105 h 182"/>
              <a:gd name="T32" fmla="*/ 38 w 193"/>
              <a:gd name="T33" fmla="*/ 125 h 182"/>
              <a:gd name="T34" fmla="*/ 41 w 193"/>
              <a:gd name="T35" fmla="*/ 145 h 182"/>
              <a:gd name="T36" fmla="*/ 46 w 193"/>
              <a:gd name="T37" fmla="*/ 157 h 182"/>
              <a:gd name="T38" fmla="*/ 50 w 193"/>
              <a:gd name="T39" fmla="*/ 166 h 182"/>
              <a:gd name="T40" fmla="*/ 63 w 193"/>
              <a:gd name="T41" fmla="*/ 177 h 182"/>
              <a:gd name="T42" fmla="*/ 67 w 193"/>
              <a:gd name="T43" fmla="*/ 172 h 182"/>
              <a:gd name="T44" fmla="*/ 68 w 193"/>
              <a:gd name="T45" fmla="*/ 171 h 182"/>
              <a:gd name="T46" fmla="*/ 72 w 193"/>
              <a:gd name="T47" fmla="*/ 170 h 182"/>
              <a:gd name="T48" fmla="*/ 76 w 193"/>
              <a:gd name="T49" fmla="*/ 175 h 182"/>
              <a:gd name="T50" fmla="*/ 78 w 193"/>
              <a:gd name="T51" fmla="*/ 177 h 182"/>
              <a:gd name="T52" fmla="*/ 82 w 193"/>
              <a:gd name="T53" fmla="*/ 180 h 182"/>
              <a:gd name="T54" fmla="*/ 93 w 193"/>
              <a:gd name="T55" fmla="*/ 181 h 182"/>
              <a:gd name="T56" fmla="*/ 100 w 193"/>
              <a:gd name="T57" fmla="*/ 180 h 182"/>
              <a:gd name="T58" fmla="*/ 104 w 193"/>
              <a:gd name="T59" fmla="*/ 177 h 182"/>
              <a:gd name="T60" fmla="*/ 113 w 193"/>
              <a:gd name="T61" fmla="*/ 171 h 182"/>
              <a:gd name="T62" fmla="*/ 112 w 193"/>
              <a:gd name="T63" fmla="*/ 75 h 182"/>
              <a:gd name="T64" fmla="*/ 129 w 193"/>
              <a:gd name="T65" fmla="*/ 18 h 182"/>
              <a:gd name="T66" fmla="*/ 148 w 193"/>
              <a:gd name="T67" fmla="*/ 16 h 182"/>
              <a:gd name="T68" fmla="*/ 165 w 193"/>
              <a:gd name="T69" fmla="*/ 13 h 182"/>
              <a:gd name="T70" fmla="*/ 167 w 193"/>
              <a:gd name="T71" fmla="*/ 18 h 182"/>
              <a:gd name="T72" fmla="*/ 180 w 193"/>
              <a:gd name="T73" fmla="*/ 14 h 182"/>
              <a:gd name="T74" fmla="*/ 188 w 193"/>
              <a:gd name="T75" fmla="*/ 10 h 182"/>
              <a:gd name="T76" fmla="*/ 187 w 193"/>
              <a:gd name="T77" fmla="*/ 6 h 182"/>
              <a:gd name="T78" fmla="*/ 180 w 193"/>
              <a:gd name="T79" fmla="*/ 6 h 182"/>
              <a:gd name="T80" fmla="*/ 175 w 193"/>
              <a:gd name="T81" fmla="*/ 6 h 182"/>
              <a:gd name="T82" fmla="*/ 168 w 193"/>
              <a:gd name="T83" fmla="*/ 7 h 182"/>
              <a:gd name="T84" fmla="*/ 165 w 193"/>
              <a:gd name="T85" fmla="*/ 6 h 182"/>
              <a:gd name="T86" fmla="*/ 163 w 193"/>
              <a:gd name="T87" fmla="*/ 4 h 1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93" h="182">
                <a:moveTo>
                  <a:pt x="165" y="6"/>
                </a:moveTo>
                <a:lnTo>
                  <a:pt x="144" y="12"/>
                </a:lnTo>
                <a:lnTo>
                  <a:pt x="104" y="12"/>
                </a:lnTo>
                <a:lnTo>
                  <a:pt x="97" y="10"/>
                </a:lnTo>
                <a:lnTo>
                  <a:pt x="94" y="9"/>
                </a:lnTo>
                <a:lnTo>
                  <a:pt x="94" y="6"/>
                </a:lnTo>
                <a:lnTo>
                  <a:pt x="93" y="6"/>
                </a:lnTo>
                <a:lnTo>
                  <a:pt x="29" y="6"/>
                </a:lnTo>
                <a:lnTo>
                  <a:pt x="24" y="1"/>
                </a:lnTo>
                <a:lnTo>
                  <a:pt x="22" y="0"/>
                </a:lnTo>
                <a:lnTo>
                  <a:pt x="21" y="0"/>
                </a:lnTo>
                <a:lnTo>
                  <a:pt x="19" y="0"/>
                </a:lnTo>
                <a:lnTo>
                  <a:pt x="14" y="0"/>
                </a:lnTo>
                <a:lnTo>
                  <a:pt x="9" y="1"/>
                </a:lnTo>
                <a:lnTo>
                  <a:pt x="6" y="1"/>
                </a:lnTo>
                <a:lnTo>
                  <a:pt x="4" y="1"/>
                </a:lnTo>
                <a:lnTo>
                  <a:pt x="2" y="1"/>
                </a:lnTo>
                <a:lnTo>
                  <a:pt x="0" y="0"/>
                </a:lnTo>
                <a:lnTo>
                  <a:pt x="0" y="6"/>
                </a:lnTo>
                <a:lnTo>
                  <a:pt x="1" y="12"/>
                </a:lnTo>
                <a:lnTo>
                  <a:pt x="3" y="19"/>
                </a:lnTo>
                <a:lnTo>
                  <a:pt x="6" y="24"/>
                </a:lnTo>
                <a:lnTo>
                  <a:pt x="11" y="34"/>
                </a:lnTo>
                <a:lnTo>
                  <a:pt x="19" y="45"/>
                </a:lnTo>
                <a:lnTo>
                  <a:pt x="26" y="54"/>
                </a:lnTo>
                <a:lnTo>
                  <a:pt x="29" y="59"/>
                </a:lnTo>
                <a:lnTo>
                  <a:pt x="32" y="64"/>
                </a:lnTo>
                <a:lnTo>
                  <a:pt x="33" y="69"/>
                </a:lnTo>
                <a:lnTo>
                  <a:pt x="36" y="75"/>
                </a:lnTo>
                <a:lnTo>
                  <a:pt x="37" y="82"/>
                </a:lnTo>
                <a:lnTo>
                  <a:pt x="37" y="88"/>
                </a:lnTo>
                <a:lnTo>
                  <a:pt x="37" y="105"/>
                </a:lnTo>
                <a:lnTo>
                  <a:pt x="37" y="115"/>
                </a:lnTo>
                <a:lnTo>
                  <a:pt x="38" y="125"/>
                </a:lnTo>
                <a:lnTo>
                  <a:pt x="40" y="135"/>
                </a:lnTo>
                <a:lnTo>
                  <a:pt x="41" y="145"/>
                </a:lnTo>
                <a:lnTo>
                  <a:pt x="44" y="154"/>
                </a:lnTo>
                <a:lnTo>
                  <a:pt x="46" y="157"/>
                </a:lnTo>
                <a:lnTo>
                  <a:pt x="48" y="161"/>
                </a:lnTo>
                <a:lnTo>
                  <a:pt x="50" y="166"/>
                </a:lnTo>
                <a:lnTo>
                  <a:pt x="54" y="170"/>
                </a:lnTo>
                <a:lnTo>
                  <a:pt x="63" y="177"/>
                </a:lnTo>
                <a:lnTo>
                  <a:pt x="64" y="175"/>
                </a:lnTo>
                <a:lnTo>
                  <a:pt x="67" y="172"/>
                </a:lnTo>
                <a:lnTo>
                  <a:pt x="67" y="171"/>
                </a:lnTo>
                <a:lnTo>
                  <a:pt x="68" y="171"/>
                </a:lnTo>
                <a:lnTo>
                  <a:pt x="70" y="170"/>
                </a:lnTo>
                <a:lnTo>
                  <a:pt x="72" y="170"/>
                </a:lnTo>
                <a:lnTo>
                  <a:pt x="74" y="172"/>
                </a:lnTo>
                <a:lnTo>
                  <a:pt x="76" y="175"/>
                </a:lnTo>
                <a:lnTo>
                  <a:pt x="77" y="177"/>
                </a:lnTo>
                <a:lnTo>
                  <a:pt x="78" y="177"/>
                </a:lnTo>
                <a:lnTo>
                  <a:pt x="80" y="179"/>
                </a:lnTo>
                <a:lnTo>
                  <a:pt x="82" y="180"/>
                </a:lnTo>
                <a:lnTo>
                  <a:pt x="85" y="181"/>
                </a:lnTo>
                <a:lnTo>
                  <a:pt x="93" y="181"/>
                </a:lnTo>
                <a:lnTo>
                  <a:pt x="96" y="181"/>
                </a:lnTo>
                <a:lnTo>
                  <a:pt x="100" y="180"/>
                </a:lnTo>
                <a:lnTo>
                  <a:pt x="103" y="179"/>
                </a:lnTo>
                <a:lnTo>
                  <a:pt x="104" y="177"/>
                </a:lnTo>
                <a:lnTo>
                  <a:pt x="109" y="173"/>
                </a:lnTo>
                <a:lnTo>
                  <a:pt x="113" y="171"/>
                </a:lnTo>
                <a:lnTo>
                  <a:pt x="112" y="119"/>
                </a:lnTo>
                <a:lnTo>
                  <a:pt x="112" y="75"/>
                </a:lnTo>
                <a:lnTo>
                  <a:pt x="129" y="75"/>
                </a:lnTo>
                <a:lnTo>
                  <a:pt x="129" y="18"/>
                </a:lnTo>
                <a:lnTo>
                  <a:pt x="139" y="18"/>
                </a:lnTo>
                <a:lnTo>
                  <a:pt x="148" y="16"/>
                </a:lnTo>
                <a:lnTo>
                  <a:pt x="157" y="15"/>
                </a:lnTo>
                <a:lnTo>
                  <a:pt x="165" y="13"/>
                </a:lnTo>
                <a:lnTo>
                  <a:pt x="166" y="15"/>
                </a:lnTo>
                <a:lnTo>
                  <a:pt x="167" y="18"/>
                </a:lnTo>
                <a:lnTo>
                  <a:pt x="170" y="20"/>
                </a:lnTo>
                <a:lnTo>
                  <a:pt x="180" y="14"/>
                </a:lnTo>
                <a:lnTo>
                  <a:pt x="185" y="11"/>
                </a:lnTo>
                <a:lnTo>
                  <a:pt x="188" y="10"/>
                </a:lnTo>
                <a:lnTo>
                  <a:pt x="192" y="10"/>
                </a:lnTo>
                <a:lnTo>
                  <a:pt x="187" y="6"/>
                </a:lnTo>
                <a:lnTo>
                  <a:pt x="184" y="6"/>
                </a:lnTo>
                <a:lnTo>
                  <a:pt x="180" y="6"/>
                </a:lnTo>
                <a:lnTo>
                  <a:pt x="176" y="6"/>
                </a:lnTo>
                <a:lnTo>
                  <a:pt x="175" y="6"/>
                </a:lnTo>
                <a:lnTo>
                  <a:pt x="171" y="7"/>
                </a:lnTo>
                <a:lnTo>
                  <a:pt x="168" y="7"/>
                </a:lnTo>
                <a:lnTo>
                  <a:pt x="166" y="7"/>
                </a:lnTo>
                <a:lnTo>
                  <a:pt x="165" y="6"/>
                </a:lnTo>
                <a:lnTo>
                  <a:pt x="165" y="5"/>
                </a:lnTo>
                <a:lnTo>
                  <a:pt x="163" y="4"/>
                </a:lnTo>
                <a:lnTo>
                  <a:pt x="165" y="6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6" name="Freeform 55">
            <a:extLst>
              <a:ext uri="{FF2B5EF4-FFF2-40B4-BE49-F238E27FC236}">
                <a16:creationId xmlns:a16="http://schemas.microsoft.com/office/drawing/2014/main" id="{AE242F5C-4601-2417-BEB5-C8DCC2B1C423}"/>
              </a:ext>
            </a:extLst>
          </p:cNvPr>
          <p:cNvSpPr>
            <a:spLocks/>
          </p:cNvSpPr>
          <p:nvPr/>
        </p:nvSpPr>
        <p:spPr bwMode="auto">
          <a:xfrm>
            <a:off x="7374900" y="5179859"/>
            <a:ext cx="230188" cy="392113"/>
          </a:xfrm>
          <a:custGeom>
            <a:avLst/>
            <a:gdLst>
              <a:gd name="T0" fmla="*/ 26 w 114"/>
              <a:gd name="T1" fmla="*/ 68 h 210"/>
              <a:gd name="T2" fmla="*/ 30 w 114"/>
              <a:gd name="T3" fmla="*/ 65 h 210"/>
              <a:gd name="T4" fmla="*/ 35 w 114"/>
              <a:gd name="T5" fmla="*/ 59 h 210"/>
              <a:gd name="T6" fmla="*/ 38 w 114"/>
              <a:gd name="T7" fmla="*/ 57 h 210"/>
              <a:gd name="T8" fmla="*/ 41 w 114"/>
              <a:gd name="T9" fmla="*/ 56 h 210"/>
              <a:gd name="T10" fmla="*/ 50 w 114"/>
              <a:gd name="T11" fmla="*/ 56 h 210"/>
              <a:gd name="T12" fmla="*/ 55 w 114"/>
              <a:gd name="T13" fmla="*/ 55 h 210"/>
              <a:gd name="T14" fmla="*/ 59 w 114"/>
              <a:gd name="T15" fmla="*/ 53 h 210"/>
              <a:gd name="T16" fmla="*/ 62 w 114"/>
              <a:gd name="T17" fmla="*/ 49 h 210"/>
              <a:gd name="T18" fmla="*/ 73 w 114"/>
              <a:gd name="T19" fmla="*/ 35 h 210"/>
              <a:gd name="T20" fmla="*/ 79 w 114"/>
              <a:gd name="T21" fmla="*/ 24 h 210"/>
              <a:gd name="T22" fmla="*/ 83 w 114"/>
              <a:gd name="T23" fmla="*/ 23 h 210"/>
              <a:gd name="T24" fmla="*/ 88 w 114"/>
              <a:gd name="T25" fmla="*/ 21 h 210"/>
              <a:gd name="T26" fmla="*/ 92 w 114"/>
              <a:gd name="T27" fmla="*/ 18 h 210"/>
              <a:gd name="T28" fmla="*/ 93 w 114"/>
              <a:gd name="T29" fmla="*/ 13 h 210"/>
              <a:gd name="T30" fmla="*/ 96 w 114"/>
              <a:gd name="T31" fmla="*/ 5 h 210"/>
              <a:gd name="T32" fmla="*/ 99 w 114"/>
              <a:gd name="T33" fmla="*/ 0 h 210"/>
              <a:gd name="T34" fmla="*/ 100 w 114"/>
              <a:gd name="T35" fmla="*/ 13 h 210"/>
              <a:gd name="T36" fmla="*/ 110 w 114"/>
              <a:gd name="T37" fmla="*/ 42 h 210"/>
              <a:gd name="T38" fmla="*/ 113 w 114"/>
              <a:gd name="T39" fmla="*/ 56 h 210"/>
              <a:gd name="T40" fmla="*/ 111 w 114"/>
              <a:gd name="T41" fmla="*/ 59 h 210"/>
              <a:gd name="T42" fmla="*/ 106 w 114"/>
              <a:gd name="T43" fmla="*/ 60 h 210"/>
              <a:gd name="T44" fmla="*/ 105 w 114"/>
              <a:gd name="T45" fmla="*/ 59 h 210"/>
              <a:gd name="T46" fmla="*/ 103 w 114"/>
              <a:gd name="T47" fmla="*/ 54 h 210"/>
              <a:gd name="T48" fmla="*/ 100 w 114"/>
              <a:gd name="T49" fmla="*/ 56 h 210"/>
              <a:gd name="T50" fmla="*/ 99 w 114"/>
              <a:gd name="T51" fmla="*/ 62 h 210"/>
              <a:gd name="T52" fmla="*/ 99 w 114"/>
              <a:gd name="T53" fmla="*/ 66 h 210"/>
              <a:gd name="T54" fmla="*/ 100 w 114"/>
              <a:gd name="T55" fmla="*/ 69 h 210"/>
              <a:gd name="T56" fmla="*/ 102 w 114"/>
              <a:gd name="T57" fmla="*/ 72 h 210"/>
              <a:gd name="T58" fmla="*/ 101 w 114"/>
              <a:gd name="T59" fmla="*/ 77 h 210"/>
              <a:gd name="T60" fmla="*/ 96 w 114"/>
              <a:gd name="T61" fmla="*/ 89 h 210"/>
              <a:gd name="T62" fmla="*/ 79 w 114"/>
              <a:gd name="T63" fmla="*/ 118 h 210"/>
              <a:gd name="T64" fmla="*/ 69 w 114"/>
              <a:gd name="T65" fmla="*/ 143 h 210"/>
              <a:gd name="T66" fmla="*/ 63 w 114"/>
              <a:gd name="T67" fmla="*/ 172 h 210"/>
              <a:gd name="T68" fmla="*/ 60 w 114"/>
              <a:gd name="T69" fmla="*/ 179 h 210"/>
              <a:gd name="T70" fmla="*/ 55 w 114"/>
              <a:gd name="T71" fmla="*/ 189 h 210"/>
              <a:gd name="T72" fmla="*/ 52 w 114"/>
              <a:gd name="T73" fmla="*/ 196 h 210"/>
              <a:gd name="T74" fmla="*/ 47 w 114"/>
              <a:gd name="T75" fmla="*/ 199 h 210"/>
              <a:gd name="T76" fmla="*/ 39 w 114"/>
              <a:gd name="T77" fmla="*/ 202 h 210"/>
              <a:gd name="T78" fmla="*/ 33 w 114"/>
              <a:gd name="T79" fmla="*/ 207 h 210"/>
              <a:gd name="T80" fmla="*/ 25 w 114"/>
              <a:gd name="T81" fmla="*/ 209 h 210"/>
              <a:gd name="T82" fmla="*/ 19 w 114"/>
              <a:gd name="T83" fmla="*/ 207 h 210"/>
              <a:gd name="T84" fmla="*/ 13 w 114"/>
              <a:gd name="T85" fmla="*/ 203 h 210"/>
              <a:gd name="T86" fmla="*/ 8 w 114"/>
              <a:gd name="T87" fmla="*/ 198 h 210"/>
              <a:gd name="T88" fmla="*/ 6 w 114"/>
              <a:gd name="T89" fmla="*/ 190 h 210"/>
              <a:gd name="T90" fmla="*/ 3 w 114"/>
              <a:gd name="T91" fmla="*/ 183 h 210"/>
              <a:gd name="T92" fmla="*/ 0 w 114"/>
              <a:gd name="T93" fmla="*/ 167 h 210"/>
              <a:gd name="T94" fmla="*/ 0 w 114"/>
              <a:gd name="T95" fmla="*/ 156 h 210"/>
              <a:gd name="T96" fmla="*/ 2 w 114"/>
              <a:gd name="T97" fmla="*/ 149 h 210"/>
              <a:gd name="T98" fmla="*/ 7 w 114"/>
              <a:gd name="T99" fmla="*/ 141 h 210"/>
              <a:gd name="T100" fmla="*/ 16 w 114"/>
              <a:gd name="T101" fmla="*/ 132 h 210"/>
              <a:gd name="T102" fmla="*/ 20 w 114"/>
              <a:gd name="T103" fmla="*/ 123 h 210"/>
              <a:gd name="T104" fmla="*/ 22 w 114"/>
              <a:gd name="T105" fmla="*/ 117 h 210"/>
              <a:gd name="T106" fmla="*/ 22 w 114"/>
              <a:gd name="T107" fmla="*/ 109 h 210"/>
              <a:gd name="T108" fmla="*/ 20 w 114"/>
              <a:gd name="T109" fmla="*/ 103 h 210"/>
              <a:gd name="T110" fmla="*/ 16 w 114"/>
              <a:gd name="T111" fmla="*/ 96 h 210"/>
              <a:gd name="T112" fmla="*/ 14 w 114"/>
              <a:gd name="T113" fmla="*/ 90 h 210"/>
              <a:gd name="T114" fmla="*/ 22 w 114"/>
              <a:gd name="T115" fmla="*/ 69 h 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14" h="210">
                <a:moveTo>
                  <a:pt x="22" y="69"/>
                </a:moveTo>
                <a:lnTo>
                  <a:pt x="26" y="68"/>
                </a:lnTo>
                <a:lnTo>
                  <a:pt x="29" y="67"/>
                </a:lnTo>
                <a:lnTo>
                  <a:pt x="30" y="65"/>
                </a:lnTo>
                <a:lnTo>
                  <a:pt x="33" y="63"/>
                </a:lnTo>
                <a:lnTo>
                  <a:pt x="35" y="59"/>
                </a:lnTo>
                <a:lnTo>
                  <a:pt x="37" y="58"/>
                </a:lnTo>
                <a:lnTo>
                  <a:pt x="38" y="57"/>
                </a:lnTo>
                <a:lnTo>
                  <a:pt x="39" y="57"/>
                </a:lnTo>
                <a:lnTo>
                  <a:pt x="41" y="56"/>
                </a:lnTo>
                <a:lnTo>
                  <a:pt x="43" y="56"/>
                </a:lnTo>
                <a:lnTo>
                  <a:pt x="50" y="56"/>
                </a:lnTo>
                <a:lnTo>
                  <a:pt x="53" y="56"/>
                </a:lnTo>
                <a:lnTo>
                  <a:pt x="55" y="55"/>
                </a:lnTo>
                <a:lnTo>
                  <a:pt x="56" y="54"/>
                </a:lnTo>
                <a:lnTo>
                  <a:pt x="59" y="53"/>
                </a:lnTo>
                <a:lnTo>
                  <a:pt x="60" y="51"/>
                </a:lnTo>
                <a:lnTo>
                  <a:pt x="62" y="49"/>
                </a:lnTo>
                <a:lnTo>
                  <a:pt x="66" y="45"/>
                </a:lnTo>
                <a:lnTo>
                  <a:pt x="73" y="35"/>
                </a:lnTo>
                <a:lnTo>
                  <a:pt x="78" y="24"/>
                </a:lnTo>
                <a:lnTo>
                  <a:pt x="79" y="24"/>
                </a:lnTo>
                <a:lnTo>
                  <a:pt x="79" y="23"/>
                </a:lnTo>
                <a:lnTo>
                  <a:pt x="83" y="23"/>
                </a:lnTo>
                <a:lnTo>
                  <a:pt x="87" y="22"/>
                </a:lnTo>
                <a:lnTo>
                  <a:pt x="88" y="21"/>
                </a:lnTo>
                <a:lnTo>
                  <a:pt x="90" y="19"/>
                </a:lnTo>
                <a:lnTo>
                  <a:pt x="92" y="18"/>
                </a:lnTo>
                <a:lnTo>
                  <a:pt x="93" y="15"/>
                </a:lnTo>
                <a:lnTo>
                  <a:pt x="93" y="13"/>
                </a:lnTo>
                <a:lnTo>
                  <a:pt x="95" y="9"/>
                </a:lnTo>
                <a:lnTo>
                  <a:pt x="96" y="5"/>
                </a:lnTo>
                <a:lnTo>
                  <a:pt x="96" y="2"/>
                </a:lnTo>
                <a:lnTo>
                  <a:pt x="99" y="0"/>
                </a:lnTo>
                <a:lnTo>
                  <a:pt x="99" y="6"/>
                </a:lnTo>
                <a:lnTo>
                  <a:pt x="100" y="13"/>
                </a:lnTo>
                <a:lnTo>
                  <a:pt x="105" y="27"/>
                </a:lnTo>
                <a:lnTo>
                  <a:pt x="110" y="42"/>
                </a:lnTo>
                <a:lnTo>
                  <a:pt x="111" y="49"/>
                </a:lnTo>
                <a:lnTo>
                  <a:pt x="113" y="56"/>
                </a:lnTo>
                <a:lnTo>
                  <a:pt x="113" y="58"/>
                </a:lnTo>
                <a:lnTo>
                  <a:pt x="111" y="59"/>
                </a:lnTo>
                <a:lnTo>
                  <a:pt x="109" y="60"/>
                </a:lnTo>
                <a:lnTo>
                  <a:pt x="106" y="60"/>
                </a:lnTo>
                <a:lnTo>
                  <a:pt x="106" y="59"/>
                </a:lnTo>
                <a:lnTo>
                  <a:pt x="105" y="59"/>
                </a:lnTo>
                <a:lnTo>
                  <a:pt x="105" y="58"/>
                </a:lnTo>
                <a:lnTo>
                  <a:pt x="103" y="54"/>
                </a:lnTo>
                <a:lnTo>
                  <a:pt x="102" y="55"/>
                </a:lnTo>
                <a:lnTo>
                  <a:pt x="100" y="56"/>
                </a:lnTo>
                <a:lnTo>
                  <a:pt x="99" y="59"/>
                </a:lnTo>
                <a:lnTo>
                  <a:pt x="99" y="62"/>
                </a:lnTo>
                <a:lnTo>
                  <a:pt x="99" y="64"/>
                </a:lnTo>
                <a:lnTo>
                  <a:pt x="99" y="66"/>
                </a:lnTo>
                <a:lnTo>
                  <a:pt x="99" y="68"/>
                </a:lnTo>
                <a:lnTo>
                  <a:pt x="100" y="69"/>
                </a:lnTo>
                <a:lnTo>
                  <a:pt x="101" y="72"/>
                </a:lnTo>
                <a:lnTo>
                  <a:pt x="102" y="72"/>
                </a:lnTo>
                <a:lnTo>
                  <a:pt x="102" y="74"/>
                </a:lnTo>
                <a:lnTo>
                  <a:pt x="101" y="77"/>
                </a:lnTo>
                <a:lnTo>
                  <a:pt x="100" y="80"/>
                </a:lnTo>
                <a:lnTo>
                  <a:pt x="96" y="89"/>
                </a:lnTo>
                <a:lnTo>
                  <a:pt x="88" y="99"/>
                </a:lnTo>
                <a:lnTo>
                  <a:pt x="79" y="118"/>
                </a:lnTo>
                <a:lnTo>
                  <a:pt x="73" y="135"/>
                </a:lnTo>
                <a:lnTo>
                  <a:pt x="69" y="143"/>
                </a:lnTo>
                <a:lnTo>
                  <a:pt x="68" y="152"/>
                </a:lnTo>
                <a:lnTo>
                  <a:pt x="63" y="172"/>
                </a:lnTo>
                <a:lnTo>
                  <a:pt x="62" y="175"/>
                </a:lnTo>
                <a:lnTo>
                  <a:pt x="60" y="179"/>
                </a:lnTo>
                <a:lnTo>
                  <a:pt x="56" y="185"/>
                </a:lnTo>
                <a:lnTo>
                  <a:pt x="55" y="189"/>
                </a:lnTo>
                <a:lnTo>
                  <a:pt x="53" y="192"/>
                </a:lnTo>
                <a:lnTo>
                  <a:pt x="52" y="196"/>
                </a:lnTo>
                <a:lnTo>
                  <a:pt x="52" y="199"/>
                </a:lnTo>
                <a:lnTo>
                  <a:pt x="47" y="199"/>
                </a:lnTo>
                <a:lnTo>
                  <a:pt x="43" y="201"/>
                </a:lnTo>
                <a:lnTo>
                  <a:pt x="39" y="202"/>
                </a:lnTo>
                <a:lnTo>
                  <a:pt x="38" y="204"/>
                </a:lnTo>
                <a:lnTo>
                  <a:pt x="33" y="207"/>
                </a:lnTo>
                <a:lnTo>
                  <a:pt x="29" y="208"/>
                </a:lnTo>
                <a:lnTo>
                  <a:pt x="25" y="209"/>
                </a:lnTo>
                <a:lnTo>
                  <a:pt x="21" y="208"/>
                </a:lnTo>
                <a:lnTo>
                  <a:pt x="19" y="207"/>
                </a:lnTo>
                <a:lnTo>
                  <a:pt x="16" y="206"/>
                </a:lnTo>
                <a:lnTo>
                  <a:pt x="13" y="203"/>
                </a:lnTo>
                <a:lnTo>
                  <a:pt x="11" y="201"/>
                </a:lnTo>
                <a:lnTo>
                  <a:pt x="8" y="198"/>
                </a:lnTo>
                <a:lnTo>
                  <a:pt x="6" y="194"/>
                </a:lnTo>
                <a:lnTo>
                  <a:pt x="6" y="190"/>
                </a:lnTo>
                <a:lnTo>
                  <a:pt x="3" y="186"/>
                </a:lnTo>
                <a:lnTo>
                  <a:pt x="3" y="183"/>
                </a:lnTo>
                <a:lnTo>
                  <a:pt x="1" y="175"/>
                </a:lnTo>
                <a:lnTo>
                  <a:pt x="0" y="167"/>
                </a:lnTo>
                <a:lnTo>
                  <a:pt x="0" y="160"/>
                </a:lnTo>
                <a:lnTo>
                  <a:pt x="0" y="156"/>
                </a:lnTo>
                <a:lnTo>
                  <a:pt x="1" y="152"/>
                </a:lnTo>
                <a:lnTo>
                  <a:pt x="2" y="149"/>
                </a:lnTo>
                <a:lnTo>
                  <a:pt x="3" y="145"/>
                </a:lnTo>
                <a:lnTo>
                  <a:pt x="7" y="141"/>
                </a:lnTo>
                <a:lnTo>
                  <a:pt x="11" y="136"/>
                </a:lnTo>
                <a:lnTo>
                  <a:pt x="16" y="132"/>
                </a:lnTo>
                <a:lnTo>
                  <a:pt x="19" y="126"/>
                </a:lnTo>
                <a:lnTo>
                  <a:pt x="20" y="123"/>
                </a:lnTo>
                <a:lnTo>
                  <a:pt x="21" y="121"/>
                </a:lnTo>
                <a:lnTo>
                  <a:pt x="22" y="117"/>
                </a:lnTo>
                <a:lnTo>
                  <a:pt x="22" y="113"/>
                </a:lnTo>
                <a:lnTo>
                  <a:pt x="22" y="109"/>
                </a:lnTo>
                <a:lnTo>
                  <a:pt x="21" y="106"/>
                </a:lnTo>
                <a:lnTo>
                  <a:pt x="20" y="103"/>
                </a:lnTo>
                <a:lnTo>
                  <a:pt x="19" y="100"/>
                </a:lnTo>
                <a:lnTo>
                  <a:pt x="16" y="96"/>
                </a:lnTo>
                <a:lnTo>
                  <a:pt x="15" y="93"/>
                </a:lnTo>
                <a:lnTo>
                  <a:pt x="14" y="90"/>
                </a:lnTo>
                <a:lnTo>
                  <a:pt x="19" y="79"/>
                </a:lnTo>
                <a:lnTo>
                  <a:pt x="22" y="69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7" name="Freeform 56">
            <a:extLst>
              <a:ext uri="{FF2B5EF4-FFF2-40B4-BE49-F238E27FC236}">
                <a16:creationId xmlns:a16="http://schemas.microsoft.com/office/drawing/2014/main" id="{97611218-DF3E-E3CF-0DE1-C59E644524F8}"/>
              </a:ext>
            </a:extLst>
          </p:cNvPr>
          <p:cNvSpPr>
            <a:spLocks/>
          </p:cNvSpPr>
          <p:nvPr/>
        </p:nvSpPr>
        <p:spPr bwMode="auto">
          <a:xfrm>
            <a:off x="9629150" y="4994121"/>
            <a:ext cx="187325" cy="204788"/>
          </a:xfrm>
          <a:custGeom>
            <a:avLst/>
            <a:gdLst>
              <a:gd name="T0" fmla="*/ 15 w 93"/>
              <a:gd name="T1" fmla="*/ 20 h 110"/>
              <a:gd name="T2" fmla="*/ 26 w 93"/>
              <a:gd name="T3" fmla="*/ 6 h 110"/>
              <a:gd name="T4" fmla="*/ 34 w 93"/>
              <a:gd name="T5" fmla="*/ 5 h 110"/>
              <a:gd name="T6" fmla="*/ 39 w 93"/>
              <a:gd name="T7" fmla="*/ 8 h 110"/>
              <a:gd name="T8" fmla="*/ 63 w 93"/>
              <a:gd name="T9" fmla="*/ 10 h 110"/>
              <a:gd name="T10" fmla="*/ 79 w 93"/>
              <a:gd name="T11" fmla="*/ 9 h 110"/>
              <a:gd name="T12" fmla="*/ 85 w 93"/>
              <a:gd name="T13" fmla="*/ 2 h 110"/>
              <a:gd name="T14" fmla="*/ 92 w 93"/>
              <a:gd name="T15" fmla="*/ 3 h 110"/>
              <a:gd name="T16" fmla="*/ 83 w 93"/>
              <a:gd name="T17" fmla="*/ 13 h 110"/>
              <a:gd name="T18" fmla="*/ 74 w 93"/>
              <a:gd name="T19" fmla="*/ 19 h 110"/>
              <a:gd name="T20" fmla="*/ 63 w 93"/>
              <a:gd name="T21" fmla="*/ 19 h 110"/>
              <a:gd name="T22" fmla="*/ 24 w 93"/>
              <a:gd name="T23" fmla="*/ 17 h 110"/>
              <a:gd name="T24" fmla="*/ 19 w 93"/>
              <a:gd name="T25" fmla="*/ 23 h 110"/>
              <a:gd name="T26" fmla="*/ 19 w 93"/>
              <a:gd name="T27" fmla="*/ 32 h 110"/>
              <a:gd name="T28" fmla="*/ 26 w 93"/>
              <a:gd name="T29" fmla="*/ 42 h 110"/>
              <a:gd name="T30" fmla="*/ 32 w 93"/>
              <a:gd name="T31" fmla="*/ 44 h 110"/>
              <a:gd name="T32" fmla="*/ 39 w 93"/>
              <a:gd name="T33" fmla="*/ 37 h 110"/>
              <a:gd name="T34" fmla="*/ 57 w 93"/>
              <a:gd name="T35" fmla="*/ 35 h 110"/>
              <a:gd name="T36" fmla="*/ 66 w 93"/>
              <a:gd name="T37" fmla="*/ 33 h 110"/>
              <a:gd name="T38" fmla="*/ 57 w 93"/>
              <a:gd name="T39" fmla="*/ 38 h 110"/>
              <a:gd name="T40" fmla="*/ 46 w 93"/>
              <a:gd name="T41" fmla="*/ 45 h 110"/>
              <a:gd name="T42" fmla="*/ 41 w 93"/>
              <a:gd name="T43" fmla="*/ 53 h 110"/>
              <a:gd name="T44" fmla="*/ 44 w 93"/>
              <a:gd name="T45" fmla="*/ 61 h 110"/>
              <a:gd name="T46" fmla="*/ 49 w 93"/>
              <a:gd name="T47" fmla="*/ 80 h 110"/>
              <a:gd name="T48" fmla="*/ 53 w 93"/>
              <a:gd name="T49" fmla="*/ 83 h 110"/>
              <a:gd name="T50" fmla="*/ 60 w 93"/>
              <a:gd name="T51" fmla="*/ 85 h 110"/>
              <a:gd name="T52" fmla="*/ 50 w 93"/>
              <a:gd name="T53" fmla="*/ 91 h 110"/>
              <a:gd name="T54" fmla="*/ 44 w 93"/>
              <a:gd name="T55" fmla="*/ 95 h 110"/>
              <a:gd name="T56" fmla="*/ 30 w 93"/>
              <a:gd name="T57" fmla="*/ 72 h 110"/>
              <a:gd name="T58" fmla="*/ 31 w 93"/>
              <a:gd name="T59" fmla="*/ 65 h 110"/>
              <a:gd name="T60" fmla="*/ 24 w 93"/>
              <a:gd name="T61" fmla="*/ 63 h 110"/>
              <a:gd name="T62" fmla="*/ 19 w 93"/>
              <a:gd name="T63" fmla="*/ 96 h 110"/>
              <a:gd name="T64" fmla="*/ 17 w 93"/>
              <a:gd name="T65" fmla="*/ 105 h 110"/>
              <a:gd name="T66" fmla="*/ 11 w 93"/>
              <a:gd name="T67" fmla="*/ 109 h 110"/>
              <a:gd name="T68" fmla="*/ 5 w 93"/>
              <a:gd name="T69" fmla="*/ 108 h 110"/>
              <a:gd name="T70" fmla="*/ 5 w 93"/>
              <a:gd name="T71" fmla="*/ 101 h 110"/>
              <a:gd name="T72" fmla="*/ 9 w 93"/>
              <a:gd name="T73" fmla="*/ 88 h 110"/>
              <a:gd name="T74" fmla="*/ 9 w 93"/>
              <a:gd name="T75" fmla="*/ 79 h 110"/>
              <a:gd name="T76" fmla="*/ 3 w 93"/>
              <a:gd name="T77" fmla="*/ 75 h 110"/>
              <a:gd name="T78" fmla="*/ 0 w 93"/>
              <a:gd name="T79" fmla="*/ 72 h 110"/>
              <a:gd name="T80" fmla="*/ 2 w 93"/>
              <a:gd name="T81" fmla="*/ 58 h 110"/>
              <a:gd name="T82" fmla="*/ 9 w 93"/>
              <a:gd name="T83" fmla="*/ 42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93" h="110">
                <a:moveTo>
                  <a:pt x="13" y="36"/>
                </a:moveTo>
                <a:lnTo>
                  <a:pt x="13" y="22"/>
                </a:lnTo>
                <a:lnTo>
                  <a:pt x="15" y="20"/>
                </a:lnTo>
                <a:lnTo>
                  <a:pt x="18" y="18"/>
                </a:lnTo>
                <a:lnTo>
                  <a:pt x="22" y="13"/>
                </a:lnTo>
                <a:lnTo>
                  <a:pt x="26" y="6"/>
                </a:lnTo>
                <a:lnTo>
                  <a:pt x="28" y="5"/>
                </a:lnTo>
                <a:lnTo>
                  <a:pt x="31" y="4"/>
                </a:lnTo>
                <a:lnTo>
                  <a:pt x="34" y="5"/>
                </a:lnTo>
                <a:lnTo>
                  <a:pt x="35" y="6"/>
                </a:lnTo>
                <a:lnTo>
                  <a:pt x="37" y="6"/>
                </a:lnTo>
                <a:lnTo>
                  <a:pt x="39" y="8"/>
                </a:lnTo>
                <a:lnTo>
                  <a:pt x="47" y="9"/>
                </a:lnTo>
                <a:lnTo>
                  <a:pt x="55" y="10"/>
                </a:lnTo>
                <a:lnTo>
                  <a:pt x="63" y="10"/>
                </a:lnTo>
                <a:lnTo>
                  <a:pt x="72" y="11"/>
                </a:lnTo>
                <a:lnTo>
                  <a:pt x="76" y="10"/>
                </a:lnTo>
                <a:lnTo>
                  <a:pt x="79" y="9"/>
                </a:lnTo>
                <a:lnTo>
                  <a:pt x="81" y="8"/>
                </a:lnTo>
                <a:lnTo>
                  <a:pt x="83" y="6"/>
                </a:lnTo>
                <a:lnTo>
                  <a:pt x="85" y="2"/>
                </a:lnTo>
                <a:lnTo>
                  <a:pt x="88" y="0"/>
                </a:lnTo>
                <a:lnTo>
                  <a:pt x="92" y="0"/>
                </a:lnTo>
                <a:lnTo>
                  <a:pt x="92" y="3"/>
                </a:lnTo>
                <a:lnTo>
                  <a:pt x="88" y="6"/>
                </a:lnTo>
                <a:lnTo>
                  <a:pt x="86" y="9"/>
                </a:lnTo>
                <a:lnTo>
                  <a:pt x="83" y="13"/>
                </a:lnTo>
                <a:lnTo>
                  <a:pt x="80" y="16"/>
                </a:lnTo>
                <a:lnTo>
                  <a:pt x="77" y="18"/>
                </a:lnTo>
                <a:lnTo>
                  <a:pt x="74" y="19"/>
                </a:lnTo>
                <a:lnTo>
                  <a:pt x="69" y="19"/>
                </a:lnTo>
                <a:lnTo>
                  <a:pt x="66" y="19"/>
                </a:lnTo>
                <a:lnTo>
                  <a:pt x="63" y="19"/>
                </a:lnTo>
                <a:lnTo>
                  <a:pt x="61" y="18"/>
                </a:lnTo>
                <a:lnTo>
                  <a:pt x="60" y="17"/>
                </a:lnTo>
                <a:lnTo>
                  <a:pt x="24" y="17"/>
                </a:lnTo>
                <a:lnTo>
                  <a:pt x="22" y="19"/>
                </a:lnTo>
                <a:lnTo>
                  <a:pt x="19" y="20"/>
                </a:lnTo>
                <a:lnTo>
                  <a:pt x="19" y="23"/>
                </a:lnTo>
                <a:lnTo>
                  <a:pt x="19" y="26"/>
                </a:lnTo>
                <a:lnTo>
                  <a:pt x="19" y="29"/>
                </a:lnTo>
                <a:lnTo>
                  <a:pt x="19" y="32"/>
                </a:lnTo>
                <a:lnTo>
                  <a:pt x="22" y="35"/>
                </a:lnTo>
                <a:lnTo>
                  <a:pt x="22" y="37"/>
                </a:lnTo>
                <a:lnTo>
                  <a:pt x="26" y="42"/>
                </a:lnTo>
                <a:lnTo>
                  <a:pt x="28" y="44"/>
                </a:lnTo>
                <a:lnTo>
                  <a:pt x="30" y="44"/>
                </a:lnTo>
                <a:lnTo>
                  <a:pt x="32" y="44"/>
                </a:lnTo>
                <a:lnTo>
                  <a:pt x="34" y="42"/>
                </a:lnTo>
                <a:lnTo>
                  <a:pt x="37" y="39"/>
                </a:lnTo>
                <a:lnTo>
                  <a:pt x="39" y="37"/>
                </a:lnTo>
                <a:lnTo>
                  <a:pt x="43" y="36"/>
                </a:lnTo>
                <a:lnTo>
                  <a:pt x="50" y="36"/>
                </a:lnTo>
                <a:lnTo>
                  <a:pt x="57" y="35"/>
                </a:lnTo>
                <a:lnTo>
                  <a:pt x="60" y="33"/>
                </a:lnTo>
                <a:lnTo>
                  <a:pt x="62" y="33"/>
                </a:lnTo>
                <a:lnTo>
                  <a:pt x="66" y="33"/>
                </a:lnTo>
                <a:lnTo>
                  <a:pt x="64" y="35"/>
                </a:lnTo>
                <a:lnTo>
                  <a:pt x="63" y="36"/>
                </a:lnTo>
                <a:lnTo>
                  <a:pt x="57" y="38"/>
                </a:lnTo>
                <a:lnTo>
                  <a:pt x="53" y="39"/>
                </a:lnTo>
                <a:lnTo>
                  <a:pt x="50" y="41"/>
                </a:lnTo>
                <a:lnTo>
                  <a:pt x="46" y="45"/>
                </a:lnTo>
                <a:lnTo>
                  <a:pt x="43" y="49"/>
                </a:lnTo>
                <a:lnTo>
                  <a:pt x="39" y="53"/>
                </a:lnTo>
                <a:lnTo>
                  <a:pt x="41" y="53"/>
                </a:lnTo>
                <a:lnTo>
                  <a:pt x="41" y="55"/>
                </a:lnTo>
                <a:lnTo>
                  <a:pt x="43" y="56"/>
                </a:lnTo>
                <a:lnTo>
                  <a:pt x="44" y="61"/>
                </a:lnTo>
                <a:lnTo>
                  <a:pt x="47" y="66"/>
                </a:lnTo>
                <a:lnTo>
                  <a:pt x="49" y="68"/>
                </a:lnTo>
                <a:lnTo>
                  <a:pt x="49" y="80"/>
                </a:lnTo>
                <a:lnTo>
                  <a:pt x="50" y="82"/>
                </a:lnTo>
                <a:lnTo>
                  <a:pt x="52" y="82"/>
                </a:lnTo>
                <a:lnTo>
                  <a:pt x="53" y="83"/>
                </a:lnTo>
                <a:lnTo>
                  <a:pt x="57" y="83"/>
                </a:lnTo>
                <a:lnTo>
                  <a:pt x="60" y="82"/>
                </a:lnTo>
                <a:lnTo>
                  <a:pt x="60" y="85"/>
                </a:lnTo>
                <a:lnTo>
                  <a:pt x="57" y="86"/>
                </a:lnTo>
                <a:lnTo>
                  <a:pt x="53" y="88"/>
                </a:lnTo>
                <a:lnTo>
                  <a:pt x="50" y="91"/>
                </a:lnTo>
                <a:lnTo>
                  <a:pt x="47" y="93"/>
                </a:lnTo>
                <a:lnTo>
                  <a:pt x="45" y="94"/>
                </a:lnTo>
                <a:lnTo>
                  <a:pt x="44" y="95"/>
                </a:lnTo>
                <a:lnTo>
                  <a:pt x="40" y="95"/>
                </a:lnTo>
                <a:lnTo>
                  <a:pt x="28" y="73"/>
                </a:lnTo>
                <a:lnTo>
                  <a:pt x="30" y="72"/>
                </a:lnTo>
                <a:lnTo>
                  <a:pt x="31" y="69"/>
                </a:lnTo>
                <a:lnTo>
                  <a:pt x="31" y="67"/>
                </a:lnTo>
                <a:lnTo>
                  <a:pt x="31" y="65"/>
                </a:lnTo>
                <a:lnTo>
                  <a:pt x="30" y="63"/>
                </a:lnTo>
                <a:lnTo>
                  <a:pt x="25" y="63"/>
                </a:lnTo>
                <a:lnTo>
                  <a:pt x="24" y="63"/>
                </a:lnTo>
                <a:lnTo>
                  <a:pt x="22" y="63"/>
                </a:lnTo>
                <a:lnTo>
                  <a:pt x="19" y="85"/>
                </a:lnTo>
                <a:lnTo>
                  <a:pt x="19" y="96"/>
                </a:lnTo>
                <a:lnTo>
                  <a:pt x="19" y="102"/>
                </a:lnTo>
                <a:lnTo>
                  <a:pt x="18" y="104"/>
                </a:lnTo>
                <a:lnTo>
                  <a:pt x="17" y="105"/>
                </a:lnTo>
                <a:lnTo>
                  <a:pt x="15" y="107"/>
                </a:lnTo>
                <a:lnTo>
                  <a:pt x="13" y="108"/>
                </a:lnTo>
                <a:lnTo>
                  <a:pt x="11" y="109"/>
                </a:lnTo>
                <a:lnTo>
                  <a:pt x="9" y="109"/>
                </a:lnTo>
                <a:lnTo>
                  <a:pt x="6" y="109"/>
                </a:lnTo>
                <a:lnTo>
                  <a:pt x="5" y="108"/>
                </a:lnTo>
                <a:lnTo>
                  <a:pt x="5" y="105"/>
                </a:lnTo>
                <a:lnTo>
                  <a:pt x="5" y="104"/>
                </a:lnTo>
                <a:lnTo>
                  <a:pt x="5" y="101"/>
                </a:lnTo>
                <a:lnTo>
                  <a:pt x="6" y="99"/>
                </a:lnTo>
                <a:lnTo>
                  <a:pt x="8" y="93"/>
                </a:lnTo>
                <a:lnTo>
                  <a:pt x="9" y="88"/>
                </a:lnTo>
                <a:lnTo>
                  <a:pt x="9" y="85"/>
                </a:lnTo>
                <a:lnTo>
                  <a:pt x="9" y="82"/>
                </a:lnTo>
                <a:lnTo>
                  <a:pt x="9" y="79"/>
                </a:lnTo>
                <a:lnTo>
                  <a:pt x="9" y="77"/>
                </a:lnTo>
                <a:lnTo>
                  <a:pt x="6" y="76"/>
                </a:lnTo>
                <a:lnTo>
                  <a:pt x="3" y="75"/>
                </a:lnTo>
                <a:lnTo>
                  <a:pt x="1" y="74"/>
                </a:lnTo>
                <a:lnTo>
                  <a:pt x="0" y="73"/>
                </a:lnTo>
                <a:lnTo>
                  <a:pt x="0" y="72"/>
                </a:lnTo>
                <a:lnTo>
                  <a:pt x="0" y="67"/>
                </a:lnTo>
                <a:lnTo>
                  <a:pt x="1" y="62"/>
                </a:lnTo>
                <a:lnTo>
                  <a:pt x="2" y="58"/>
                </a:lnTo>
                <a:lnTo>
                  <a:pt x="4" y="52"/>
                </a:lnTo>
                <a:lnTo>
                  <a:pt x="6" y="47"/>
                </a:lnTo>
                <a:lnTo>
                  <a:pt x="9" y="42"/>
                </a:lnTo>
                <a:lnTo>
                  <a:pt x="12" y="36"/>
                </a:lnTo>
                <a:lnTo>
                  <a:pt x="13" y="36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8" name="Freeform 57">
            <a:extLst>
              <a:ext uri="{FF2B5EF4-FFF2-40B4-BE49-F238E27FC236}">
                <a16:creationId xmlns:a16="http://schemas.microsoft.com/office/drawing/2014/main" id="{1E460F5E-3BE7-25F7-9708-FC3D2CA9EC6D}"/>
              </a:ext>
            </a:extLst>
          </p:cNvPr>
          <p:cNvSpPr>
            <a:spLocks/>
          </p:cNvSpPr>
          <p:nvPr/>
        </p:nvSpPr>
        <p:spPr bwMode="auto">
          <a:xfrm>
            <a:off x="9337050" y="4929034"/>
            <a:ext cx="295275" cy="220663"/>
          </a:xfrm>
          <a:custGeom>
            <a:avLst/>
            <a:gdLst>
              <a:gd name="T0" fmla="*/ 113 w 145"/>
              <a:gd name="T1" fmla="*/ 2 h 118"/>
              <a:gd name="T2" fmla="*/ 100 w 145"/>
              <a:gd name="T3" fmla="*/ 0 h 118"/>
              <a:gd name="T4" fmla="*/ 92 w 145"/>
              <a:gd name="T5" fmla="*/ 3 h 118"/>
              <a:gd name="T6" fmla="*/ 85 w 145"/>
              <a:gd name="T7" fmla="*/ 9 h 118"/>
              <a:gd name="T8" fmla="*/ 77 w 145"/>
              <a:gd name="T9" fmla="*/ 31 h 118"/>
              <a:gd name="T10" fmla="*/ 73 w 145"/>
              <a:gd name="T11" fmla="*/ 40 h 118"/>
              <a:gd name="T12" fmla="*/ 67 w 145"/>
              <a:gd name="T13" fmla="*/ 39 h 118"/>
              <a:gd name="T14" fmla="*/ 59 w 145"/>
              <a:gd name="T15" fmla="*/ 34 h 118"/>
              <a:gd name="T16" fmla="*/ 50 w 145"/>
              <a:gd name="T17" fmla="*/ 35 h 118"/>
              <a:gd name="T18" fmla="*/ 36 w 145"/>
              <a:gd name="T19" fmla="*/ 44 h 118"/>
              <a:gd name="T20" fmla="*/ 19 w 145"/>
              <a:gd name="T21" fmla="*/ 42 h 118"/>
              <a:gd name="T22" fmla="*/ 13 w 145"/>
              <a:gd name="T23" fmla="*/ 39 h 118"/>
              <a:gd name="T24" fmla="*/ 12 w 145"/>
              <a:gd name="T25" fmla="*/ 33 h 118"/>
              <a:gd name="T26" fmla="*/ 10 w 145"/>
              <a:gd name="T27" fmla="*/ 29 h 118"/>
              <a:gd name="T28" fmla="*/ 4 w 145"/>
              <a:gd name="T29" fmla="*/ 35 h 118"/>
              <a:gd name="T30" fmla="*/ 0 w 145"/>
              <a:gd name="T31" fmla="*/ 45 h 118"/>
              <a:gd name="T32" fmla="*/ 1 w 145"/>
              <a:gd name="T33" fmla="*/ 53 h 118"/>
              <a:gd name="T34" fmla="*/ 5 w 145"/>
              <a:gd name="T35" fmla="*/ 58 h 118"/>
              <a:gd name="T36" fmla="*/ 3 w 145"/>
              <a:gd name="T37" fmla="*/ 61 h 118"/>
              <a:gd name="T38" fmla="*/ 7 w 145"/>
              <a:gd name="T39" fmla="*/ 69 h 118"/>
              <a:gd name="T40" fmla="*/ 12 w 145"/>
              <a:gd name="T41" fmla="*/ 74 h 118"/>
              <a:gd name="T42" fmla="*/ 16 w 145"/>
              <a:gd name="T43" fmla="*/ 76 h 118"/>
              <a:gd name="T44" fmla="*/ 16 w 145"/>
              <a:gd name="T45" fmla="*/ 80 h 118"/>
              <a:gd name="T46" fmla="*/ 15 w 145"/>
              <a:gd name="T47" fmla="*/ 84 h 118"/>
              <a:gd name="T48" fmla="*/ 16 w 145"/>
              <a:gd name="T49" fmla="*/ 88 h 118"/>
              <a:gd name="T50" fmla="*/ 19 w 145"/>
              <a:gd name="T51" fmla="*/ 96 h 118"/>
              <a:gd name="T52" fmla="*/ 29 w 145"/>
              <a:gd name="T53" fmla="*/ 101 h 118"/>
              <a:gd name="T54" fmla="*/ 39 w 145"/>
              <a:gd name="T55" fmla="*/ 101 h 118"/>
              <a:gd name="T56" fmla="*/ 41 w 145"/>
              <a:gd name="T57" fmla="*/ 104 h 118"/>
              <a:gd name="T58" fmla="*/ 44 w 145"/>
              <a:gd name="T59" fmla="*/ 107 h 118"/>
              <a:gd name="T60" fmla="*/ 56 w 145"/>
              <a:gd name="T61" fmla="*/ 104 h 118"/>
              <a:gd name="T62" fmla="*/ 65 w 145"/>
              <a:gd name="T63" fmla="*/ 104 h 118"/>
              <a:gd name="T64" fmla="*/ 77 w 145"/>
              <a:gd name="T65" fmla="*/ 107 h 118"/>
              <a:gd name="T66" fmla="*/ 80 w 145"/>
              <a:gd name="T67" fmla="*/ 113 h 118"/>
              <a:gd name="T68" fmla="*/ 81 w 145"/>
              <a:gd name="T69" fmla="*/ 117 h 118"/>
              <a:gd name="T70" fmla="*/ 87 w 145"/>
              <a:gd name="T71" fmla="*/ 117 h 118"/>
              <a:gd name="T72" fmla="*/ 100 w 145"/>
              <a:gd name="T73" fmla="*/ 111 h 118"/>
              <a:gd name="T74" fmla="*/ 108 w 145"/>
              <a:gd name="T75" fmla="*/ 110 h 118"/>
              <a:gd name="T76" fmla="*/ 107 w 145"/>
              <a:gd name="T77" fmla="*/ 106 h 118"/>
              <a:gd name="T78" fmla="*/ 106 w 145"/>
              <a:gd name="T79" fmla="*/ 101 h 118"/>
              <a:gd name="T80" fmla="*/ 110 w 145"/>
              <a:gd name="T81" fmla="*/ 97 h 118"/>
              <a:gd name="T82" fmla="*/ 110 w 145"/>
              <a:gd name="T83" fmla="*/ 87 h 118"/>
              <a:gd name="T84" fmla="*/ 110 w 145"/>
              <a:gd name="T85" fmla="*/ 82 h 118"/>
              <a:gd name="T86" fmla="*/ 113 w 145"/>
              <a:gd name="T87" fmla="*/ 78 h 118"/>
              <a:gd name="T88" fmla="*/ 120 w 145"/>
              <a:gd name="T89" fmla="*/ 70 h 118"/>
              <a:gd name="T90" fmla="*/ 127 w 145"/>
              <a:gd name="T91" fmla="*/ 52 h 118"/>
              <a:gd name="T92" fmla="*/ 131 w 145"/>
              <a:gd name="T93" fmla="*/ 46 h 118"/>
              <a:gd name="T94" fmla="*/ 139 w 145"/>
              <a:gd name="T95" fmla="*/ 46 h 118"/>
              <a:gd name="T96" fmla="*/ 136 w 145"/>
              <a:gd name="T97" fmla="*/ 35 h 118"/>
              <a:gd name="T98" fmla="*/ 131 w 145"/>
              <a:gd name="T99" fmla="*/ 30 h 118"/>
              <a:gd name="T100" fmla="*/ 132 w 145"/>
              <a:gd name="T101" fmla="*/ 26 h 118"/>
              <a:gd name="T102" fmla="*/ 132 w 145"/>
              <a:gd name="T103" fmla="*/ 22 h 118"/>
              <a:gd name="T104" fmla="*/ 127 w 145"/>
              <a:gd name="T105" fmla="*/ 16 h 118"/>
              <a:gd name="T106" fmla="*/ 123 w 145"/>
              <a:gd name="T107" fmla="*/ 6 h 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45" h="118">
                <a:moveTo>
                  <a:pt x="123" y="3"/>
                </a:moveTo>
                <a:lnTo>
                  <a:pt x="118" y="3"/>
                </a:lnTo>
                <a:lnTo>
                  <a:pt x="113" y="2"/>
                </a:lnTo>
                <a:lnTo>
                  <a:pt x="109" y="0"/>
                </a:lnTo>
                <a:lnTo>
                  <a:pt x="103" y="0"/>
                </a:lnTo>
                <a:lnTo>
                  <a:pt x="100" y="0"/>
                </a:lnTo>
                <a:lnTo>
                  <a:pt x="97" y="0"/>
                </a:lnTo>
                <a:lnTo>
                  <a:pt x="94" y="2"/>
                </a:lnTo>
                <a:lnTo>
                  <a:pt x="92" y="3"/>
                </a:lnTo>
                <a:lnTo>
                  <a:pt x="90" y="4"/>
                </a:lnTo>
                <a:lnTo>
                  <a:pt x="87" y="6"/>
                </a:lnTo>
                <a:lnTo>
                  <a:pt x="85" y="9"/>
                </a:lnTo>
                <a:lnTo>
                  <a:pt x="82" y="15"/>
                </a:lnTo>
                <a:lnTo>
                  <a:pt x="80" y="20"/>
                </a:lnTo>
                <a:lnTo>
                  <a:pt x="77" y="31"/>
                </a:lnTo>
                <a:lnTo>
                  <a:pt x="76" y="38"/>
                </a:lnTo>
                <a:lnTo>
                  <a:pt x="74" y="39"/>
                </a:lnTo>
                <a:lnTo>
                  <a:pt x="73" y="40"/>
                </a:lnTo>
                <a:lnTo>
                  <a:pt x="70" y="42"/>
                </a:lnTo>
                <a:lnTo>
                  <a:pt x="68" y="40"/>
                </a:lnTo>
                <a:lnTo>
                  <a:pt x="67" y="39"/>
                </a:lnTo>
                <a:lnTo>
                  <a:pt x="63" y="38"/>
                </a:lnTo>
                <a:lnTo>
                  <a:pt x="60" y="35"/>
                </a:lnTo>
                <a:lnTo>
                  <a:pt x="59" y="34"/>
                </a:lnTo>
                <a:lnTo>
                  <a:pt x="56" y="33"/>
                </a:lnTo>
                <a:lnTo>
                  <a:pt x="53" y="34"/>
                </a:lnTo>
                <a:lnTo>
                  <a:pt x="50" y="35"/>
                </a:lnTo>
                <a:lnTo>
                  <a:pt x="45" y="39"/>
                </a:lnTo>
                <a:lnTo>
                  <a:pt x="39" y="43"/>
                </a:lnTo>
                <a:lnTo>
                  <a:pt x="36" y="44"/>
                </a:lnTo>
                <a:lnTo>
                  <a:pt x="33" y="45"/>
                </a:lnTo>
                <a:lnTo>
                  <a:pt x="25" y="44"/>
                </a:lnTo>
                <a:lnTo>
                  <a:pt x="19" y="42"/>
                </a:lnTo>
                <a:lnTo>
                  <a:pt x="16" y="42"/>
                </a:lnTo>
                <a:lnTo>
                  <a:pt x="14" y="39"/>
                </a:lnTo>
                <a:lnTo>
                  <a:pt x="13" y="39"/>
                </a:lnTo>
                <a:lnTo>
                  <a:pt x="13" y="38"/>
                </a:lnTo>
                <a:lnTo>
                  <a:pt x="12" y="35"/>
                </a:lnTo>
                <a:lnTo>
                  <a:pt x="12" y="33"/>
                </a:lnTo>
                <a:lnTo>
                  <a:pt x="12" y="29"/>
                </a:lnTo>
                <a:lnTo>
                  <a:pt x="13" y="27"/>
                </a:lnTo>
                <a:lnTo>
                  <a:pt x="10" y="29"/>
                </a:lnTo>
                <a:lnTo>
                  <a:pt x="9" y="30"/>
                </a:lnTo>
                <a:lnTo>
                  <a:pt x="6" y="32"/>
                </a:lnTo>
                <a:lnTo>
                  <a:pt x="4" y="35"/>
                </a:lnTo>
                <a:lnTo>
                  <a:pt x="2" y="39"/>
                </a:lnTo>
                <a:lnTo>
                  <a:pt x="1" y="42"/>
                </a:lnTo>
                <a:lnTo>
                  <a:pt x="0" y="45"/>
                </a:lnTo>
                <a:lnTo>
                  <a:pt x="0" y="48"/>
                </a:lnTo>
                <a:lnTo>
                  <a:pt x="0" y="51"/>
                </a:lnTo>
                <a:lnTo>
                  <a:pt x="1" y="53"/>
                </a:lnTo>
                <a:lnTo>
                  <a:pt x="3" y="55"/>
                </a:lnTo>
                <a:lnTo>
                  <a:pt x="5" y="57"/>
                </a:lnTo>
                <a:lnTo>
                  <a:pt x="5" y="58"/>
                </a:lnTo>
                <a:lnTo>
                  <a:pt x="4" y="58"/>
                </a:lnTo>
                <a:lnTo>
                  <a:pt x="3" y="60"/>
                </a:lnTo>
                <a:lnTo>
                  <a:pt x="3" y="61"/>
                </a:lnTo>
                <a:lnTo>
                  <a:pt x="4" y="65"/>
                </a:lnTo>
                <a:lnTo>
                  <a:pt x="6" y="67"/>
                </a:lnTo>
                <a:lnTo>
                  <a:pt x="7" y="69"/>
                </a:lnTo>
                <a:lnTo>
                  <a:pt x="10" y="70"/>
                </a:lnTo>
                <a:lnTo>
                  <a:pt x="10" y="74"/>
                </a:lnTo>
                <a:lnTo>
                  <a:pt x="12" y="74"/>
                </a:lnTo>
                <a:lnTo>
                  <a:pt x="15" y="74"/>
                </a:lnTo>
                <a:lnTo>
                  <a:pt x="16" y="75"/>
                </a:lnTo>
                <a:lnTo>
                  <a:pt x="16" y="76"/>
                </a:lnTo>
                <a:lnTo>
                  <a:pt x="16" y="78"/>
                </a:lnTo>
                <a:lnTo>
                  <a:pt x="16" y="79"/>
                </a:lnTo>
                <a:lnTo>
                  <a:pt x="16" y="80"/>
                </a:lnTo>
                <a:lnTo>
                  <a:pt x="16" y="81"/>
                </a:lnTo>
                <a:lnTo>
                  <a:pt x="15" y="83"/>
                </a:lnTo>
                <a:lnTo>
                  <a:pt x="15" y="84"/>
                </a:lnTo>
                <a:lnTo>
                  <a:pt x="15" y="87"/>
                </a:lnTo>
                <a:lnTo>
                  <a:pt x="16" y="90"/>
                </a:lnTo>
                <a:lnTo>
                  <a:pt x="16" y="88"/>
                </a:lnTo>
                <a:lnTo>
                  <a:pt x="16" y="93"/>
                </a:lnTo>
                <a:lnTo>
                  <a:pt x="18" y="94"/>
                </a:lnTo>
                <a:lnTo>
                  <a:pt x="19" y="96"/>
                </a:lnTo>
                <a:lnTo>
                  <a:pt x="22" y="98"/>
                </a:lnTo>
                <a:lnTo>
                  <a:pt x="26" y="100"/>
                </a:lnTo>
                <a:lnTo>
                  <a:pt x="29" y="101"/>
                </a:lnTo>
                <a:lnTo>
                  <a:pt x="32" y="101"/>
                </a:lnTo>
                <a:lnTo>
                  <a:pt x="34" y="101"/>
                </a:lnTo>
                <a:lnTo>
                  <a:pt x="39" y="101"/>
                </a:lnTo>
                <a:lnTo>
                  <a:pt x="40" y="102"/>
                </a:lnTo>
                <a:lnTo>
                  <a:pt x="41" y="103"/>
                </a:lnTo>
                <a:lnTo>
                  <a:pt x="41" y="104"/>
                </a:lnTo>
                <a:lnTo>
                  <a:pt x="40" y="106"/>
                </a:lnTo>
                <a:lnTo>
                  <a:pt x="42" y="107"/>
                </a:lnTo>
                <a:lnTo>
                  <a:pt x="44" y="107"/>
                </a:lnTo>
                <a:lnTo>
                  <a:pt x="47" y="107"/>
                </a:lnTo>
                <a:lnTo>
                  <a:pt x="52" y="106"/>
                </a:lnTo>
                <a:lnTo>
                  <a:pt x="56" y="104"/>
                </a:lnTo>
                <a:lnTo>
                  <a:pt x="60" y="103"/>
                </a:lnTo>
                <a:lnTo>
                  <a:pt x="63" y="103"/>
                </a:lnTo>
                <a:lnTo>
                  <a:pt x="65" y="104"/>
                </a:lnTo>
                <a:lnTo>
                  <a:pt x="70" y="105"/>
                </a:lnTo>
                <a:lnTo>
                  <a:pt x="74" y="107"/>
                </a:lnTo>
                <a:lnTo>
                  <a:pt x="77" y="107"/>
                </a:lnTo>
                <a:lnTo>
                  <a:pt x="80" y="109"/>
                </a:lnTo>
                <a:lnTo>
                  <a:pt x="80" y="112"/>
                </a:lnTo>
                <a:lnTo>
                  <a:pt x="80" y="113"/>
                </a:lnTo>
                <a:lnTo>
                  <a:pt x="80" y="115"/>
                </a:lnTo>
                <a:lnTo>
                  <a:pt x="80" y="116"/>
                </a:lnTo>
                <a:lnTo>
                  <a:pt x="81" y="117"/>
                </a:lnTo>
                <a:lnTo>
                  <a:pt x="82" y="117"/>
                </a:lnTo>
                <a:lnTo>
                  <a:pt x="83" y="117"/>
                </a:lnTo>
                <a:lnTo>
                  <a:pt x="87" y="117"/>
                </a:lnTo>
                <a:lnTo>
                  <a:pt x="90" y="116"/>
                </a:lnTo>
                <a:lnTo>
                  <a:pt x="95" y="114"/>
                </a:lnTo>
                <a:lnTo>
                  <a:pt x="100" y="111"/>
                </a:lnTo>
                <a:lnTo>
                  <a:pt x="104" y="110"/>
                </a:lnTo>
                <a:lnTo>
                  <a:pt x="109" y="110"/>
                </a:lnTo>
                <a:lnTo>
                  <a:pt x="108" y="110"/>
                </a:lnTo>
                <a:lnTo>
                  <a:pt x="109" y="107"/>
                </a:lnTo>
                <a:lnTo>
                  <a:pt x="108" y="107"/>
                </a:lnTo>
                <a:lnTo>
                  <a:pt x="107" y="106"/>
                </a:lnTo>
                <a:lnTo>
                  <a:pt x="106" y="105"/>
                </a:lnTo>
                <a:lnTo>
                  <a:pt x="106" y="103"/>
                </a:lnTo>
                <a:lnTo>
                  <a:pt x="106" y="101"/>
                </a:lnTo>
                <a:lnTo>
                  <a:pt x="108" y="100"/>
                </a:lnTo>
                <a:lnTo>
                  <a:pt x="109" y="97"/>
                </a:lnTo>
                <a:lnTo>
                  <a:pt x="110" y="97"/>
                </a:lnTo>
                <a:lnTo>
                  <a:pt x="110" y="94"/>
                </a:lnTo>
                <a:lnTo>
                  <a:pt x="110" y="92"/>
                </a:lnTo>
                <a:lnTo>
                  <a:pt x="110" y="87"/>
                </a:lnTo>
                <a:lnTo>
                  <a:pt x="110" y="85"/>
                </a:lnTo>
                <a:lnTo>
                  <a:pt x="110" y="84"/>
                </a:lnTo>
                <a:lnTo>
                  <a:pt x="110" y="82"/>
                </a:lnTo>
                <a:lnTo>
                  <a:pt x="110" y="79"/>
                </a:lnTo>
                <a:lnTo>
                  <a:pt x="112" y="78"/>
                </a:lnTo>
                <a:lnTo>
                  <a:pt x="113" y="78"/>
                </a:lnTo>
                <a:lnTo>
                  <a:pt x="114" y="75"/>
                </a:lnTo>
                <a:lnTo>
                  <a:pt x="118" y="73"/>
                </a:lnTo>
                <a:lnTo>
                  <a:pt x="120" y="70"/>
                </a:lnTo>
                <a:lnTo>
                  <a:pt x="122" y="66"/>
                </a:lnTo>
                <a:lnTo>
                  <a:pt x="126" y="57"/>
                </a:lnTo>
                <a:lnTo>
                  <a:pt x="127" y="52"/>
                </a:lnTo>
                <a:lnTo>
                  <a:pt x="130" y="48"/>
                </a:lnTo>
                <a:lnTo>
                  <a:pt x="130" y="47"/>
                </a:lnTo>
                <a:lnTo>
                  <a:pt x="131" y="46"/>
                </a:lnTo>
                <a:lnTo>
                  <a:pt x="133" y="45"/>
                </a:lnTo>
                <a:lnTo>
                  <a:pt x="134" y="45"/>
                </a:lnTo>
                <a:lnTo>
                  <a:pt x="139" y="46"/>
                </a:lnTo>
                <a:lnTo>
                  <a:pt x="144" y="45"/>
                </a:lnTo>
                <a:lnTo>
                  <a:pt x="144" y="42"/>
                </a:lnTo>
                <a:lnTo>
                  <a:pt x="136" y="35"/>
                </a:lnTo>
                <a:lnTo>
                  <a:pt x="134" y="34"/>
                </a:lnTo>
                <a:lnTo>
                  <a:pt x="133" y="32"/>
                </a:lnTo>
                <a:lnTo>
                  <a:pt x="131" y="30"/>
                </a:lnTo>
                <a:lnTo>
                  <a:pt x="131" y="27"/>
                </a:lnTo>
                <a:lnTo>
                  <a:pt x="131" y="26"/>
                </a:lnTo>
                <a:lnTo>
                  <a:pt x="132" y="26"/>
                </a:lnTo>
                <a:lnTo>
                  <a:pt x="133" y="25"/>
                </a:lnTo>
                <a:lnTo>
                  <a:pt x="134" y="22"/>
                </a:lnTo>
                <a:lnTo>
                  <a:pt x="132" y="22"/>
                </a:lnTo>
                <a:lnTo>
                  <a:pt x="130" y="21"/>
                </a:lnTo>
                <a:lnTo>
                  <a:pt x="128" y="19"/>
                </a:lnTo>
                <a:lnTo>
                  <a:pt x="127" y="16"/>
                </a:lnTo>
                <a:lnTo>
                  <a:pt x="123" y="11"/>
                </a:lnTo>
                <a:lnTo>
                  <a:pt x="123" y="9"/>
                </a:lnTo>
                <a:lnTo>
                  <a:pt x="123" y="6"/>
                </a:lnTo>
                <a:lnTo>
                  <a:pt x="123" y="3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9" name="Freeform 58">
            <a:extLst>
              <a:ext uri="{FF2B5EF4-FFF2-40B4-BE49-F238E27FC236}">
                <a16:creationId xmlns:a16="http://schemas.microsoft.com/office/drawing/2014/main" id="{E4D54A25-6DB9-9E30-7482-689EFCBBA551}"/>
              </a:ext>
            </a:extLst>
          </p:cNvPr>
          <p:cNvSpPr>
            <a:spLocks/>
          </p:cNvSpPr>
          <p:nvPr/>
        </p:nvSpPr>
        <p:spPr bwMode="auto">
          <a:xfrm>
            <a:off x="9362450" y="4843309"/>
            <a:ext cx="277813" cy="174625"/>
          </a:xfrm>
          <a:custGeom>
            <a:avLst/>
            <a:gdLst>
              <a:gd name="T0" fmla="*/ 61 w 138"/>
              <a:gd name="T1" fmla="*/ 51 h 93"/>
              <a:gd name="T2" fmla="*/ 62 w 138"/>
              <a:gd name="T3" fmla="*/ 49 h 93"/>
              <a:gd name="T4" fmla="*/ 61 w 138"/>
              <a:gd name="T5" fmla="*/ 45 h 93"/>
              <a:gd name="T6" fmla="*/ 66 w 138"/>
              <a:gd name="T7" fmla="*/ 47 h 93"/>
              <a:gd name="T8" fmla="*/ 68 w 138"/>
              <a:gd name="T9" fmla="*/ 44 h 93"/>
              <a:gd name="T10" fmla="*/ 65 w 138"/>
              <a:gd name="T11" fmla="*/ 41 h 93"/>
              <a:gd name="T12" fmla="*/ 63 w 138"/>
              <a:gd name="T13" fmla="*/ 39 h 93"/>
              <a:gd name="T14" fmla="*/ 65 w 138"/>
              <a:gd name="T15" fmla="*/ 36 h 93"/>
              <a:gd name="T16" fmla="*/ 74 w 138"/>
              <a:gd name="T17" fmla="*/ 33 h 93"/>
              <a:gd name="T18" fmla="*/ 80 w 138"/>
              <a:gd name="T19" fmla="*/ 29 h 93"/>
              <a:gd name="T20" fmla="*/ 83 w 138"/>
              <a:gd name="T21" fmla="*/ 23 h 93"/>
              <a:gd name="T22" fmla="*/ 89 w 138"/>
              <a:gd name="T23" fmla="*/ 13 h 93"/>
              <a:gd name="T24" fmla="*/ 96 w 138"/>
              <a:gd name="T25" fmla="*/ 4 h 93"/>
              <a:gd name="T26" fmla="*/ 102 w 138"/>
              <a:gd name="T27" fmla="*/ 0 h 93"/>
              <a:gd name="T28" fmla="*/ 105 w 138"/>
              <a:gd name="T29" fmla="*/ 0 h 93"/>
              <a:gd name="T30" fmla="*/ 109 w 138"/>
              <a:gd name="T31" fmla="*/ 4 h 93"/>
              <a:gd name="T32" fmla="*/ 113 w 138"/>
              <a:gd name="T33" fmla="*/ 13 h 93"/>
              <a:gd name="T34" fmla="*/ 117 w 138"/>
              <a:gd name="T35" fmla="*/ 17 h 93"/>
              <a:gd name="T36" fmla="*/ 125 w 138"/>
              <a:gd name="T37" fmla="*/ 20 h 93"/>
              <a:gd name="T38" fmla="*/ 133 w 138"/>
              <a:gd name="T39" fmla="*/ 23 h 93"/>
              <a:gd name="T40" fmla="*/ 137 w 138"/>
              <a:gd name="T41" fmla="*/ 26 h 93"/>
              <a:gd name="T42" fmla="*/ 136 w 138"/>
              <a:gd name="T43" fmla="*/ 28 h 93"/>
              <a:gd name="T44" fmla="*/ 131 w 138"/>
              <a:gd name="T45" fmla="*/ 30 h 93"/>
              <a:gd name="T46" fmla="*/ 125 w 138"/>
              <a:gd name="T47" fmla="*/ 30 h 93"/>
              <a:gd name="T48" fmla="*/ 120 w 138"/>
              <a:gd name="T49" fmla="*/ 31 h 93"/>
              <a:gd name="T50" fmla="*/ 119 w 138"/>
              <a:gd name="T51" fmla="*/ 33 h 93"/>
              <a:gd name="T52" fmla="*/ 125 w 138"/>
              <a:gd name="T53" fmla="*/ 37 h 93"/>
              <a:gd name="T54" fmla="*/ 120 w 138"/>
              <a:gd name="T55" fmla="*/ 40 h 93"/>
              <a:gd name="T56" fmla="*/ 114 w 138"/>
              <a:gd name="T57" fmla="*/ 44 h 93"/>
              <a:gd name="T58" fmla="*/ 113 w 138"/>
              <a:gd name="T59" fmla="*/ 46 h 93"/>
              <a:gd name="T60" fmla="*/ 110 w 138"/>
              <a:gd name="T61" fmla="*/ 50 h 93"/>
              <a:gd name="T62" fmla="*/ 101 w 138"/>
              <a:gd name="T63" fmla="*/ 48 h 93"/>
              <a:gd name="T64" fmla="*/ 91 w 138"/>
              <a:gd name="T65" fmla="*/ 46 h 93"/>
              <a:gd name="T66" fmla="*/ 84 w 138"/>
              <a:gd name="T67" fmla="*/ 47 h 93"/>
              <a:gd name="T68" fmla="*/ 80 w 138"/>
              <a:gd name="T69" fmla="*/ 49 h 93"/>
              <a:gd name="T70" fmla="*/ 75 w 138"/>
              <a:gd name="T71" fmla="*/ 53 h 93"/>
              <a:gd name="T72" fmla="*/ 70 w 138"/>
              <a:gd name="T73" fmla="*/ 61 h 93"/>
              <a:gd name="T74" fmla="*/ 64 w 138"/>
              <a:gd name="T75" fmla="*/ 78 h 93"/>
              <a:gd name="T76" fmla="*/ 62 w 138"/>
              <a:gd name="T77" fmla="*/ 85 h 93"/>
              <a:gd name="T78" fmla="*/ 60 w 138"/>
              <a:gd name="T79" fmla="*/ 87 h 93"/>
              <a:gd name="T80" fmla="*/ 56 w 138"/>
              <a:gd name="T81" fmla="*/ 87 h 93"/>
              <a:gd name="T82" fmla="*/ 51 w 138"/>
              <a:gd name="T83" fmla="*/ 85 h 93"/>
              <a:gd name="T84" fmla="*/ 46 w 138"/>
              <a:gd name="T85" fmla="*/ 81 h 93"/>
              <a:gd name="T86" fmla="*/ 41 w 138"/>
              <a:gd name="T87" fmla="*/ 81 h 93"/>
              <a:gd name="T88" fmla="*/ 33 w 138"/>
              <a:gd name="T89" fmla="*/ 85 h 93"/>
              <a:gd name="T90" fmla="*/ 23 w 138"/>
              <a:gd name="T91" fmla="*/ 91 h 93"/>
              <a:gd name="T92" fmla="*/ 13 w 138"/>
              <a:gd name="T93" fmla="*/ 91 h 93"/>
              <a:gd name="T94" fmla="*/ 3 w 138"/>
              <a:gd name="T95" fmla="*/ 88 h 93"/>
              <a:gd name="T96" fmla="*/ 1 w 138"/>
              <a:gd name="T97" fmla="*/ 85 h 93"/>
              <a:gd name="T98" fmla="*/ 0 w 138"/>
              <a:gd name="T99" fmla="*/ 80 h 93"/>
              <a:gd name="T100" fmla="*/ 1 w 138"/>
              <a:gd name="T101" fmla="*/ 74 h 93"/>
              <a:gd name="T102" fmla="*/ 3 w 138"/>
              <a:gd name="T103" fmla="*/ 78 h 93"/>
              <a:gd name="T104" fmla="*/ 8 w 138"/>
              <a:gd name="T105" fmla="*/ 81 h 93"/>
              <a:gd name="T106" fmla="*/ 20 w 138"/>
              <a:gd name="T107" fmla="*/ 81 h 93"/>
              <a:gd name="T108" fmla="*/ 21 w 138"/>
              <a:gd name="T109" fmla="*/ 71 h 93"/>
              <a:gd name="T110" fmla="*/ 28 w 138"/>
              <a:gd name="T111" fmla="*/ 63 h 93"/>
              <a:gd name="T112" fmla="*/ 30 w 138"/>
              <a:gd name="T113" fmla="*/ 61 h 93"/>
              <a:gd name="T114" fmla="*/ 43 w 138"/>
              <a:gd name="T115" fmla="*/ 58 h 93"/>
              <a:gd name="T116" fmla="*/ 47 w 138"/>
              <a:gd name="T117" fmla="*/ 56 h 93"/>
              <a:gd name="T118" fmla="*/ 50 w 138"/>
              <a:gd name="T119" fmla="*/ 54 h 93"/>
              <a:gd name="T120" fmla="*/ 55 w 138"/>
              <a:gd name="T121" fmla="*/ 47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38" h="93">
                <a:moveTo>
                  <a:pt x="53" y="47"/>
                </a:moveTo>
                <a:lnTo>
                  <a:pt x="61" y="51"/>
                </a:lnTo>
                <a:lnTo>
                  <a:pt x="63" y="49"/>
                </a:lnTo>
                <a:lnTo>
                  <a:pt x="62" y="49"/>
                </a:lnTo>
                <a:lnTo>
                  <a:pt x="61" y="48"/>
                </a:lnTo>
                <a:lnTo>
                  <a:pt x="61" y="45"/>
                </a:lnTo>
                <a:lnTo>
                  <a:pt x="64" y="47"/>
                </a:lnTo>
                <a:lnTo>
                  <a:pt x="66" y="47"/>
                </a:lnTo>
                <a:lnTo>
                  <a:pt x="68" y="47"/>
                </a:lnTo>
                <a:lnTo>
                  <a:pt x="68" y="44"/>
                </a:lnTo>
                <a:lnTo>
                  <a:pt x="66" y="44"/>
                </a:lnTo>
                <a:lnTo>
                  <a:pt x="65" y="41"/>
                </a:lnTo>
                <a:lnTo>
                  <a:pt x="64" y="40"/>
                </a:lnTo>
                <a:lnTo>
                  <a:pt x="63" y="39"/>
                </a:lnTo>
                <a:lnTo>
                  <a:pt x="62" y="39"/>
                </a:lnTo>
                <a:lnTo>
                  <a:pt x="65" y="36"/>
                </a:lnTo>
                <a:lnTo>
                  <a:pt x="70" y="34"/>
                </a:lnTo>
                <a:lnTo>
                  <a:pt x="74" y="33"/>
                </a:lnTo>
                <a:lnTo>
                  <a:pt x="79" y="32"/>
                </a:lnTo>
                <a:lnTo>
                  <a:pt x="80" y="29"/>
                </a:lnTo>
                <a:lnTo>
                  <a:pt x="81" y="27"/>
                </a:lnTo>
                <a:lnTo>
                  <a:pt x="83" y="23"/>
                </a:lnTo>
                <a:lnTo>
                  <a:pt x="86" y="18"/>
                </a:lnTo>
                <a:lnTo>
                  <a:pt x="89" y="13"/>
                </a:lnTo>
                <a:lnTo>
                  <a:pt x="93" y="8"/>
                </a:lnTo>
                <a:lnTo>
                  <a:pt x="96" y="4"/>
                </a:lnTo>
                <a:lnTo>
                  <a:pt x="100" y="1"/>
                </a:lnTo>
                <a:lnTo>
                  <a:pt x="102" y="0"/>
                </a:lnTo>
                <a:lnTo>
                  <a:pt x="103" y="0"/>
                </a:lnTo>
                <a:lnTo>
                  <a:pt x="105" y="0"/>
                </a:lnTo>
                <a:lnTo>
                  <a:pt x="106" y="3"/>
                </a:lnTo>
                <a:lnTo>
                  <a:pt x="109" y="4"/>
                </a:lnTo>
                <a:lnTo>
                  <a:pt x="110" y="7"/>
                </a:lnTo>
                <a:lnTo>
                  <a:pt x="113" y="13"/>
                </a:lnTo>
                <a:lnTo>
                  <a:pt x="113" y="17"/>
                </a:lnTo>
                <a:lnTo>
                  <a:pt x="117" y="17"/>
                </a:lnTo>
                <a:lnTo>
                  <a:pt x="120" y="18"/>
                </a:lnTo>
                <a:lnTo>
                  <a:pt x="125" y="20"/>
                </a:lnTo>
                <a:lnTo>
                  <a:pt x="130" y="23"/>
                </a:lnTo>
                <a:lnTo>
                  <a:pt x="133" y="23"/>
                </a:lnTo>
                <a:lnTo>
                  <a:pt x="137" y="23"/>
                </a:lnTo>
                <a:lnTo>
                  <a:pt x="137" y="26"/>
                </a:lnTo>
                <a:lnTo>
                  <a:pt x="137" y="27"/>
                </a:lnTo>
                <a:lnTo>
                  <a:pt x="136" y="28"/>
                </a:lnTo>
                <a:lnTo>
                  <a:pt x="133" y="29"/>
                </a:lnTo>
                <a:lnTo>
                  <a:pt x="131" y="30"/>
                </a:lnTo>
                <a:lnTo>
                  <a:pt x="128" y="30"/>
                </a:lnTo>
                <a:lnTo>
                  <a:pt x="125" y="30"/>
                </a:lnTo>
                <a:lnTo>
                  <a:pt x="123" y="30"/>
                </a:lnTo>
                <a:lnTo>
                  <a:pt x="120" y="31"/>
                </a:lnTo>
                <a:lnTo>
                  <a:pt x="120" y="32"/>
                </a:lnTo>
                <a:lnTo>
                  <a:pt x="119" y="33"/>
                </a:lnTo>
                <a:lnTo>
                  <a:pt x="125" y="35"/>
                </a:lnTo>
                <a:lnTo>
                  <a:pt x="125" y="37"/>
                </a:lnTo>
                <a:lnTo>
                  <a:pt x="123" y="39"/>
                </a:lnTo>
                <a:lnTo>
                  <a:pt x="120" y="40"/>
                </a:lnTo>
                <a:lnTo>
                  <a:pt x="117" y="41"/>
                </a:lnTo>
                <a:lnTo>
                  <a:pt x="114" y="44"/>
                </a:lnTo>
                <a:lnTo>
                  <a:pt x="113" y="45"/>
                </a:lnTo>
                <a:lnTo>
                  <a:pt x="113" y="46"/>
                </a:lnTo>
                <a:lnTo>
                  <a:pt x="111" y="48"/>
                </a:lnTo>
                <a:lnTo>
                  <a:pt x="110" y="50"/>
                </a:lnTo>
                <a:lnTo>
                  <a:pt x="106" y="49"/>
                </a:lnTo>
                <a:lnTo>
                  <a:pt x="101" y="48"/>
                </a:lnTo>
                <a:lnTo>
                  <a:pt x="96" y="47"/>
                </a:lnTo>
                <a:lnTo>
                  <a:pt x="91" y="46"/>
                </a:lnTo>
                <a:lnTo>
                  <a:pt x="87" y="46"/>
                </a:lnTo>
                <a:lnTo>
                  <a:pt x="84" y="47"/>
                </a:lnTo>
                <a:lnTo>
                  <a:pt x="82" y="48"/>
                </a:lnTo>
                <a:lnTo>
                  <a:pt x="80" y="49"/>
                </a:lnTo>
                <a:lnTo>
                  <a:pt x="77" y="51"/>
                </a:lnTo>
                <a:lnTo>
                  <a:pt x="75" y="53"/>
                </a:lnTo>
                <a:lnTo>
                  <a:pt x="73" y="56"/>
                </a:lnTo>
                <a:lnTo>
                  <a:pt x="70" y="61"/>
                </a:lnTo>
                <a:lnTo>
                  <a:pt x="68" y="67"/>
                </a:lnTo>
                <a:lnTo>
                  <a:pt x="64" y="78"/>
                </a:lnTo>
                <a:lnTo>
                  <a:pt x="63" y="85"/>
                </a:lnTo>
                <a:lnTo>
                  <a:pt x="62" y="85"/>
                </a:lnTo>
                <a:lnTo>
                  <a:pt x="61" y="87"/>
                </a:lnTo>
                <a:lnTo>
                  <a:pt x="60" y="87"/>
                </a:lnTo>
                <a:lnTo>
                  <a:pt x="57" y="88"/>
                </a:lnTo>
                <a:lnTo>
                  <a:pt x="56" y="87"/>
                </a:lnTo>
                <a:lnTo>
                  <a:pt x="55" y="86"/>
                </a:lnTo>
                <a:lnTo>
                  <a:pt x="51" y="85"/>
                </a:lnTo>
                <a:lnTo>
                  <a:pt x="48" y="81"/>
                </a:lnTo>
                <a:lnTo>
                  <a:pt x="46" y="81"/>
                </a:lnTo>
                <a:lnTo>
                  <a:pt x="44" y="80"/>
                </a:lnTo>
                <a:lnTo>
                  <a:pt x="41" y="81"/>
                </a:lnTo>
                <a:lnTo>
                  <a:pt x="38" y="81"/>
                </a:lnTo>
                <a:lnTo>
                  <a:pt x="33" y="85"/>
                </a:lnTo>
                <a:lnTo>
                  <a:pt x="26" y="90"/>
                </a:lnTo>
                <a:lnTo>
                  <a:pt x="23" y="91"/>
                </a:lnTo>
                <a:lnTo>
                  <a:pt x="20" y="92"/>
                </a:lnTo>
                <a:lnTo>
                  <a:pt x="13" y="91"/>
                </a:lnTo>
                <a:lnTo>
                  <a:pt x="6" y="89"/>
                </a:lnTo>
                <a:lnTo>
                  <a:pt x="3" y="88"/>
                </a:lnTo>
                <a:lnTo>
                  <a:pt x="2" y="86"/>
                </a:lnTo>
                <a:lnTo>
                  <a:pt x="1" y="85"/>
                </a:lnTo>
                <a:lnTo>
                  <a:pt x="0" y="82"/>
                </a:lnTo>
                <a:lnTo>
                  <a:pt x="0" y="80"/>
                </a:lnTo>
                <a:lnTo>
                  <a:pt x="0" y="75"/>
                </a:lnTo>
                <a:lnTo>
                  <a:pt x="1" y="74"/>
                </a:lnTo>
                <a:lnTo>
                  <a:pt x="2" y="77"/>
                </a:lnTo>
                <a:lnTo>
                  <a:pt x="3" y="78"/>
                </a:lnTo>
                <a:lnTo>
                  <a:pt x="6" y="80"/>
                </a:lnTo>
                <a:lnTo>
                  <a:pt x="8" y="81"/>
                </a:lnTo>
                <a:lnTo>
                  <a:pt x="14" y="81"/>
                </a:lnTo>
                <a:lnTo>
                  <a:pt x="20" y="81"/>
                </a:lnTo>
                <a:lnTo>
                  <a:pt x="20" y="73"/>
                </a:lnTo>
                <a:lnTo>
                  <a:pt x="21" y="71"/>
                </a:lnTo>
                <a:lnTo>
                  <a:pt x="24" y="67"/>
                </a:lnTo>
                <a:lnTo>
                  <a:pt x="28" y="63"/>
                </a:lnTo>
                <a:lnTo>
                  <a:pt x="29" y="62"/>
                </a:lnTo>
                <a:lnTo>
                  <a:pt x="30" y="61"/>
                </a:lnTo>
                <a:lnTo>
                  <a:pt x="36" y="60"/>
                </a:lnTo>
                <a:lnTo>
                  <a:pt x="43" y="58"/>
                </a:lnTo>
                <a:lnTo>
                  <a:pt x="44" y="57"/>
                </a:lnTo>
                <a:lnTo>
                  <a:pt x="47" y="56"/>
                </a:lnTo>
                <a:lnTo>
                  <a:pt x="48" y="55"/>
                </a:lnTo>
                <a:lnTo>
                  <a:pt x="50" y="54"/>
                </a:lnTo>
                <a:lnTo>
                  <a:pt x="52" y="51"/>
                </a:lnTo>
                <a:lnTo>
                  <a:pt x="55" y="47"/>
                </a:lnTo>
                <a:lnTo>
                  <a:pt x="53" y="47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60" name="Freeform 59">
            <a:extLst>
              <a:ext uri="{FF2B5EF4-FFF2-40B4-BE49-F238E27FC236}">
                <a16:creationId xmlns:a16="http://schemas.microsoft.com/office/drawing/2014/main" id="{37042A99-5116-0630-1B07-0BE1EAAF374F}"/>
              </a:ext>
            </a:extLst>
          </p:cNvPr>
          <p:cNvSpPr>
            <a:spLocks/>
          </p:cNvSpPr>
          <p:nvPr/>
        </p:nvSpPr>
        <p:spPr bwMode="auto">
          <a:xfrm>
            <a:off x="9475163" y="4917921"/>
            <a:ext cx="34925" cy="30163"/>
          </a:xfrm>
          <a:custGeom>
            <a:avLst/>
            <a:gdLst>
              <a:gd name="T0" fmla="*/ 10 w 17"/>
              <a:gd name="T1" fmla="*/ 0 h 17"/>
              <a:gd name="T2" fmla="*/ 12 w 17"/>
              <a:gd name="T3" fmla="*/ 3 h 17"/>
              <a:gd name="T4" fmla="*/ 13 w 17"/>
              <a:gd name="T5" fmla="*/ 6 h 17"/>
              <a:gd name="T6" fmla="*/ 16 w 17"/>
              <a:gd name="T7" fmla="*/ 7 h 17"/>
              <a:gd name="T8" fmla="*/ 16 w 17"/>
              <a:gd name="T9" fmla="*/ 10 h 17"/>
              <a:gd name="T10" fmla="*/ 13 w 17"/>
              <a:gd name="T11" fmla="*/ 10 h 17"/>
              <a:gd name="T12" fmla="*/ 11 w 17"/>
              <a:gd name="T13" fmla="*/ 10 h 17"/>
              <a:gd name="T14" fmla="*/ 7 w 17"/>
              <a:gd name="T15" fmla="*/ 8 h 17"/>
              <a:gd name="T16" fmla="*/ 7 w 17"/>
              <a:gd name="T17" fmla="*/ 12 h 17"/>
              <a:gd name="T18" fmla="*/ 8 w 17"/>
              <a:gd name="T19" fmla="*/ 13 h 17"/>
              <a:gd name="T20" fmla="*/ 10 w 17"/>
              <a:gd name="T21" fmla="*/ 13 h 17"/>
              <a:gd name="T22" fmla="*/ 7 w 17"/>
              <a:gd name="T23" fmla="*/ 16 h 17"/>
              <a:gd name="T24" fmla="*/ 0 w 17"/>
              <a:gd name="T25" fmla="*/ 10 h 17"/>
              <a:gd name="T26" fmla="*/ 2 w 17"/>
              <a:gd name="T27" fmla="*/ 4 h 17"/>
              <a:gd name="T28" fmla="*/ 8 w 17"/>
              <a:gd name="T29" fmla="*/ 0 h 17"/>
              <a:gd name="T30" fmla="*/ 10 w 17"/>
              <a:gd name="T31" fmla="*/ 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7" h="17">
                <a:moveTo>
                  <a:pt x="10" y="0"/>
                </a:moveTo>
                <a:lnTo>
                  <a:pt x="12" y="3"/>
                </a:lnTo>
                <a:lnTo>
                  <a:pt x="13" y="6"/>
                </a:lnTo>
                <a:lnTo>
                  <a:pt x="16" y="7"/>
                </a:lnTo>
                <a:lnTo>
                  <a:pt x="16" y="10"/>
                </a:lnTo>
                <a:lnTo>
                  <a:pt x="13" y="10"/>
                </a:lnTo>
                <a:lnTo>
                  <a:pt x="11" y="10"/>
                </a:lnTo>
                <a:lnTo>
                  <a:pt x="7" y="8"/>
                </a:lnTo>
                <a:lnTo>
                  <a:pt x="7" y="12"/>
                </a:lnTo>
                <a:lnTo>
                  <a:pt x="8" y="13"/>
                </a:lnTo>
                <a:lnTo>
                  <a:pt x="10" y="13"/>
                </a:lnTo>
                <a:lnTo>
                  <a:pt x="7" y="16"/>
                </a:lnTo>
                <a:lnTo>
                  <a:pt x="0" y="10"/>
                </a:lnTo>
                <a:lnTo>
                  <a:pt x="2" y="4"/>
                </a:lnTo>
                <a:lnTo>
                  <a:pt x="8" y="0"/>
                </a:lnTo>
                <a:lnTo>
                  <a:pt x="10" y="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61" name="Freeform 60">
            <a:extLst>
              <a:ext uri="{FF2B5EF4-FFF2-40B4-BE49-F238E27FC236}">
                <a16:creationId xmlns:a16="http://schemas.microsoft.com/office/drawing/2014/main" id="{60FFDA3E-5C28-76AB-654F-68DA9B656D9A}"/>
              </a:ext>
            </a:extLst>
          </p:cNvPr>
          <p:cNvSpPr>
            <a:spLocks/>
          </p:cNvSpPr>
          <p:nvPr/>
        </p:nvSpPr>
        <p:spPr bwMode="auto">
          <a:xfrm>
            <a:off x="9972050" y="5049684"/>
            <a:ext cx="300038" cy="254000"/>
          </a:xfrm>
          <a:custGeom>
            <a:avLst/>
            <a:gdLst>
              <a:gd name="T0" fmla="*/ 146 w 149"/>
              <a:gd name="T1" fmla="*/ 95 h 136"/>
              <a:gd name="T2" fmla="*/ 144 w 149"/>
              <a:gd name="T3" fmla="*/ 101 h 136"/>
              <a:gd name="T4" fmla="*/ 147 w 149"/>
              <a:gd name="T5" fmla="*/ 135 h 136"/>
              <a:gd name="T6" fmla="*/ 138 w 149"/>
              <a:gd name="T7" fmla="*/ 130 h 136"/>
              <a:gd name="T8" fmla="*/ 133 w 149"/>
              <a:gd name="T9" fmla="*/ 123 h 136"/>
              <a:gd name="T10" fmla="*/ 117 w 149"/>
              <a:gd name="T11" fmla="*/ 118 h 136"/>
              <a:gd name="T12" fmla="*/ 103 w 149"/>
              <a:gd name="T13" fmla="*/ 121 h 136"/>
              <a:gd name="T14" fmla="*/ 94 w 149"/>
              <a:gd name="T15" fmla="*/ 119 h 136"/>
              <a:gd name="T16" fmla="*/ 96 w 149"/>
              <a:gd name="T17" fmla="*/ 114 h 136"/>
              <a:gd name="T18" fmla="*/ 112 w 149"/>
              <a:gd name="T19" fmla="*/ 102 h 136"/>
              <a:gd name="T20" fmla="*/ 110 w 149"/>
              <a:gd name="T21" fmla="*/ 94 h 136"/>
              <a:gd name="T22" fmla="*/ 108 w 149"/>
              <a:gd name="T23" fmla="*/ 84 h 136"/>
              <a:gd name="T24" fmla="*/ 104 w 149"/>
              <a:gd name="T25" fmla="*/ 79 h 136"/>
              <a:gd name="T26" fmla="*/ 89 w 149"/>
              <a:gd name="T27" fmla="*/ 71 h 136"/>
              <a:gd name="T28" fmla="*/ 69 w 149"/>
              <a:gd name="T29" fmla="*/ 64 h 136"/>
              <a:gd name="T30" fmla="*/ 58 w 149"/>
              <a:gd name="T31" fmla="*/ 57 h 136"/>
              <a:gd name="T32" fmla="*/ 50 w 149"/>
              <a:gd name="T33" fmla="*/ 54 h 136"/>
              <a:gd name="T34" fmla="*/ 42 w 149"/>
              <a:gd name="T35" fmla="*/ 53 h 136"/>
              <a:gd name="T36" fmla="*/ 44 w 149"/>
              <a:gd name="T37" fmla="*/ 49 h 136"/>
              <a:gd name="T38" fmla="*/ 39 w 149"/>
              <a:gd name="T39" fmla="*/ 55 h 136"/>
              <a:gd name="T40" fmla="*/ 34 w 149"/>
              <a:gd name="T41" fmla="*/ 58 h 136"/>
              <a:gd name="T42" fmla="*/ 29 w 149"/>
              <a:gd name="T43" fmla="*/ 57 h 136"/>
              <a:gd name="T44" fmla="*/ 29 w 149"/>
              <a:gd name="T45" fmla="*/ 54 h 136"/>
              <a:gd name="T46" fmla="*/ 25 w 149"/>
              <a:gd name="T47" fmla="*/ 44 h 136"/>
              <a:gd name="T48" fmla="*/ 20 w 149"/>
              <a:gd name="T49" fmla="*/ 38 h 136"/>
              <a:gd name="T50" fmla="*/ 22 w 149"/>
              <a:gd name="T51" fmla="*/ 34 h 136"/>
              <a:gd name="T52" fmla="*/ 27 w 149"/>
              <a:gd name="T53" fmla="*/ 37 h 136"/>
              <a:gd name="T54" fmla="*/ 34 w 149"/>
              <a:gd name="T55" fmla="*/ 34 h 136"/>
              <a:gd name="T56" fmla="*/ 43 w 149"/>
              <a:gd name="T57" fmla="*/ 33 h 136"/>
              <a:gd name="T58" fmla="*/ 49 w 149"/>
              <a:gd name="T59" fmla="*/ 30 h 136"/>
              <a:gd name="T60" fmla="*/ 38 w 149"/>
              <a:gd name="T61" fmla="*/ 30 h 136"/>
              <a:gd name="T62" fmla="*/ 25 w 149"/>
              <a:gd name="T63" fmla="*/ 30 h 136"/>
              <a:gd name="T64" fmla="*/ 20 w 149"/>
              <a:gd name="T65" fmla="*/ 28 h 136"/>
              <a:gd name="T66" fmla="*/ 17 w 149"/>
              <a:gd name="T67" fmla="*/ 23 h 136"/>
              <a:gd name="T68" fmla="*/ 15 w 149"/>
              <a:gd name="T69" fmla="*/ 20 h 136"/>
              <a:gd name="T70" fmla="*/ 2 w 149"/>
              <a:gd name="T71" fmla="*/ 15 h 136"/>
              <a:gd name="T72" fmla="*/ 4 w 149"/>
              <a:gd name="T73" fmla="*/ 10 h 136"/>
              <a:gd name="T74" fmla="*/ 21 w 149"/>
              <a:gd name="T75" fmla="*/ 1 h 136"/>
              <a:gd name="T76" fmla="*/ 30 w 149"/>
              <a:gd name="T77" fmla="*/ 0 h 136"/>
              <a:gd name="T78" fmla="*/ 38 w 149"/>
              <a:gd name="T79" fmla="*/ 3 h 136"/>
              <a:gd name="T80" fmla="*/ 45 w 149"/>
              <a:gd name="T81" fmla="*/ 5 h 136"/>
              <a:gd name="T82" fmla="*/ 50 w 149"/>
              <a:gd name="T83" fmla="*/ 8 h 136"/>
              <a:gd name="T84" fmla="*/ 52 w 149"/>
              <a:gd name="T85" fmla="*/ 20 h 136"/>
              <a:gd name="T86" fmla="*/ 52 w 149"/>
              <a:gd name="T87" fmla="*/ 31 h 136"/>
              <a:gd name="T88" fmla="*/ 58 w 149"/>
              <a:gd name="T89" fmla="*/ 37 h 136"/>
              <a:gd name="T90" fmla="*/ 65 w 149"/>
              <a:gd name="T91" fmla="*/ 43 h 136"/>
              <a:gd name="T92" fmla="*/ 70 w 149"/>
              <a:gd name="T93" fmla="*/ 42 h 136"/>
              <a:gd name="T94" fmla="*/ 75 w 149"/>
              <a:gd name="T95" fmla="*/ 37 h 136"/>
              <a:gd name="T96" fmla="*/ 82 w 149"/>
              <a:gd name="T97" fmla="*/ 31 h 136"/>
              <a:gd name="T98" fmla="*/ 93 w 149"/>
              <a:gd name="T99" fmla="*/ 24 h 136"/>
              <a:gd name="T100" fmla="*/ 103 w 149"/>
              <a:gd name="T101" fmla="*/ 16 h 136"/>
              <a:gd name="T102" fmla="*/ 111 w 149"/>
              <a:gd name="T103" fmla="*/ 17 h 136"/>
              <a:gd name="T104" fmla="*/ 124 w 149"/>
              <a:gd name="T105" fmla="*/ 26 h 136"/>
              <a:gd name="T106" fmla="*/ 134 w 149"/>
              <a:gd name="T107" fmla="*/ 30 h 136"/>
              <a:gd name="T108" fmla="*/ 148 w 149"/>
              <a:gd name="T109" fmla="*/ 31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49" h="136">
                <a:moveTo>
                  <a:pt x="147" y="31"/>
                </a:moveTo>
                <a:lnTo>
                  <a:pt x="147" y="94"/>
                </a:lnTo>
                <a:lnTo>
                  <a:pt x="146" y="95"/>
                </a:lnTo>
                <a:lnTo>
                  <a:pt x="144" y="97"/>
                </a:lnTo>
                <a:lnTo>
                  <a:pt x="144" y="98"/>
                </a:lnTo>
                <a:lnTo>
                  <a:pt x="144" y="101"/>
                </a:lnTo>
                <a:lnTo>
                  <a:pt x="148" y="102"/>
                </a:lnTo>
                <a:lnTo>
                  <a:pt x="148" y="118"/>
                </a:lnTo>
                <a:lnTo>
                  <a:pt x="147" y="135"/>
                </a:lnTo>
                <a:lnTo>
                  <a:pt x="144" y="134"/>
                </a:lnTo>
                <a:lnTo>
                  <a:pt x="141" y="132"/>
                </a:lnTo>
                <a:lnTo>
                  <a:pt x="138" y="130"/>
                </a:lnTo>
                <a:lnTo>
                  <a:pt x="137" y="128"/>
                </a:lnTo>
                <a:lnTo>
                  <a:pt x="134" y="125"/>
                </a:lnTo>
                <a:lnTo>
                  <a:pt x="133" y="123"/>
                </a:lnTo>
                <a:lnTo>
                  <a:pt x="131" y="120"/>
                </a:lnTo>
                <a:lnTo>
                  <a:pt x="131" y="118"/>
                </a:lnTo>
                <a:lnTo>
                  <a:pt x="117" y="118"/>
                </a:lnTo>
                <a:lnTo>
                  <a:pt x="110" y="120"/>
                </a:lnTo>
                <a:lnTo>
                  <a:pt x="106" y="121"/>
                </a:lnTo>
                <a:lnTo>
                  <a:pt x="103" y="121"/>
                </a:lnTo>
                <a:lnTo>
                  <a:pt x="99" y="121"/>
                </a:lnTo>
                <a:lnTo>
                  <a:pt x="96" y="120"/>
                </a:lnTo>
                <a:lnTo>
                  <a:pt x="94" y="119"/>
                </a:lnTo>
                <a:lnTo>
                  <a:pt x="94" y="118"/>
                </a:lnTo>
                <a:lnTo>
                  <a:pt x="94" y="115"/>
                </a:lnTo>
                <a:lnTo>
                  <a:pt x="96" y="114"/>
                </a:lnTo>
                <a:lnTo>
                  <a:pt x="102" y="108"/>
                </a:lnTo>
                <a:lnTo>
                  <a:pt x="107" y="104"/>
                </a:lnTo>
                <a:lnTo>
                  <a:pt x="112" y="102"/>
                </a:lnTo>
                <a:lnTo>
                  <a:pt x="110" y="100"/>
                </a:lnTo>
                <a:lnTo>
                  <a:pt x="110" y="97"/>
                </a:lnTo>
                <a:lnTo>
                  <a:pt x="110" y="94"/>
                </a:lnTo>
                <a:lnTo>
                  <a:pt x="110" y="92"/>
                </a:lnTo>
                <a:lnTo>
                  <a:pt x="108" y="87"/>
                </a:lnTo>
                <a:lnTo>
                  <a:pt x="108" y="84"/>
                </a:lnTo>
                <a:lnTo>
                  <a:pt x="107" y="84"/>
                </a:lnTo>
                <a:lnTo>
                  <a:pt x="106" y="81"/>
                </a:lnTo>
                <a:lnTo>
                  <a:pt x="104" y="79"/>
                </a:lnTo>
                <a:lnTo>
                  <a:pt x="103" y="77"/>
                </a:lnTo>
                <a:lnTo>
                  <a:pt x="96" y="74"/>
                </a:lnTo>
                <a:lnTo>
                  <a:pt x="89" y="71"/>
                </a:lnTo>
                <a:lnTo>
                  <a:pt x="83" y="70"/>
                </a:lnTo>
                <a:lnTo>
                  <a:pt x="76" y="67"/>
                </a:lnTo>
                <a:lnTo>
                  <a:pt x="69" y="64"/>
                </a:lnTo>
                <a:lnTo>
                  <a:pt x="62" y="60"/>
                </a:lnTo>
                <a:lnTo>
                  <a:pt x="59" y="58"/>
                </a:lnTo>
                <a:lnTo>
                  <a:pt x="58" y="57"/>
                </a:lnTo>
                <a:lnTo>
                  <a:pt x="56" y="56"/>
                </a:lnTo>
                <a:lnTo>
                  <a:pt x="54" y="55"/>
                </a:lnTo>
                <a:lnTo>
                  <a:pt x="50" y="54"/>
                </a:lnTo>
                <a:lnTo>
                  <a:pt x="45" y="54"/>
                </a:lnTo>
                <a:lnTo>
                  <a:pt x="44" y="54"/>
                </a:lnTo>
                <a:lnTo>
                  <a:pt x="42" y="53"/>
                </a:lnTo>
                <a:lnTo>
                  <a:pt x="43" y="51"/>
                </a:lnTo>
                <a:lnTo>
                  <a:pt x="44" y="50"/>
                </a:lnTo>
                <a:lnTo>
                  <a:pt x="44" y="49"/>
                </a:lnTo>
                <a:lnTo>
                  <a:pt x="45" y="47"/>
                </a:lnTo>
                <a:lnTo>
                  <a:pt x="42" y="51"/>
                </a:lnTo>
                <a:lnTo>
                  <a:pt x="39" y="55"/>
                </a:lnTo>
                <a:lnTo>
                  <a:pt x="38" y="57"/>
                </a:lnTo>
                <a:lnTo>
                  <a:pt x="36" y="57"/>
                </a:lnTo>
                <a:lnTo>
                  <a:pt x="34" y="58"/>
                </a:lnTo>
                <a:lnTo>
                  <a:pt x="32" y="58"/>
                </a:lnTo>
                <a:lnTo>
                  <a:pt x="30" y="58"/>
                </a:lnTo>
                <a:lnTo>
                  <a:pt x="29" y="57"/>
                </a:lnTo>
                <a:lnTo>
                  <a:pt x="29" y="56"/>
                </a:lnTo>
                <a:lnTo>
                  <a:pt x="29" y="55"/>
                </a:lnTo>
                <a:lnTo>
                  <a:pt x="29" y="54"/>
                </a:lnTo>
                <a:lnTo>
                  <a:pt x="29" y="52"/>
                </a:lnTo>
                <a:lnTo>
                  <a:pt x="27" y="48"/>
                </a:lnTo>
                <a:lnTo>
                  <a:pt x="25" y="44"/>
                </a:lnTo>
                <a:lnTo>
                  <a:pt x="22" y="40"/>
                </a:lnTo>
                <a:lnTo>
                  <a:pt x="20" y="39"/>
                </a:lnTo>
                <a:lnTo>
                  <a:pt x="20" y="38"/>
                </a:lnTo>
                <a:lnTo>
                  <a:pt x="18" y="37"/>
                </a:lnTo>
                <a:lnTo>
                  <a:pt x="18" y="34"/>
                </a:lnTo>
                <a:lnTo>
                  <a:pt x="22" y="34"/>
                </a:lnTo>
                <a:lnTo>
                  <a:pt x="25" y="34"/>
                </a:lnTo>
                <a:lnTo>
                  <a:pt x="27" y="35"/>
                </a:lnTo>
                <a:lnTo>
                  <a:pt x="27" y="37"/>
                </a:lnTo>
                <a:lnTo>
                  <a:pt x="30" y="37"/>
                </a:lnTo>
                <a:lnTo>
                  <a:pt x="31" y="37"/>
                </a:lnTo>
                <a:lnTo>
                  <a:pt x="34" y="34"/>
                </a:lnTo>
                <a:lnTo>
                  <a:pt x="37" y="33"/>
                </a:lnTo>
                <a:lnTo>
                  <a:pt x="40" y="33"/>
                </a:lnTo>
                <a:lnTo>
                  <a:pt x="43" y="33"/>
                </a:lnTo>
                <a:lnTo>
                  <a:pt x="47" y="31"/>
                </a:lnTo>
                <a:lnTo>
                  <a:pt x="48" y="30"/>
                </a:lnTo>
                <a:lnTo>
                  <a:pt x="49" y="30"/>
                </a:lnTo>
                <a:lnTo>
                  <a:pt x="47" y="30"/>
                </a:lnTo>
                <a:lnTo>
                  <a:pt x="42" y="30"/>
                </a:lnTo>
                <a:lnTo>
                  <a:pt x="38" y="30"/>
                </a:lnTo>
                <a:lnTo>
                  <a:pt x="34" y="31"/>
                </a:lnTo>
                <a:lnTo>
                  <a:pt x="30" y="31"/>
                </a:lnTo>
                <a:lnTo>
                  <a:pt x="25" y="30"/>
                </a:lnTo>
                <a:lnTo>
                  <a:pt x="23" y="30"/>
                </a:lnTo>
                <a:lnTo>
                  <a:pt x="21" y="30"/>
                </a:lnTo>
                <a:lnTo>
                  <a:pt x="20" y="28"/>
                </a:lnTo>
                <a:lnTo>
                  <a:pt x="18" y="27"/>
                </a:lnTo>
                <a:lnTo>
                  <a:pt x="17" y="25"/>
                </a:lnTo>
                <a:lnTo>
                  <a:pt x="17" y="23"/>
                </a:lnTo>
                <a:lnTo>
                  <a:pt x="16" y="22"/>
                </a:lnTo>
                <a:lnTo>
                  <a:pt x="15" y="21"/>
                </a:lnTo>
                <a:lnTo>
                  <a:pt x="15" y="20"/>
                </a:lnTo>
                <a:lnTo>
                  <a:pt x="11" y="20"/>
                </a:lnTo>
                <a:lnTo>
                  <a:pt x="6" y="17"/>
                </a:lnTo>
                <a:lnTo>
                  <a:pt x="2" y="15"/>
                </a:lnTo>
                <a:lnTo>
                  <a:pt x="0" y="14"/>
                </a:lnTo>
                <a:lnTo>
                  <a:pt x="0" y="10"/>
                </a:lnTo>
                <a:lnTo>
                  <a:pt x="4" y="10"/>
                </a:lnTo>
                <a:lnTo>
                  <a:pt x="8" y="7"/>
                </a:lnTo>
                <a:lnTo>
                  <a:pt x="15" y="5"/>
                </a:lnTo>
                <a:lnTo>
                  <a:pt x="21" y="1"/>
                </a:lnTo>
                <a:lnTo>
                  <a:pt x="24" y="0"/>
                </a:lnTo>
                <a:lnTo>
                  <a:pt x="27" y="0"/>
                </a:lnTo>
                <a:lnTo>
                  <a:pt x="30" y="0"/>
                </a:lnTo>
                <a:lnTo>
                  <a:pt x="31" y="1"/>
                </a:lnTo>
                <a:lnTo>
                  <a:pt x="34" y="3"/>
                </a:lnTo>
                <a:lnTo>
                  <a:pt x="38" y="3"/>
                </a:lnTo>
                <a:lnTo>
                  <a:pt x="41" y="3"/>
                </a:lnTo>
                <a:lnTo>
                  <a:pt x="44" y="3"/>
                </a:lnTo>
                <a:lnTo>
                  <a:pt x="45" y="5"/>
                </a:lnTo>
                <a:lnTo>
                  <a:pt x="47" y="5"/>
                </a:lnTo>
                <a:lnTo>
                  <a:pt x="49" y="6"/>
                </a:lnTo>
                <a:lnTo>
                  <a:pt x="50" y="8"/>
                </a:lnTo>
                <a:lnTo>
                  <a:pt x="51" y="11"/>
                </a:lnTo>
                <a:lnTo>
                  <a:pt x="52" y="14"/>
                </a:lnTo>
                <a:lnTo>
                  <a:pt x="52" y="20"/>
                </a:lnTo>
                <a:lnTo>
                  <a:pt x="52" y="26"/>
                </a:lnTo>
                <a:lnTo>
                  <a:pt x="52" y="30"/>
                </a:lnTo>
                <a:lnTo>
                  <a:pt x="52" y="31"/>
                </a:lnTo>
                <a:lnTo>
                  <a:pt x="54" y="33"/>
                </a:lnTo>
                <a:lnTo>
                  <a:pt x="58" y="33"/>
                </a:lnTo>
                <a:lnTo>
                  <a:pt x="58" y="37"/>
                </a:lnTo>
                <a:lnTo>
                  <a:pt x="61" y="40"/>
                </a:lnTo>
                <a:lnTo>
                  <a:pt x="62" y="43"/>
                </a:lnTo>
                <a:lnTo>
                  <a:pt x="65" y="43"/>
                </a:lnTo>
                <a:lnTo>
                  <a:pt x="65" y="44"/>
                </a:lnTo>
                <a:lnTo>
                  <a:pt x="68" y="43"/>
                </a:lnTo>
                <a:lnTo>
                  <a:pt x="70" y="42"/>
                </a:lnTo>
                <a:lnTo>
                  <a:pt x="72" y="40"/>
                </a:lnTo>
                <a:lnTo>
                  <a:pt x="72" y="39"/>
                </a:lnTo>
                <a:lnTo>
                  <a:pt x="75" y="37"/>
                </a:lnTo>
                <a:lnTo>
                  <a:pt x="76" y="34"/>
                </a:lnTo>
                <a:lnTo>
                  <a:pt x="79" y="33"/>
                </a:lnTo>
                <a:lnTo>
                  <a:pt x="82" y="31"/>
                </a:lnTo>
                <a:lnTo>
                  <a:pt x="88" y="29"/>
                </a:lnTo>
                <a:lnTo>
                  <a:pt x="90" y="27"/>
                </a:lnTo>
                <a:lnTo>
                  <a:pt x="93" y="24"/>
                </a:lnTo>
                <a:lnTo>
                  <a:pt x="97" y="17"/>
                </a:lnTo>
                <a:lnTo>
                  <a:pt x="99" y="16"/>
                </a:lnTo>
                <a:lnTo>
                  <a:pt x="103" y="16"/>
                </a:lnTo>
                <a:lnTo>
                  <a:pt x="107" y="16"/>
                </a:lnTo>
                <a:lnTo>
                  <a:pt x="110" y="16"/>
                </a:lnTo>
                <a:lnTo>
                  <a:pt x="111" y="17"/>
                </a:lnTo>
                <a:lnTo>
                  <a:pt x="115" y="20"/>
                </a:lnTo>
                <a:lnTo>
                  <a:pt x="117" y="21"/>
                </a:lnTo>
                <a:lnTo>
                  <a:pt x="124" y="26"/>
                </a:lnTo>
                <a:lnTo>
                  <a:pt x="127" y="28"/>
                </a:lnTo>
                <a:lnTo>
                  <a:pt x="130" y="29"/>
                </a:lnTo>
                <a:lnTo>
                  <a:pt x="134" y="30"/>
                </a:lnTo>
                <a:lnTo>
                  <a:pt x="139" y="30"/>
                </a:lnTo>
                <a:lnTo>
                  <a:pt x="143" y="30"/>
                </a:lnTo>
                <a:lnTo>
                  <a:pt x="148" y="31"/>
                </a:lnTo>
                <a:lnTo>
                  <a:pt x="147" y="31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62" name="Freeform 61">
            <a:extLst>
              <a:ext uri="{FF2B5EF4-FFF2-40B4-BE49-F238E27FC236}">
                <a16:creationId xmlns:a16="http://schemas.microsoft.com/office/drawing/2014/main" id="{E941C48C-3D40-1756-2F13-E90C19263534}"/>
              </a:ext>
            </a:extLst>
          </p:cNvPr>
          <p:cNvSpPr>
            <a:spLocks/>
          </p:cNvSpPr>
          <p:nvPr/>
        </p:nvSpPr>
        <p:spPr bwMode="auto">
          <a:xfrm>
            <a:off x="10259388" y="5108421"/>
            <a:ext cx="277813" cy="233363"/>
          </a:xfrm>
          <a:custGeom>
            <a:avLst/>
            <a:gdLst>
              <a:gd name="T0" fmla="*/ 3 w 137"/>
              <a:gd name="T1" fmla="*/ 62 h 126"/>
              <a:gd name="T2" fmla="*/ 0 w 137"/>
              <a:gd name="T3" fmla="*/ 65 h 126"/>
              <a:gd name="T4" fmla="*/ 0 w 137"/>
              <a:gd name="T5" fmla="*/ 67 h 126"/>
              <a:gd name="T6" fmla="*/ 3 w 137"/>
              <a:gd name="T7" fmla="*/ 70 h 126"/>
              <a:gd name="T8" fmla="*/ 3 w 137"/>
              <a:gd name="T9" fmla="*/ 103 h 126"/>
              <a:gd name="T10" fmla="*/ 12 w 137"/>
              <a:gd name="T11" fmla="*/ 106 h 126"/>
              <a:gd name="T12" fmla="*/ 22 w 137"/>
              <a:gd name="T13" fmla="*/ 106 h 126"/>
              <a:gd name="T14" fmla="*/ 29 w 137"/>
              <a:gd name="T15" fmla="*/ 101 h 126"/>
              <a:gd name="T16" fmla="*/ 31 w 137"/>
              <a:gd name="T17" fmla="*/ 97 h 126"/>
              <a:gd name="T18" fmla="*/ 32 w 137"/>
              <a:gd name="T19" fmla="*/ 95 h 126"/>
              <a:gd name="T20" fmla="*/ 27 w 137"/>
              <a:gd name="T21" fmla="*/ 95 h 126"/>
              <a:gd name="T22" fmla="*/ 35 w 137"/>
              <a:gd name="T23" fmla="*/ 95 h 126"/>
              <a:gd name="T24" fmla="*/ 37 w 137"/>
              <a:gd name="T25" fmla="*/ 87 h 126"/>
              <a:gd name="T26" fmla="*/ 39 w 137"/>
              <a:gd name="T27" fmla="*/ 83 h 126"/>
              <a:gd name="T28" fmla="*/ 44 w 137"/>
              <a:gd name="T29" fmla="*/ 80 h 126"/>
              <a:gd name="T30" fmla="*/ 51 w 137"/>
              <a:gd name="T31" fmla="*/ 79 h 126"/>
              <a:gd name="T32" fmla="*/ 60 w 137"/>
              <a:gd name="T33" fmla="*/ 81 h 126"/>
              <a:gd name="T34" fmla="*/ 72 w 137"/>
              <a:gd name="T35" fmla="*/ 86 h 126"/>
              <a:gd name="T36" fmla="*/ 76 w 137"/>
              <a:gd name="T37" fmla="*/ 88 h 126"/>
              <a:gd name="T38" fmla="*/ 78 w 137"/>
              <a:gd name="T39" fmla="*/ 92 h 126"/>
              <a:gd name="T40" fmla="*/ 79 w 137"/>
              <a:gd name="T41" fmla="*/ 100 h 126"/>
              <a:gd name="T42" fmla="*/ 80 w 137"/>
              <a:gd name="T43" fmla="*/ 101 h 126"/>
              <a:gd name="T44" fmla="*/ 81 w 137"/>
              <a:gd name="T45" fmla="*/ 105 h 126"/>
              <a:gd name="T46" fmla="*/ 84 w 137"/>
              <a:gd name="T47" fmla="*/ 109 h 126"/>
              <a:gd name="T48" fmla="*/ 93 w 137"/>
              <a:gd name="T49" fmla="*/ 114 h 126"/>
              <a:gd name="T50" fmla="*/ 106 w 137"/>
              <a:gd name="T51" fmla="*/ 118 h 126"/>
              <a:gd name="T52" fmla="*/ 120 w 137"/>
              <a:gd name="T53" fmla="*/ 122 h 126"/>
              <a:gd name="T54" fmla="*/ 124 w 137"/>
              <a:gd name="T55" fmla="*/ 125 h 126"/>
              <a:gd name="T56" fmla="*/ 128 w 137"/>
              <a:gd name="T57" fmla="*/ 125 h 126"/>
              <a:gd name="T58" fmla="*/ 132 w 137"/>
              <a:gd name="T59" fmla="*/ 125 h 126"/>
              <a:gd name="T60" fmla="*/ 134 w 137"/>
              <a:gd name="T61" fmla="*/ 123 h 126"/>
              <a:gd name="T62" fmla="*/ 136 w 137"/>
              <a:gd name="T63" fmla="*/ 121 h 126"/>
              <a:gd name="T64" fmla="*/ 133 w 137"/>
              <a:gd name="T65" fmla="*/ 118 h 126"/>
              <a:gd name="T66" fmla="*/ 129 w 137"/>
              <a:gd name="T67" fmla="*/ 112 h 126"/>
              <a:gd name="T68" fmla="*/ 127 w 137"/>
              <a:gd name="T69" fmla="*/ 110 h 126"/>
              <a:gd name="T70" fmla="*/ 123 w 137"/>
              <a:gd name="T71" fmla="*/ 108 h 126"/>
              <a:gd name="T72" fmla="*/ 120 w 137"/>
              <a:gd name="T73" fmla="*/ 107 h 126"/>
              <a:gd name="T74" fmla="*/ 119 w 137"/>
              <a:gd name="T75" fmla="*/ 104 h 126"/>
              <a:gd name="T76" fmla="*/ 116 w 137"/>
              <a:gd name="T77" fmla="*/ 97 h 126"/>
              <a:gd name="T78" fmla="*/ 111 w 137"/>
              <a:gd name="T79" fmla="*/ 96 h 126"/>
              <a:gd name="T80" fmla="*/ 106 w 137"/>
              <a:gd name="T81" fmla="*/ 95 h 126"/>
              <a:gd name="T82" fmla="*/ 102 w 137"/>
              <a:gd name="T83" fmla="*/ 87 h 126"/>
              <a:gd name="T84" fmla="*/ 100 w 137"/>
              <a:gd name="T85" fmla="*/ 80 h 126"/>
              <a:gd name="T86" fmla="*/ 96 w 137"/>
              <a:gd name="T87" fmla="*/ 78 h 126"/>
              <a:gd name="T88" fmla="*/ 88 w 137"/>
              <a:gd name="T89" fmla="*/ 71 h 126"/>
              <a:gd name="T90" fmla="*/ 88 w 137"/>
              <a:gd name="T91" fmla="*/ 68 h 126"/>
              <a:gd name="T92" fmla="*/ 100 w 137"/>
              <a:gd name="T93" fmla="*/ 69 h 126"/>
              <a:gd name="T94" fmla="*/ 109 w 137"/>
              <a:gd name="T95" fmla="*/ 67 h 126"/>
              <a:gd name="T96" fmla="*/ 112 w 137"/>
              <a:gd name="T97" fmla="*/ 64 h 126"/>
              <a:gd name="T98" fmla="*/ 113 w 137"/>
              <a:gd name="T99" fmla="*/ 61 h 126"/>
              <a:gd name="T100" fmla="*/ 103 w 137"/>
              <a:gd name="T101" fmla="*/ 57 h 126"/>
              <a:gd name="T102" fmla="*/ 93 w 137"/>
              <a:gd name="T103" fmla="*/ 53 h 126"/>
              <a:gd name="T104" fmla="*/ 83 w 137"/>
              <a:gd name="T105" fmla="*/ 47 h 126"/>
              <a:gd name="T106" fmla="*/ 76 w 137"/>
              <a:gd name="T107" fmla="*/ 47 h 126"/>
              <a:gd name="T108" fmla="*/ 72 w 137"/>
              <a:gd name="T109" fmla="*/ 46 h 126"/>
              <a:gd name="T110" fmla="*/ 71 w 137"/>
              <a:gd name="T111" fmla="*/ 38 h 126"/>
              <a:gd name="T112" fmla="*/ 70 w 137"/>
              <a:gd name="T113" fmla="*/ 33 h 126"/>
              <a:gd name="T114" fmla="*/ 61 w 137"/>
              <a:gd name="T115" fmla="*/ 24 h 126"/>
              <a:gd name="T116" fmla="*/ 29 w 137"/>
              <a:gd name="T117" fmla="*/ 8 h 126"/>
              <a:gd name="T118" fmla="*/ 3 w 137"/>
              <a:gd name="T11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37" h="126">
                <a:moveTo>
                  <a:pt x="3" y="0"/>
                </a:moveTo>
                <a:lnTo>
                  <a:pt x="3" y="62"/>
                </a:lnTo>
                <a:lnTo>
                  <a:pt x="2" y="64"/>
                </a:lnTo>
                <a:lnTo>
                  <a:pt x="0" y="65"/>
                </a:lnTo>
                <a:lnTo>
                  <a:pt x="0" y="66"/>
                </a:lnTo>
                <a:lnTo>
                  <a:pt x="0" y="67"/>
                </a:lnTo>
                <a:lnTo>
                  <a:pt x="0" y="69"/>
                </a:lnTo>
                <a:lnTo>
                  <a:pt x="3" y="70"/>
                </a:lnTo>
                <a:lnTo>
                  <a:pt x="3" y="87"/>
                </a:lnTo>
                <a:lnTo>
                  <a:pt x="3" y="103"/>
                </a:lnTo>
                <a:lnTo>
                  <a:pt x="7" y="105"/>
                </a:lnTo>
                <a:lnTo>
                  <a:pt x="12" y="106"/>
                </a:lnTo>
                <a:lnTo>
                  <a:pt x="20" y="106"/>
                </a:lnTo>
                <a:lnTo>
                  <a:pt x="22" y="106"/>
                </a:lnTo>
                <a:lnTo>
                  <a:pt x="24" y="105"/>
                </a:lnTo>
                <a:lnTo>
                  <a:pt x="29" y="101"/>
                </a:lnTo>
                <a:lnTo>
                  <a:pt x="30" y="100"/>
                </a:lnTo>
                <a:lnTo>
                  <a:pt x="31" y="97"/>
                </a:lnTo>
                <a:lnTo>
                  <a:pt x="32" y="96"/>
                </a:lnTo>
                <a:lnTo>
                  <a:pt x="32" y="95"/>
                </a:lnTo>
                <a:lnTo>
                  <a:pt x="30" y="95"/>
                </a:lnTo>
                <a:lnTo>
                  <a:pt x="27" y="95"/>
                </a:lnTo>
                <a:lnTo>
                  <a:pt x="32" y="95"/>
                </a:lnTo>
                <a:lnTo>
                  <a:pt x="35" y="95"/>
                </a:lnTo>
                <a:lnTo>
                  <a:pt x="36" y="89"/>
                </a:lnTo>
                <a:lnTo>
                  <a:pt x="37" y="87"/>
                </a:lnTo>
                <a:lnTo>
                  <a:pt x="39" y="84"/>
                </a:lnTo>
                <a:lnTo>
                  <a:pt x="39" y="83"/>
                </a:lnTo>
                <a:lnTo>
                  <a:pt x="42" y="81"/>
                </a:lnTo>
                <a:lnTo>
                  <a:pt x="44" y="80"/>
                </a:lnTo>
                <a:lnTo>
                  <a:pt x="47" y="79"/>
                </a:lnTo>
                <a:lnTo>
                  <a:pt x="51" y="79"/>
                </a:lnTo>
                <a:lnTo>
                  <a:pt x="53" y="80"/>
                </a:lnTo>
                <a:lnTo>
                  <a:pt x="60" y="81"/>
                </a:lnTo>
                <a:lnTo>
                  <a:pt x="66" y="83"/>
                </a:lnTo>
                <a:lnTo>
                  <a:pt x="72" y="86"/>
                </a:lnTo>
                <a:lnTo>
                  <a:pt x="75" y="87"/>
                </a:lnTo>
                <a:lnTo>
                  <a:pt x="76" y="88"/>
                </a:lnTo>
                <a:lnTo>
                  <a:pt x="78" y="91"/>
                </a:lnTo>
                <a:lnTo>
                  <a:pt x="78" y="92"/>
                </a:lnTo>
                <a:lnTo>
                  <a:pt x="79" y="97"/>
                </a:lnTo>
                <a:lnTo>
                  <a:pt x="79" y="100"/>
                </a:lnTo>
                <a:lnTo>
                  <a:pt x="81" y="101"/>
                </a:lnTo>
                <a:lnTo>
                  <a:pt x="80" y="101"/>
                </a:lnTo>
                <a:lnTo>
                  <a:pt x="80" y="103"/>
                </a:lnTo>
                <a:lnTo>
                  <a:pt x="81" y="105"/>
                </a:lnTo>
                <a:lnTo>
                  <a:pt x="82" y="107"/>
                </a:lnTo>
                <a:lnTo>
                  <a:pt x="84" y="109"/>
                </a:lnTo>
                <a:lnTo>
                  <a:pt x="89" y="112"/>
                </a:lnTo>
                <a:lnTo>
                  <a:pt x="93" y="114"/>
                </a:lnTo>
                <a:lnTo>
                  <a:pt x="100" y="116"/>
                </a:lnTo>
                <a:lnTo>
                  <a:pt x="106" y="118"/>
                </a:lnTo>
                <a:lnTo>
                  <a:pt x="119" y="121"/>
                </a:lnTo>
                <a:lnTo>
                  <a:pt x="120" y="122"/>
                </a:lnTo>
                <a:lnTo>
                  <a:pt x="122" y="123"/>
                </a:lnTo>
                <a:lnTo>
                  <a:pt x="124" y="125"/>
                </a:lnTo>
                <a:lnTo>
                  <a:pt x="126" y="125"/>
                </a:lnTo>
                <a:lnTo>
                  <a:pt x="128" y="125"/>
                </a:lnTo>
                <a:lnTo>
                  <a:pt x="129" y="125"/>
                </a:lnTo>
                <a:lnTo>
                  <a:pt x="132" y="125"/>
                </a:lnTo>
                <a:lnTo>
                  <a:pt x="133" y="124"/>
                </a:lnTo>
                <a:lnTo>
                  <a:pt x="134" y="123"/>
                </a:lnTo>
                <a:lnTo>
                  <a:pt x="134" y="122"/>
                </a:lnTo>
                <a:lnTo>
                  <a:pt x="136" y="121"/>
                </a:lnTo>
                <a:lnTo>
                  <a:pt x="134" y="119"/>
                </a:lnTo>
                <a:lnTo>
                  <a:pt x="133" y="118"/>
                </a:lnTo>
                <a:lnTo>
                  <a:pt x="132" y="115"/>
                </a:lnTo>
                <a:lnTo>
                  <a:pt x="129" y="112"/>
                </a:lnTo>
                <a:lnTo>
                  <a:pt x="127" y="111"/>
                </a:lnTo>
                <a:lnTo>
                  <a:pt x="127" y="110"/>
                </a:lnTo>
                <a:lnTo>
                  <a:pt x="126" y="108"/>
                </a:lnTo>
                <a:lnTo>
                  <a:pt x="123" y="108"/>
                </a:lnTo>
                <a:lnTo>
                  <a:pt x="121" y="108"/>
                </a:lnTo>
                <a:lnTo>
                  <a:pt x="120" y="107"/>
                </a:lnTo>
                <a:lnTo>
                  <a:pt x="119" y="105"/>
                </a:lnTo>
                <a:lnTo>
                  <a:pt x="119" y="104"/>
                </a:lnTo>
                <a:lnTo>
                  <a:pt x="118" y="102"/>
                </a:lnTo>
                <a:lnTo>
                  <a:pt x="116" y="97"/>
                </a:lnTo>
                <a:lnTo>
                  <a:pt x="115" y="96"/>
                </a:lnTo>
                <a:lnTo>
                  <a:pt x="111" y="96"/>
                </a:lnTo>
                <a:lnTo>
                  <a:pt x="109" y="95"/>
                </a:lnTo>
                <a:lnTo>
                  <a:pt x="106" y="95"/>
                </a:lnTo>
                <a:lnTo>
                  <a:pt x="106" y="93"/>
                </a:lnTo>
                <a:lnTo>
                  <a:pt x="102" y="87"/>
                </a:lnTo>
                <a:lnTo>
                  <a:pt x="101" y="84"/>
                </a:lnTo>
                <a:lnTo>
                  <a:pt x="100" y="80"/>
                </a:lnTo>
                <a:lnTo>
                  <a:pt x="98" y="79"/>
                </a:lnTo>
                <a:lnTo>
                  <a:pt x="96" y="78"/>
                </a:lnTo>
                <a:lnTo>
                  <a:pt x="92" y="75"/>
                </a:lnTo>
                <a:lnTo>
                  <a:pt x="88" y="71"/>
                </a:lnTo>
                <a:lnTo>
                  <a:pt x="86" y="69"/>
                </a:lnTo>
                <a:lnTo>
                  <a:pt x="88" y="68"/>
                </a:lnTo>
                <a:lnTo>
                  <a:pt x="91" y="68"/>
                </a:lnTo>
                <a:lnTo>
                  <a:pt x="100" y="69"/>
                </a:lnTo>
                <a:lnTo>
                  <a:pt x="105" y="68"/>
                </a:lnTo>
                <a:lnTo>
                  <a:pt x="109" y="67"/>
                </a:lnTo>
                <a:lnTo>
                  <a:pt x="110" y="66"/>
                </a:lnTo>
                <a:lnTo>
                  <a:pt x="112" y="64"/>
                </a:lnTo>
                <a:lnTo>
                  <a:pt x="113" y="64"/>
                </a:lnTo>
                <a:lnTo>
                  <a:pt x="113" y="61"/>
                </a:lnTo>
                <a:lnTo>
                  <a:pt x="109" y="60"/>
                </a:lnTo>
                <a:lnTo>
                  <a:pt x="103" y="57"/>
                </a:lnTo>
                <a:lnTo>
                  <a:pt x="98" y="55"/>
                </a:lnTo>
                <a:lnTo>
                  <a:pt x="93" y="53"/>
                </a:lnTo>
                <a:lnTo>
                  <a:pt x="87" y="49"/>
                </a:lnTo>
                <a:lnTo>
                  <a:pt x="83" y="47"/>
                </a:lnTo>
                <a:lnTo>
                  <a:pt x="79" y="47"/>
                </a:lnTo>
                <a:lnTo>
                  <a:pt x="76" y="47"/>
                </a:lnTo>
                <a:lnTo>
                  <a:pt x="74" y="47"/>
                </a:lnTo>
                <a:lnTo>
                  <a:pt x="72" y="46"/>
                </a:lnTo>
                <a:lnTo>
                  <a:pt x="71" y="42"/>
                </a:lnTo>
                <a:lnTo>
                  <a:pt x="71" y="38"/>
                </a:lnTo>
                <a:lnTo>
                  <a:pt x="71" y="34"/>
                </a:lnTo>
                <a:lnTo>
                  <a:pt x="70" y="33"/>
                </a:lnTo>
                <a:lnTo>
                  <a:pt x="69" y="30"/>
                </a:lnTo>
                <a:lnTo>
                  <a:pt x="61" y="24"/>
                </a:lnTo>
                <a:lnTo>
                  <a:pt x="51" y="19"/>
                </a:lnTo>
                <a:lnTo>
                  <a:pt x="29" y="8"/>
                </a:lnTo>
                <a:lnTo>
                  <a:pt x="16" y="3"/>
                </a:lnTo>
                <a:lnTo>
                  <a:pt x="3" y="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63" name="Freeform 62">
            <a:extLst>
              <a:ext uri="{FF2B5EF4-FFF2-40B4-BE49-F238E27FC236}">
                <a16:creationId xmlns:a16="http://schemas.microsoft.com/office/drawing/2014/main" id="{32C1B17F-5400-4B91-39B2-1860CF20DACC}"/>
              </a:ext>
            </a:extLst>
          </p:cNvPr>
          <p:cNvSpPr>
            <a:spLocks/>
          </p:cNvSpPr>
          <p:nvPr/>
        </p:nvSpPr>
        <p:spPr bwMode="auto">
          <a:xfrm>
            <a:off x="9745038" y="5275109"/>
            <a:ext cx="115888" cy="57150"/>
          </a:xfrm>
          <a:custGeom>
            <a:avLst/>
            <a:gdLst>
              <a:gd name="T0" fmla="*/ 57 w 58"/>
              <a:gd name="T1" fmla="*/ 0 h 31"/>
              <a:gd name="T2" fmla="*/ 50 w 58"/>
              <a:gd name="T3" fmla="*/ 4 h 31"/>
              <a:gd name="T4" fmla="*/ 44 w 58"/>
              <a:gd name="T5" fmla="*/ 7 h 31"/>
              <a:gd name="T6" fmla="*/ 38 w 58"/>
              <a:gd name="T7" fmla="*/ 9 h 31"/>
              <a:gd name="T8" fmla="*/ 31 w 58"/>
              <a:gd name="T9" fmla="*/ 12 h 31"/>
              <a:gd name="T10" fmla="*/ 28 w 58"/>
              <a:gd name="T11" fmla="*/ 13 h 31"/>
              <a:gd name="T12" fmla="*/ 25 w 58"/>
              <a:gd name="T13" fmla="*/ 16 h 31"/>
              <a:gd name="T14" fmla="*/ 19 w 58"/>
              <a:gd name="T15" fmla="*/ 21 h 31"/>
              <a:gd name="T16" fmla="*/ 15 w 58"/>
              <a:gd name="T17" fmla="*/ 25 h 31"/>
              <a:gd name="T18" fmla="*/ 11 w 58"/>
              <a:gd name="T19" fmla="*/ 27 h 31"/>
              <a:gd name="T20" fmla="*/ 6 w 58"/>
              <a:gd name="T21" fmla="*/ 29 h 31"/>
              <a:gd name="T22" fmla="*/ 2 w 58"/>
              <a:gd name="T23" fmla="*/ 30 h 31"/>
              <a:gd name="T24" fmla="*/ 1 w 58"/>
              <a:gd name="T25" fmla="*/ 30 h 31"/>
              <a:gd name="T26" fmla="*/ 0 w 58"/>
              <a:gd name="T27" fmla="*/ 29 h 31"/>
              <a:gd name="T28" fmla="*/ 0 w 58"/>
              <a:gd name="T29" fmla="*/ 27 h 31"/>
              <a:gd name="T30" fmla="*/ 0 w 58"/>
              <a:gd name="T31" fmla="*/ 25 h 31"/>
              <a:gd name="T32" fmla="*/ 0 w 58"/>
              <a:gd name="T33" fmla="*/ 23 h 31"/>
              <a:gd name="T34" fmla="*/ 2 w 58"/>
              <a:gd name="T35" fmla="*/ 19 h 31"/>
              <a:gd name="T36" fmla="*/ 3 w 58"/>
              <a:gd name="T37" fmla="*/ 18 h 31"/>
              <a:gd name="T38" fmla="*/ 4 w 58"/>
              <a:gd name="T39" fmla="*/ 18 h 31"/>
              <a:gd name="T40" fmla="*/ 8 w 58"/>
              <a:gd name="T41" fmla="*/ 16 h 31"/>
              <a:gd name="T42" fmla="*/ 12 w 58"/>
              <a:gd name="T43" fmla="*/ 14 h 31"/>
              <a:gd name="T44" fmla="*/ 15 w 58"/>
              <a:gd name="T45" fmla="*/ 13 h 31"/>
              <a:gd name="T46" fmla="*/ 19 w 58"/>
              <a:gd name="T47" fmla="*/ 12 h 31"/>
              <a:gd name="T48" fmla="*/ 22 w 58"/>
              <a:gd name="T49" fmla="*/ 10 h 31"/>
              <a:gd name="T50" fmla="*/ 24 w 58"/>
              <a:gd name="T51" fmla="*/ 9 h 31"/>
              <a:gd name="T52" fmla="*/ 25 w 58"/>
              <a:gd name="T53" fmla="*/ 9 h 31"/>
              <a:gd name="T54" fmla="*/ 26 w 58"/>
              <a:gd name="T55" fmla="*/ 6 h 31"/>
              <a:gd name="T56" fmla="*/ 28 w 58"/>
              <a:gd name="T57" fmla="*/ 4 h 31"/>
              <a:gd name="T58" fmla="*/ 31 w 58"/>
              <a:gd name="T59" fmla="*/ 3 h 31"/>
              <a:gd name="T60" fmla="*/ 36 w 58"/>
              <a:gd name="T61" fmla="*/ 1 h 31"/>
              <a:gd name="T62" fmla="*/ 39 w 58"/>
              <a:gd name="T63" fmla="*/ 0 h 31"/>
              <a:gd name="T64" fmla="*/ 42 w 58"/>
              <a:gd name="T65" fmla="*/ 0 h 31"/>
              <a:gd name="T66" fmla="*/ 47 w 58"/>
              <a:gd name="T67" fmla="*/ 0 h 31"/>
              <a:gd name="T68" fmla="*/ 56 w 58"/>
              <a:gd name="T69" fmla="*/ 0 h 31"/>
              <a:gd name="T70" fmla="*/ 56 w 58"/>
              <a:gd name="T71" fmla="*/ 1 h 31"/>
              <a:gd name="T72" fmla="*/ 57 w 58"/>
              <a:gd name="T73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8" h="31">
                <a:moveTo>
                  <a:pt x="57" y="0"/>
                </a:moveTo>
                <a:lnTo>
                  <a:pt x="50" y="4"/>
                </a:lnTo>
                <a:lnTo>
                  <a:pt x="44" y="7"/>
                </a:lnTo>
                <a:lnTo>
                  <a:pt x="38" y="9"/>
                </a:lnTo>
                <a:lnTo>
                  <a:pt x="31" y="12"/>
                </a:lnTo>
                <a:lnTo>
                  <a:pt x="28" y="13"/>
                </a:lnTo>
                <a:lnTo>
                  <a:pt x="25" y="16"/>
                </a:lnTo>
                <a:lnTo>
                  <a:pt x="19" y="21"/>
                </a:lnTo>
                <a:lnTo>
                  <a:pt x="15" y="25"/>
                </a:lnTo>
                <a:lnTo>
                  <a:pt x="11" y="27"/>
                </a:lnTo>
                <a:lnTo>
                  <a:pt x="6" y="29"/>
                </a:lnTo>
                <a:lnTo>
                  <a:pt x="2" y="30"/>
                </a:lnTo>
                <a:lnTo>
                  <a:pt x="1" y="30"/>
                </a:lnTo>
                <a:lnTo>
                  <a:pt x="0" y="29"/>
                </a:lnTo>
                <a:lnTo>
                  <a:pt x="0" y="27"/>
                </a:lnTo>
                <a:lnTo>
                  <a:pt x="0" y="25"/>
                </a:lnTo>
                <a:lnTo>
                  <a:pt x="0" y="23"/>
                </a:lnTo>
                <a:lnTo>
                  <a:pt x="2" y="19"/>
                </a:lnTo>
                <a:lnTo>
                  <a:pt x="3" y="18"/>
                </a:lnTo>
                <a:lnTo>
                  <a:pt x="4" y="18"/>
                </a:lnTo>
                <a:lnTo>
                  <a:pt x="8" y="16"/>
                </a:lnTo>
                <a:lnTo>
                  <a:pt x="12" y="14"/>
                </a:lnTo>
                <a:lnTo>
                  <a:pt x="15" y="13"/>
                </a:lnTo>
                <a:lnTo>
                  <a:pt x="19" y="12"/>
                </a:lnTo>
                <a:lnTo>
                  <a:pt x="22" y="10"/>
                </a:lnTo>
                <a:lnTo>
                  <a:pt x="24" y="9"/>
                </a:lnTo>
                <a:lnTo>
                  <a:pt x="25" y="9"/>
                </a:lnTo>
                <a:lnTo>
                  <a:pt x="26" y="6"/>
                </a:lnTo>
                <a:lnTo>
                  <a:pt x="28" y="4"/>
                </a:lnTo>
                <a:lnTo>
                  <a:pt x="31" y="3"/>
                </a:lnTo>
                <a:lnTo>
                  <a:pt x="36" y="1"/>
                </a:lnTo>
                <a:lnTo>
                  <a:pt x="39" y="0"/>
                </a:lnTo>
                <a:lnTo>
                  <a:pt x="42" y="0"/>
                </a:lnTo>
                <a:lnTo>
                  <a:pt x="47" y="0"/>
                </a:lnTo>
                <a:lnTo>
                  <a:pt x="56" y="0"/>
                </a:lnTo>
                <a:lnTo>
                  <a:pt x="56" y="1"/>
                </a:lnTo>
                <a:lnTo>
                  <a:pt x="57" y="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64" name="Freeform 63">
            <a:extLst>
              <a:ext uri="{FF2B5EF4-FFF2-40B4-BE49-F238E27FC236}">
                <a16:creationId xmlns:a16="http://schemas.microsoft.com/office/drawing/2014/main" id="{32B8868E-BD53-9583-D786-9FAE55C09EDC}"/>
              </a:ext>
            </a:extLst>
          </p:cNvPr>
          <p:cNvSpPr>
            <a:spLocks/>
          </p:cNvSpPr>
          <p:nvPr/>
        </p:nvSpPr>
        <p:spPr bwMode="auto">
          <a:xfrm>
            <a:off x="9646613" y="5270346"/>
            <a:ext cx="87313" cy="31750"/>
          </a:xfrm>
          <a:custGeom>
            <a:avLst/>
            <a:gdLst>
              <a:gd name="T0" fmla="*/ 33 w 43"/>
              <a:gd name="T1" fmla="*/ 12 h 17"/>
              <a:gd name="T2" fmla="*/ 32 w 43"/>
              <a:gd name="T3" fmla="*/ 14 h 17"/>
              <a:gd name="T4" fmla="*/ 29 w 43"/>
              <a:gd name="T5" fmla="*/ 16 h 17"/>
              <a:gd name="T6" fmla="*/ 27 w 43"/>
              <a:gd name="T7" fmla="*/ 16 h 17"/>
              <a:gd name="T8" fmla="*/ 24 w 43"/>
              <a:gd name="T9" fmla="*/ 14 h 17"/>
              <a:gd name="T10" fmla="*/ 20 w 43"/>
              <a:gd name="T11" fmla="*/ 12 h 17"/>
              <a:gd name="T12" fmla="*/ 17 w 43"/>
              <a:gd name="T13" fmla="*/ 12 h 17"/>
              <a:gd name="T14" fmla="*/ 12 w 43"/>
              <a:gd name="T15" fmla="*/ 14 h 17"/>
              <a:gd name="T16" fmla="*/ 6 w 43"/>
              <a:gd name="T17" fmla="*/ 14 h 17"/>
              <a:gd name="T18" fmla="*/ 4 w 43"/>
              <a:gd name="T19" fmla="*/ 14 h 17"/>
              <a:gd name="T20" fmla="*/ 2 w 43"/>
              <a:gd name="T21" fmla="*/ 14 h 17"/>
              <a:gd name="T22" fmla="*/ 1 w 43"/>
              <a:gd name="T23" fmla="*/ 12 h 17"/>
              <a:gd name="T24" fmla="*/ 0 w 43"/>
              <a:gd name="T25" fmla="*/ 10 h 17"/>
              <a:gd name="T26" fmla="*/ 0 w 43"/>
              <a:gd name="T27" fmla="*/ 5 h 17"/>
              <a:gd name="T28" fmla="*/ 3 w 43"/>
              <a:gd name="T29" fmla="*/ 0 h 17"/>
              <a:gd name="T30" fmla="*/ 6 w 43"/>
              <a:gd name="T31" fmla="*/ 0 h 17"/>
              <a:gd name="T32" fmla="*/ 9 w 43"/>
              <a:gd name="T33" fmla="*/ 0 h 17"/>
              <a:gd name="T34" fmla="*/ 11 w 43"/>
              <a:gd name="T35" fmla="*/ 0 h 17"/>
              <a:gd name="T36" fmla="*/ 14 w 43"/>
              <a:gd name="T37" fmla="*/ 0 h 17"/>
              <a:gd name="T38" fmla="*/ 19 w 43"/>
              <a:gd name="T39" fmla="*/ 5 h 17"/>
              <a:gd name="T40" fmla="*/ 23 w 43"/>
              <a:gd name="T41" fmla="*/ 10 h 17"/>
              <a:gd name="T42" fmla="*/ 26 w 43"/>
              <a:gd name="T43" fmla="*/ 10 h 17"/>
              <a:gd name="T44" fmla="*/ 29 w 43"/>
              <a:gd name="T45" fmla="*/ 10 h 17"/>
              <a:gd name="T46" fmla="*/ 32 w 43"/>
              <a:gd name="T47" fmla="*/ 10 h 17"/>
              <a:gd name="T48" fmla="*/ 35 w 43"/>
              <a:gd name="T49" fmla="*/ 7 h 17"/>
              <a:gd name="T50" fmla="*/ 42 w 43"/>
              <a:gd name="T51" fmla="*/ 5 h 17"/>
              <a:gd name="T52" fmla="*/ 41 w 43"/>
              <a:gd name="T53" fmla="*/ 7 h 17"/>
              <a:gd name="T54" fmla="*/ 39 w 43"/>
              <a:gd name="T55" fmla="*/ 10 h 17"/>
              <a:gd name="T56" fmla="*/ 36 w 43"/>
              <a:gd name="T57" fmla="*/ 12 h 17"/>
              <a:gd name="T58" fmla="*/ 33 w 43"/>
              <a:gd name="T59" fmla="*/ 14 h 17"/>
              <a:gd name="T60" fmla="*/ 32 w 43"/>
              <a:gd name="T61" fmla="*/ 14 h 17"/>
              <a:gd name="T62" fmla="*/ 32 w 43"/>
              <a:gd name="T63" fmla="*/ 16 h 17"/>
              <a:gd name="T64" fmla="*/ 33 w 43"/>
              <a:gd name="T65" fmla="*/ 12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43" h="17">
                <a:moveTo>
                  <a:pt x="33" y="12"/>
                </a:moveTo>
                <a:lnTo>
                  <a:pt x="32" y="14"/>
                </a:lnTo>
                <a:lnTo>
                  <a:pt x="29" y="16"/>
                </a:lnTo>
                <a:lnTo>
                  <a:pt x="27" y="16"/>
                </a:lnTo>
                <a:lnTo>
                  <a:pt x="24" y="14"/>
                </a:lnTo>
                <a:lnTo>
                  <a:pt x="20" y="12"/>
                </a:lnTo>
                <a:lnTo>
                  <a:pt x="17" y="12"/>
                </a:lnTo>
                <a:lnTo>
                  <a:pt x="12" y="14"/>
                </a:lnTo>
                <a:lnTo>
                  <a:pt x="6" y="14"/>
                </a:lnTo>
                <a:lnTo>
                  <a:pt x="4" y="14"/>
                </a:lnTo>
                <a:lnTo>
                  <a:pt x="2" y="14"/>
                </a:lnTo>
                <a:lnTo>
                  <a:pt x="1" y="12"/>
                </a:lnTo>
                <a:lnTo>
                  <a:pt x="0" y="10"/>
                </a:lnTo>
                <a:lnTo>
                  <a:pt x="0" y="5"/>
                </a:lnTo>
                <a:lnTo>
                  <a:pt x="3" y="0"/>
                </a:lnTo>
                <a:lnTo>
                  <a:pt x="6" y="0"/>
                </a:lnTo>
                <a:lnTo>
                  <a:pt x="9" y="0"/>
                </a:lnTo>
                <a:lnTo>
                  <a:pt x="11" y="0"/>
                </a:lnTo>
                <a:lnTo>
                  <a:pt x="14" y="0"/>
                </a:lnTo>
                <a:lnTo>
                  <a:pt x="19" y="5"/>
                </a:lnTo>
                <a:lnTo>
                  <a:pt x="23" y="10"/>
                </a:lnTo>
                <a:lnTo>
                  <a:pt x="26" y="10"/>
                </a:lnTo>
                <a:lnTo>
                  <a:pt x="29" y="10"/>
                </a:lnTo>
                <a:lnTo>
                  <a:pt x="32" y="10"/>
                </a:lnTo>
                <a:lnTo>
                  <a:pt x="35" y="7"/>
                </a:lnTo>
                <a:lnTo>
                  <a:pt x="42" y="5"/>
                </a:lnTo>
                <a:lnTo>
                  <a:pt x="41" y="7"/>
                </a:lnTo>
                <a:lnTo>
                  <a:pt x="39" y="10"/>
                </a:lnTo>
                <a:lnTo>
                  <a:pt x="36" y="12"/>
                </a:lnTo>
                <a:lnTo>
                  <a:pt x="33" y="14"/>
                </a:lnTo>
                <a:lnTo>
                  <a:pt x="32" y="14"/>
                </a:lnTo>
                <a:lnTo>
                  <a:pt x="32" y="16"/>
                </a:lnTo>
                <a:lnTo>
                  <a:pt x="33" y="12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65" name="Freeform 64">
            <a:extLst>
              <a:ext uri="{FF2B5EF4-FFF2-40B4-BE49-F238E27FC236}">
                <a16:creationId xmlns:a16="http://schemas.microsoft.com/office/drawing/2014/main" id="{80154F48-D7DC-34AF-6194-B0DD3CDD8B68}"/>
              </a:ext>
            </a:extLst>
          </p:cNvPr>
          <p:cNvSpPr>
            <a:spLocks/>
          </p:cNvSpPr>
          <p:nvPr/>
        </p:nvSpPr>
        <p:spPr bwMode="auto">
          <a:xfrm>
            <a:off x="9619625" y="5297334"/>
            <a:ext cx="47625" cy="33338"/>
          </a:xfrm>
          <a:custGeom>
            <a:avLst/>
            <a:gdLst>
              <a:gd name="T0" fmla="*/ 15 w 24"/>
              <a:gd name="T1" fmla="*/ 14 h 17"/>
              <a:gd name="T2" fmla="*/ 13 w 24"/>
              <a:gd name="T3" fmla="*/ 13 h 17"/>
              <a:gd name="T4" fmla="*/ 6 w 24"/>
              <a:gd name="T5" fmla="*/ 10 h 17"/>
              <a:gd name="T6" fmla="*/ 0 w 24"/>
              <a:gd name="T7" fmla="*/ 4 h 17"/>
              <a:gd name="T8" fmla="*/ 1 w 24"/>
              <a:gd name="T9" fmla="*/ 1 h 17"/>
              <a:gd name="T10" fmla="*/ 4 w 24"/>
              <a:gd name="T11" fmla="*/ 0 h 17"/>
              <a:gd name="T12" fmla="*/ 9 w 24"/>
              <a:gd name="T13" fmla="*/ 0 h 17"/>
              <a:gd name="T14" fmla="*/ 10 w 24"/>
              <a:gd name="T15" fmla="*/ 0 h 17"/>
              <a:gd name="T16" fmla="*/ 13 w 24"/>
              <a:gd name="T17" fmla="*/ 0 h 17"/>
              <a:gd name="T18" fmla="*/ 15 w 24"/>
              <a:gd name="T19" fmla="*/ 2 h 17"/>
              <a:gd name="T20" fmla="*/ 18 w 24"/>
              <a:gd name="T21" fmla="*/ 5 h 17"/>
              <a:gd name="T22" fmla="*/ 19 w 24"/>
              <a:gd name="T23" fmla="*/ 6 h 17"/>
              <a:gd name="T24" fmla="*/ 20 w 24"/>
              <a:gd name="T25" fmla="*/ 6 h 17"/>
              <a:gd name="T26" fmla="*/ 22 w 24"/>
              <a:gd name="T27" fmla="*/ 11 h 17"/>
              <a:gd name="T28" fmla="*/ 23 w 24"/>
              <a:gd name="T29" fmla="*/ 12 h 17"/>
              <a:gd name="T30" fmla="*/ 20 w 24"/>
              <a:gd name="T31" fmla="*/ 14 h 17"/>
              <a:gd name="T32" fmla="*/ 19 w 24"/>
              <a:gd name="T33" fmla="*/ 16 h 17"/>
              <a:gd name="T34" fmla="*/ 16 w 24"/>
              <a:gd name="T35" fmla="*/ 16 h 17"/>
              <a:gd name="T36" fmla="*/ 15 w 24"/>
              <a:gd name="T37" fmla="*/ 16 h 17"/>
              <a:gd name="T38" fmla="*/ 15 w 24"/>
              <a:gd name="T39" fmla="*/ 14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4" h="17">
                <a:moveTo>
                  <a:pt x="15" y="14"/>
                </a:moveTo>
                <a:lnTo>
                  <a:pt x="13" y="13"/>
                </a:lnTo>
                <a:lnTo>
                  <a:pt x="6" y="10"/>
                </a:lnTo>
                <a:lnTo>
                  <a:pt x="0" y="4"/>
                </a:lnTo>
                <a:lnTo>
                  <a:pt x="1" y="1"/>
                </a:lnTo>
                <a:lnTo>
                  <a:pt x="4" y="0"/>
                </a:lnTo>
                <a:lnTo>
                  <a:pt x="9" y="0"/>
                </a:lnTo>
                <a:lnTo>
                  <a:pt x="10" y="0"/>
                </a:lnTo>
                <a:lnTo>
                  <a:pt x="13" y="0"/>
                </a:lnTo>
                <a:lnTo>
                  <a:pt x="15" y="2"/>
                </a:lnTo>
                <a:lnTo>
                  <a:pt x="18" y="5"/>
                </a:lnTo>
                <a:lnTo>
                  <a:pt x="19" y="6"/>
                </a:lnTo>
                <a:lnTo>
                  <a:pt x="20" y="6"/>
                </a:lnTo>
                <a:lnTo>
                  <a:pt x="22" y="11"/>
                </a:lnTo>
                <a:lnTo>
                  <a:pt x="23" y="12"/>
                </a:lnTo>
                <a:lnTo>
                  <a:pt x="20" y="14"/>
                </a:lnTo>
                <a:lnTo>
                  <a:pt x="19" y="16"/>
                </a:lnTo>
                <a:lnTo>
                  <a:pt x="16" y="16"/>
                </a:lnTo>
                <a:lnTo>
                  <a:pt x="15" y="16"/>
                </a:lnTo>
                <a:lnTo>
                  <a:pt x="15" y="14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66" name="Freeform 65">
            <a:extLst>
              <a:ext uri="{FF2B5EF4-FFF2-40B4-BE49-F238E27FC236}">
                <a16:creationId xmlns:a16="http://schemas.microsoft.com/office/drawing/2014/main" id="{018AC745-418D-8DA1-54B9-6D26041F2662}"/>
              </a:ext>
            </a:extLst>
          </p:cNvPr>
          <p:cNvSpPr>
            <a:spLocks/>
          </p:cNvSpPr>
          <p:nvPr/>
        </p:nvSpPr>
        <p:spPr bwMode="auto">
          <a:xfrm>
            <a:off x="9227513" y="5205259"/>
            <a:ext cx="293688" cy="79375"/>
          </a:xfrm>
          <a:custGeom>
            <a:avLst/>
            <a:gdLst>
              <a:gd name="T0" fmla="*/ 7 w 146"/>
              <a:gd name="T1" fmla="*/ 13 h 42"/>
              <a:gd name="T2" fmla="*/ 0 w 146"/>
              <a:gd name="T3" fmla="*/ 10 h 42"/>
              <a:gd name="T4" fmla="*/ 3 w 146"/>
              <a:gd name="T5" fmla="*/ 9 h 42"/>
              <a:gd name="T6" fmla="*/ 8 w 146"/>
              <a:gd name="T7" fmla="*/ 8 h 42"/>
              <a:gd name="T8" fmla="*/ 9 w 146"/>
              <a:gd name="T9" fmla="*/ 6 h 42"/>
              <a:gd name="T10" fmla="*/ 9 w 146"/>
              <a:gd name="T11" fmla="*/ 2 h 42"/>
              <a:gd name="T12" fmla="*/ 9 w 146"/>
              <a:gd name="T13" fmla="*/ 0 h 42"/>
              <a:gd name="T14" fmla="*/ 12 w 146"/>
              <a:gd name="T15" fmla="*/ 0 h 42"/>
              <a:gd name="T16" fmla="*/ 20 w 146"/>
              <a:gd name="T17" fmla="*/ 0 h 42"/>
              <a:gd name="T18" fmla="*/ 32 w 146"/>
              <a:gd name="T19" fmla="*/ 1 h 42"/>
              <a:gd name="T20" fmla="*/ 45 w 146"/>
              <a:gd name="T21" fmla="*/ 3 h 42"/>
              <a:gd name="T22" fmla="*/ 47 w 146"/>
              <a:gd name="T23" fmla="*/ 5 h 42"/>
              <a:gd name="T24" fmla="*/ 48 w 146"/>
              <a:gd name="T25" fmla="*/ 10 h 42"/>
              <a:gd name="T26" fmla="*/ 51 w 146"/>
              <a:gd name="T27" fmla="*/ 13 h 42"/>
              <a:gd name="T28" fmla="*/ 63 w 146"/>
              <a:gd name="T29" fmla="*/ 13 h 42"/>
              <a:gd name="T30" fmla="*/ 70 w 146"/>
              <a:gd name="T31" fmla="*/ 13 h 42"/>
              <a:gd name="T32" fmla="*/ 74 w 146"/>
              <a:gd name="T33" fmla="*/ 10 h 42"/>
              <a:gd name="T34" fmla="*/ 80 w 146"/>
              <a:gd name="T35" fmla="*/ 8 h 42"/>
              <a:gd name="T36" fmla="*/ 83 w 146"/>
              <a:gd name="T37" fmla="*/ 8 h 42"/>
              <a:gd name="T38" fmla="*/ 87 w 146"/>
              <a:gd name="T39" fmla="*/ 10 h 42"/>
              <a:gd name="T40" fmla="*/ 90 w 146"/>
              <a:gd name="T41" fmla="*/ 10 h 42"/>
              <a:gd name="T42" fmla="*/ 92 w 146"/>
              <a:gd name="T43" fmla="*/ 13 h 42"/>
              <a:gd name="T44" fmla="*/ 98 w 146"/>
              <a:gd name="T45" fmla="*/ 13 h 42"/>
              <a:gd name="T46" fmla="*/ 104 w 146"/>
              <a:gd name="T47" fmla="*/ 14 h 42"/>
              <a:gd name="T48" fmla="*/ 106 w 146"/>
              <a:gd name="T49" fmla="*/ 17 h 42"/>
              <a:gd name="T50" fmla="*/ 106 w 146"/>
              <a:gd name="T51" fmla="*/ 20 h 42"/>
              <a:gd name="T52" fmla="*/ 109 w 146"/>
              <a:gd name="T53" fmla="*/ 23 h 42"/>
              <a:gd name="T54" fmla="*/ 119 w 146"/>
              <a:gd name="T55" fmla="*/ 26 h 42"/>
              <a:gd name="T56" fmla="*/ 131 w 146"/>
              <a:gd name="T57" fmla="*/ 27 h 42"/>
              <a:gd name="T58" fmla="*/ 136 w 146"/>
              <a:gd name="T59" fmla="*/ 30 h 42"/>
              <a:gd name="T60" fmla="*/ 145 w 146"/>
              <a:gd name="T61" fmla="*/ 32 h 42"/>
              <a:gd name="T62" fmla="*/ 145 w 146"/>
              <a:gd name="T63" fmla="*/ 37 h 42"/>
              <a:gd name="T64" fmla="*/ 141 w 146"/>
              <a:gd name="T65" fmla="*/ 39 h 42"/>
              <a:gd name="T66" fmla="*/ 138 w 146"/>
              <a:gd name="T67" fmla="*/ 39 h 42"/>
              <a:gd name="T68" fmla="*/ 133 w 146"/>
              <a:gd name="T69" fmla="*/ 35 h 42"/>
              <a:gd name="T70" fmla="*/ 129 w 146"/>
              <a:gd name="T71" fmla="*/ 37 h 42"/>
              <a:gd name="T72" fmla="*/ 128 w 146"/>
              <a:gd name="T73" fmla="*/ 41 h 42"/>
              <a:gd name="T74" fmla="*/ 125 w 146"/>
              <a:gd name="T75" fmla="*/ 41 h 42"/>
              <a:gd name="T76" fmla="*/ 118 w 146"/>
              <a:gd name="T77" fmla="*/ 37 h 42"/>
              <a:gd name="T78" fmla="*/ 110 w 146"/>
              <a:gd name="T79" fmla="*/ 35 h 42"/>
              <a:gd name="T80" fmla="*/ 83 w 146"/>
              <a:gd name="T81" fmla="*/ 35 h 42"/>
              <a:gd name="T82" fmla="*/ 82 w 146"/>
              <a:gd name="T83" fmla="*/ 33 h 42"/>
              <a:gd name="T84" fmla="*/ 76 w 146"/>
              <a:gd name="T85" fmla="*/ 32 h 42"/>
              <a:gd name="T86" fmla="*/ 71 w 146"/>
              <a:gd name="T87" fmla="*/ 30 h 42"/>
              <a:gd name="T88" fmla="*/ 67 w 146"/>
              <a:gd name="T89" fmla="*/ 27 h 42"/>
              <a:gd name="T90" fmla="*/ 58 w 146"/>
              <a:gd name="T91" fmla="*/ 27 h 42"/>
              <a:gd name="T92" fmla="*/ 47 w 146"/>
              <a:gd name="T93" fmla="*/ 26 h 42"/>
              <a:gd name="T94" fmla="*/ 38 w 146"/>
              <a:gd name="T95" fmla="*/ 26 h 42"/>
              <a:gd name="T96" fmla="*/ 32 w 146"/>
              <a:gd name="T97" fmla="*/ 23 h 42"/>
              <a:gd name="T98" fmla="*/ 29 w 146"/>
              <a:gd name="T99" fmla="*/ 21 h 42"/>
              <a:gd name="T100" fmla="*/ 22 w 146"/>
              <a:gd name="T101" fmla="*/ 21 h 42"/>
              <a:gd name="T102" fmla="*/ 18 w 146"/>
              <a:gd name="T103" fmla="*/ 19 h 42"/>
              <a:gd name="T104" fmla="*/ 16 w 146"/>
              <a:gd name="T105" fmla="*/ 15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46" h="42">
                <a:moveTo>
                  <a:pt x="14" y="13"/>
                </a:moveTo>
                <a:lnTo>
                  <a:pt x="7" y="13"/>
                </a:lnTo>
                <a:lnTo>
                  <a:pt x="3" y="13"/>
                </a:lnTo>
                <a:lnTo>
                  <a:pt x="0" y="10"/>
                </a:lnTo>
                <a:lnTo>
                  <a:pt x="1" y="10"/>
                </a:lnTo>
                <a:lnTo>
                  <a:pt x="3" y="9"/>
                </a:lnTo>
                <a:lnTo>
                  <a:pt x="6" y="9"/>
                </a:lnTo>
                <a:lnTo>
                  <a:pt x="8" y="8"/>
                </a:lnTo>
                <a:lnTo>
                  <a:pt x="8" y="7"/>
                </a:lnTo>
                <a:lnTo>
                  <a:pt x="9" y="6"/>
                </a:lnTo>
                <a:lnTo>
                  <a:pt x="9" y="4"/>
                </a:lnTo>
                <a:lnTo>
                  <a:pt x="9" y="2"/>
                </a:lnTo>
                <a:lnTo>
                  <a:pt x="9" y="1"/>
                </a:lnTo>
                <a:lnTo>
                  <a:pt x="9" y="0"/>
                </a:lnTo>
                <a:lnTo>
                  <a:pt x="11" y="0"/>
                </a:lnTo>
                <a:lnTo>
                  <a:pt x="12" y="0"/>
                </a:lnTo>
                <a:lnTo>
                  <a:pt x="16" y="0"/>
                </a:lnTo>
                <a:lnTo>
                  <a:pt x="20" y="0"/>
                </a:lnTo>
                <a:lnTo>
                  <a:pt x="26" y="0"/>
                </a:lnTo>
                <a:lnTo>
                  <a:pt x="32" y="1"/>
                </a:lnTo>
                <a:lnTo>
                  <a:pt x="44" y="3"/>
                </a:lnTo>
                <a:lnTo>
                  <a:pt x="45" y="3"/>
                </a:lnTo>
                <a:lnTo>
                  <a:pt x="45" y="4"/>
                </a:lnTo>
                <a:lnTo>
                  <a:pt x="47" y="5"/>
                </a:lnTo>
                <a:lnTo>
                  <a:pt x="48" y="6"/>
                </a:lnTo>
                <a:lnTo>
                  <a:pt x="48" y="10"/>
                </a:lnTo>
                <a:lnTo>
                  <a:pt x="49" y="12"/>
                </a:lnTo>
                <a:lnTo>
                  <a:pt x="51" y="13"/>
                </a:lnTo>
                <a:lnTo>
                  <a:pt x="55" y="13"/>
                </a:lnTo>
                <a:lnTo>
                  <a:pt x="63" y="13"/>
                </a:lnTo>
                <a:lnTo>
                  <a:pt x="67" y="13"/>
                </a:lnTo>
                <a:lnTo>
                  <a:pt x="70" y="13"/>
                </a:lnTo>
                <a:lnTo>
                  <a:pt x="72" y="12"/>
                </a:lnTo>
                <a:lnTo>
                  <a:pt x="74" y="10"/>
                </a:lnTo>
                <a:lnTo>
                  <a:pt x="78" y="9"/>
                </a:lnTo>
                <a:lnTo>
                  <a:pt x="80" y="8"/>
                </a:lnTo>
                <a:lnTo>
                  <a:pt x="83" y="7"/>
                </a:lnTo>
                <a:lnTo>
                  <a:pt x="83" y="8"/>
                </a:lnTo>
                <a:lnTo>
                  <a:pt x="84" y="9"/>
                </a:lnTo>
                <a:lnTo>
                  <a:pt x="87" y="10"/>
                </a:lnTo>
                <a:lnTo>
                  <a:pt x="88" y="10"/>
                </a:lnTo>
                <a:lnTo>
                  <a:pt x="90" y="10"/>
                </a:lnTo>
                <a:lnTo>
                  <a:pt x="91" y="12"/>
                </a:lnTo>
                <a:lnTo>
                  <a:pt x="92" y="13"/>
                </a:lnTo>
                <a:lnTo>
                  <a:pt x="94" y="13"/>
                </a:lnTo>
                <a:lnTo>
                  <a:pt x="98" y="13"/>
                </a:lnTo>
                <a:lnTo>
                  <a:pt x="102" y="14"/>
                </a:lnTo>
                <a:lnTo>
                  <a:pt x="104" y="14"/>
                </a:lnTo>
                <a:lnTo>
                  <a:pt x="105" y="15"/>
                </a:lnTo>
                <a:lnTo>
                  <a:pt x="106" y="17"/>
                </a:lnTo>
                <a:lnTo>
                  <a:pt x="106" y="18"/>
                </a:lnTo>
                <a:lnTo>
                  <a:pt x="106" y="20"/>
                </a:lnTo>
                <a:lnTo>
                  <a:pt x="107" y="23"/>
                </a:lnTo>
                <a:lnTo>
                  <a:pt x="109" y="23"/>
                </a:lnTo>
                <a:lnTo>
                  <a:pt x="112" y="24"/>
                </a:lnTo>
                <a:lnTo>
                  <a:pt x="119" y="26"/>
                </a:lnTo>
                <a:lnTo>
                  <a:pt x="129" y="27"/>
                </a:lnTo>
                <a:lnTo>
                  <a:pt x="131" y="27"/>
                </a:lnTo>
                <a:lnTo>
                  <a:pt x="132" y="28"/>
                </a:lnTo>
                <a:lnTo>
                  <a:pt x="136" y="30"/>
                </a:lnTo>
                <a:lnTo>
                  <a:pt x="141" y="32"/>
                </a:lnTo>
                <a:lnTo>
                  <a:pt x="145" y="32"/>
                </a:lnTo>
                <a:lnTo>
                  <a:pt x="145" y="35"/>
                </a:lnTo>
                <a:lnTo>
                  <a:pt x="145" y="37"/>
                </a:lnTo>
                <a:lnTo>
                  <a:pt x="143" y="37"/>
                </a:lnTo>
                <a:lnTo>
                  <a:pt x="141" y="39"/>
                </a:lnTo>
                <a:lnTo>
                  <a:pt x="141" y="40"/>
                </a:lnTo>
                <a:lnTo>
                  <a:pt x="138" y="39"/>
                </a:lnTo>
                <a:lnTo>
                  <a:pt x="135" y="37"/>
                </a:lnTo>
                <a:lnTo>
                  <a:pt x="133" y="35"/>
                </a:lnTo>
                <a:lnTo>
                  <a:pt x="131" y="34"/>
                </a:lnTo>
                <a:lnTo>
                  <a:pt x="129" y="37"/>
                </a:lnTo>
                <a:lnTo>
                  <a:pt x="128" y="40"/>
                </a:lnTo>
                <a:lnTo>
                  <a:pt x="128" y="41"/>
                </a:lnTo>
                <a:lnTo>
                  <a:pt x="127" y="41"/>
                </a:lnTo>
                <a:lnTo>
                  <a:pt x="125" y="41"/>
                </a:lnTo>
                <a:lnTo>
                  <a:pt x="122" y="40"/>
                </a:lnTo>
                <a:lnTo>
                  <a:pt x="118" y="37"/>
                </a:lnTo>
                <a:lnTo>
                  <a:pt x="113" y="36"/>
                </a:lnTo>
                <a:lnTo>
                  <a:pt x="110" y="35"/>
                </a:lnTo>
                <a:lnTo>
                  <a:pt x="107" y="35"/>
                </a:lnTo>
                <a:lnTo>
                  <a:pt x="83" y="35"/>
                </a:lnTo>
                <a:lnTo>
                  <a:pt x="83" y="33"/>
                </a:lnTo>
                <a:lnTo>
                  <a:pt x="82" y="33"/>
                </a:lnTo>
                <a:lnTo>
                  <a:pt x="80" y="32"/>
                </a:lnTo>
                <a:lnTo>
                  <a:pt x="76" y="32"/>
                </a:lnTo>
                <a:lnTo>
                  <a:pt x="74" y="31"/>
                </a:lnTo>
                <a:lnTo>
                  <a:pt x="71" y="30"/>
                </a:lnTo>
                <a:lnTo>
                  <a:pt x="69" y="28"/>
                </a:lnTo>
                <a:lnTo>
                  <a:pt x="67" y="27"/>
                </a:lnTo>
                <a:lnTo>
                  <a:pt x="63" y="27"/>
                </a:lnTo>
                <a:lnTo>
                  <a:pt x="58" y="27"/>
                </a:lnTo>
                <a:lnTo>
                  <a:pt x="50" y="26"/>
                </a:lnTo>
                <a:lnTo>
                  <a:pt x="47" y="26"/>
                </a:lnTo>
                <a:lnTo>
                  <a:pt x="44" y="26"/>
                </a:lnTo>
                <a:lnTo>
                  <a:pt x="38" y="26"/>
                </a:lnTo>
                <a:lnTo>
                  <a:pt x="35" y="24"/>
                </a:lnTo>
                <a:lnTo>
                  <a:pt x="32" y="23"/>
                </a:lnTo>
                <a:lnTo>
                  <a:pt x="31" y="22"/>
                </a:lnTo>
                <a:lnTo>
                  <a:pt x="29" y="21"/>
                </a:lnTo>
                <a:lnTo>
                  <a:pt x="26" y="21"/>
                </a:lnTo>
                <a:lnTo>
                  <a:pt x="22" y="21"/>
                </a:lnTo>
                <a:lnTo>
                  <a:pt x="18" y="21"/>
                </a:lnTo>
                <a:lnTo>
                  <a:pt x="18" y="19"/>
                </a:lnTo>
                <a:lnTo>
                  <a:pt x="16" y="17"/>
                </a:lnTo>
                <a:lnTo>
                  <a:pt x="16" y="15"/>
                </a:lnTo>
                <a:lnTo>
                  <a:pt x="14" y="13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67" name="Freeform 66">
            <a:extLst>
              <a:ext uri="{FF2B5EF4-FFF2-40B4-BE49-F238E27FC236}">
                <a16:creationId xmlns:a16="http://schemas.microsoft.com/office/drawing/2014/main" id="{4CB96706-E179-F86B-87AA-4626019A2589}"/>
              </a:ext>
            </a:extLst>
          </p:cNvPr>
          <p:cNvSpPr>
            <a:spLocks/>
          </p:cNvSpPr>
          <p:nvPr/>
        </p:nvSpPr>
        <p:spPr bwMode="auto">
          <a:xfrm>
            <a:off x="9227513" y="5083021"/>
            <a:ext cx="47625" cy="41275"/>
          </a:xfrm>
          <a:custGeom>
            <a:avLst/>
            <a:gdLst>
              <a:gd name="T0" fmla="*/ 0 w 24"/>
              <a:gd name="T1" fmla="*/ 4 h 22"/>
              <a:gd name="T2" fmla="*/ 3 w 24"/>
              <a:gd name="T3" fmla="*/ 3 h 22"/>
              <a:gd name="T4" fmla="*/ 6 w 24"/>
              <a:gd name="T5" fmla="*/ 2 h 22"/>
              <a:gd name="T6" fmla="*/ 7 w 24"/>
              <a:gd name="T7" fmla="*/ 0 h 22"/>
              <a:gd name="T8" fmla="*/ 11 w 24"/>
              <a:gd name="T9" fmla="*/ 0 h 22"/>
              <a:gd name="T10" fmla="*/ 12 w 24"/>
              <a:gd name="T11" fmla="*/ 0 h 22"/>
              <a:gd name="T12" fmla="*/ 13 w 24"/>
              <a:gd name="T13" fmla="*/ 1 h 22"/>
              <a:gd name="T14" fmla="*/ 13 w 24"/>
              <a:gd name="T15" fmla="*/ 2 h 22"/>
              <a:gd name="T16" fmla="*/ 13 w 24"/>
              <a:gd name="T17" fmla="*/ 4 h 22"/>
              <a:gd name="T18" fmla="*/ 13 w 24"/>
              <a:gd name="T19" fmla="*/ 6 h 22"/>
              <a:gd name="T20" fmla="*/ 14 w 24"/>
              <a:gd name="T21" fmla="*/ 8 h 22"/>
              <a:gd name="T22" fmla="*/ 17 w 24"/>
              <a:gd name="T23" fmla="*/ 11 h 22"/>
              <a:gd name="T24" fmla="*/ 20 w 24"/>
              <a:gd name="T25" fmla="*/ 13 h 22"/>
              <a:gd name="T26" fmla="*/ 23 w 24"/>
              <a:gd name="T27" fmla="*/ 15 h 22"/>
              <a:gd name="T28" fmla="*/ 21 w 24"/>
              <a:gd name="T29" fmla="*/ 19 h 22"/>
              <a:gd name="T30" fmla="*/ 21 w 24"/>
              <a:gd name="T31" fmla="*/ 20 h 22"/>
              <a:gd name="T32" fmla="*/ 20 w 24"/>
              <a:gd name="T33" fmla="*/ 21 h 22"/>
              <a:gd name="T34" fmla="*/ 19 w 24"/>
              <a:gd name="T35" fmla="*/ 21 h 22"/>
              <a:gd name="T36" fmla="*/ 17 w 24"/>
              <a:gd name="T37" fmla="*/ 20 h 22"/>
              <a:gd name="T38" fmla="*/ 14 w 24"/>
              <a:gd name="T39" fmla="*/ 18 h 22"/>
              <a:gd name="T40" fmla="*/ 11 w 24"/>
              <a:gd name="T41" fmla="*/ 15 h 22"/>
              <a:gd name="T42" fmla="*/ 11 w 24"/>
              <a:gd name="T43" fmla="*/ 13 h 22"/>
              <a:gd name="T44" fmla="*/ 11 w 24"/>
              <a:gd name="T45" fmla="*/ 12 h 22"/>
              <a:gd name="T46" fmla="*/ 11 w 24"/>
              <a:gd name="T47" fmla="*/ 10 h 22"/>
              <a:gd name="T48" fmla="*/ 12 w 24"/>
              <a:gd name="T49" fmla="*/ 9 h 22"/>
              <a:gd name="T50" fmla="*/ 11 w 24"/>
              <a:gd name="T51" fmla="*/ 9 h 22"/>
              <a:gd name="T52" fmla="*/ 4 w 24"/>
              <a:gd name="T53" fmla="*/ 8 h 22"/>
              <a:gd name="T54" fmla="*/ 0 w 24"/>
              <a:gd name="T55" fmla="*/ 6 h 22"/>
              <a:gd name="T56" fmla="*/ 0 w 24"/>
              <a:gd name="T57" fmla="*/ 4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4" h="22">
                <a:moveTo>
                  <a:pt x="0" y="4"/>
                </a:moveTo>
                <a:lnTo>
                  <a:pt x="3" y="3"/>
                </a:lnTo>
                <a:lnTo>
                  <a:pt x="6" y="2"/>
                </a:lnTo>
                <a:lnTo>
                  <a:pt x="7" y="0"/>
                </a:lnTo>
                <a:lnTo>
                  <a:pt x="11" y="0"/>
                </a:lnTo>
                <a:lnTo>
                  <a:pt x="12" y="0"/>
                </a:lnTo>
                <a:lnTo>
                  <a:pt x="13" y="1"/>
                </a:lnTo>
                <a:lnTo>
                  <a:pt x="13" y="2"/>
                </a:lnTo>
                <a:lnTo>
                  <a:pt x="13" y="4"/>
                </a:lnTo>
                <a:lnTo>
                  <a:pt x="13" y="6"/>
                </a:lnTo>
                <a:lnTo>
                  <a:pt x="14" y="8"/>
                </a:lnTo>
                <a:lnTo>
                  <a:pt x="17" y="11"/>
                </a:lnTo>
                <a:lnTo>
                  <a:pt x="20" y="13"/>
                </a:lnTo>
                <a:lnTo>
                  <a:pt x="23" y="15"/>
                </a:lnTo>
                <a:lnTo>
                  <a:pt x="21" y="19"/>
                </a:lnTo>
                <a:lnTo>
                  <a:pt x="21" y="20"/>
                </a:lnTo>
                <a:lnTo>
                  <a:pt x="20" y="21"/>
                </a:lnTo>
                <a:lnTo>
                  <a:pt x="19" y="21"/>
                </a:lnTo>
                <a:lnTo>
                  <a:pt x="17" y="20"/>
                </a:lnTo>
                <a:lnTo>
                  <a:pt x="14" y="18"/>
                </a:lnTo>
                <a:lnTo>
                  <a:pt x="11" y="15"/>
                </a:lnTo>
                <a:lnTo>
                  <a:pt x="11" y="13"/>
                </a:lnTo>
                <a:lnTo>
                  <a:pt x="11" y="12"/>
                </a:lnTo>
                <a:lnTo>
                  <a:pt x="11" y="10"/>
                </a:lnTo>
                <a:lnTo>
                  <a:pt x="12" y="9"/>
                </a:lnTo>
                <a:lnTo>
                  <a:pt x="11" y="9"/>
                </a:lnTo>
                <a:lnTo>
                  <a:pt x="4" y="8"/>
                </a:lnTo>
                <a:lnTo>
                  <a:pt x="0" y="6"/>
                </a:lnTo>
                <a:lnTo>
                  <a:pt x="0" y="4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68" name="Freeform 67">
            <a:extLst>
              <a:ext uri="{FF2B5EF4-FFF2-40B4-BE49-F238E27FC236}">
                <a16:creationId xmlns:a16="http://schemas.microsoft.com/office/drawing/2014/main" id="{8E93445E-9605-230E-3C6F-6CB210613780}"/>
              </a:ext>
            </a:extLst>
          </p:cNvPr>
          <p:cNvSpPr>
            <a:spLocks/>
          </p:cNvSpPr>
          <p:nvPr/>
        </p:nvSpPr>
        <p:spPr bwMode="auto">
          <a:xfrm>
            <a:off x="9300538" y="5113184"/>
            <a:ext cx="33338" cy="31750"/>
          </a:xfrm>
          <a:custGeom>
            <a:avLst/>
            <a:gdLst>
              <a:gd name="T0" fmla="*/ 16 w 17"/>
              <a:gd name="T1" fmla="*/ 2 h 17"/>
              <a:gd name="T2" fmla="*/ 14 w 17"/>
              <a:gd name="T3" fmla="*/ 8 h 17"/>
              <a:gd name="T4" fmla="*/ 13 w 17"/>
              <a:gd name="T5" fmla="*/ 10 h 17"/>
              <a:gd name="T6" fmla="*/ 12 w 17"/>
              <a:gd name="T7" fmla="*/ 14 h 17"/>
              <a:gd name="T8" fmla="*/ 12 w 17"/>
              <a:gd name="T9" fmla="*/ 16 h 17"/>
              <a:gd name="T10" fmla="*/ 3 w 17"/>
              <a:gd name="T11" fmla="*/ 16 h 17"/>
              <a:gd name="T12" fmla="*/ 1 w 17"/>
              <a:gd name="T13" fmla="*/ 14 h 17"/>
              <a:gd name="T14" fmla="*/ 0 w 17"/>
              <a:gd name="T15" fmla="*/ 8 h 17"/>
              <a:gd name="T16" fmla="*/ 1 w 17"/>
              <a:gd name="T17" fmla="*/ 4 h 17"/>
              <a:gd name="T18" fmla="*/ 1 w 17"/>
              <a:gd name="T19" fmla="*/ 2 h 17"/>
              <a:gd name="T20" fmla="*/ 6 w 17"/>
              <a:gd name="T21" fmla="*/ 0 h 17"/>
              <a:gd name="T22" fmla="*/ 11 w 17"/>
              <a:gd name="T23" fmla="*/ 0 h 17"/>
              <a:gd name="T24" fmla="*/ 16 w 17"/>
              <a:gd name="T25" fmla="*/ 2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7" h="17">
                <a:moveTo>
                  <a:pt x="16" y="2"/>
                </a:moveTo>
                <a:lnTo>
                  <a:pt x="14" y="8"/>
                </a:lnTo>
                <a:lnTo>
                  <a:pt x="13" y="10"/>
                </a:lnTo>
                <a:lnTo>
                  <a:pt x="12" y="14"/>
                </a:lnTo>
                <a:lnTo>
                  <a:pt x="12" y="16"/>
                </a:lnTo>
                <a:lnTo>
                  <a:pt x="3" y="16"/>
                </a:lnTo>
                <a:lnTo>
                  <a:pt x="1" y="14"/>
                </a:lnTo>
                <a:lnTo>
                  <a:pt x="0" y="8"/>
                </a:lnTo>
                <a:lnTo>
                  <a:pt x="1" y="4"/>
                </a:lnTo>
                <a:lnTo>
                  <a:pt x="1" y="2"/>
                </a:lnTo>
                <a:lnTo>
                  <a:pt x="6" y="0"/>
                </a:lnTo>
                <a:lnTo>
                  <a:pt x="11" y="0"/>
                </a:lnTo>
                <a:lnTo>
                  <a:pt x="16" y="2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69" name="Freeform 68">
            <a:extLst>
              <a:ext uri="{FF2B5EF4-FFF2-40B4-BE49-F238E27FC236}">
                <a16:creationId xmlns:a16="http://schemas.microsoft.com/office/drawing/2014/main" id="{B2F7CF72-10C6-E2C5-08E8-0EA1557FD270}"/>
              </a:ext>
            </a:extLst>
          </p:cNvPr>
          <p:cNvSpPr>
            <a:spLocks/>
          </p:cNvSpPr>
          <p:nvPr/>
        </p:nvSpPr>
        <p:spPr bwMode="auto">
          <a:xfrm>
            <a:off x="8930650" y="4882996"/>
            <a:ext cx="323850" cy="315913"/>
          </a:xfrm>
          <a:custGeom>
            <a:avLst/>
            <a:gdLst>
              <a:gd name="T0" fmla="*/ 34 w 160"/>
              <a:gd name="T1" fmla="*/ 38 h 169"/>
              <a:gd name="T2" fmla="*/ 17 w 160"/>
              <a:gd name="T3" fmla="*/ 22 h 169"/>
              <a:gd name="T4" fmla="*/ 5 w 160"/>
              <a:gd name="T5" fmla="*/ 14 h 169"/>
              <a:gd name="T6" fmla="*/ 0 w 160"/>
              <a:gd name="T7" fmla="*/ 4 h 169"/>
              <a:gd name="T8" fmla="*/ 5 w 160"/>
              <a:gd name="T9" fmla="*/ 1 h 169"/>
              <a:gd name="T10" fmla="*/ 11 w 160"/>
              <a:gd name="T11" fmla="*/ 4 h 169"/>
              <a:gd name="T12" fmla="*/ 22 w 160"/>
              <a:gd name="T13" fmla="*/ 6 h 169"/>
              <a:gd name="T14" fmla="*/ 35 w 160"/>
              <a:gd name="T15" fmla="*/ 7 h 169"/>
              <a:gd name="T16" fmla="*/ 40 w 160"/>
              <a:gd name="T17" fmla="*/ 12 h 169"/>
              <a:gd name="T18" fmla="*/ 47 w 160"/>
              <a:gd name="T19" fmla="*/ 23 h 169"/>
              <a:gd name="T20" fmla="*/ 56 w 160"/>
              <a:gd name="T21" fmla="*/ 29 h 169"/>
              <a:gd name="T22" fmla="*/ 63 w 160"/>
              <a:gd name="T23" fmla="*/ 32 h 169"/>
              <a:gd name="T24" fmla="*/ 76 w 160"/>
              <a:gd name="T25" fmla="*/ 45 h 169"/>
              <a:gd name="T26" fmla="*/ 80 w 160"/>
              <a:gd name="T27" fmla="*/ 51 h 169"/>
              <a:gd name="T28" fmla="*/ 85 w 160"/>
              <a:gd name="T29" fmla="*/ 51 h 169"/>
              <a:gd name="T30" fmla="*/ 91 w 160"/>
              <a:gd name="T31" fmla="*/ 55 h 169"/>
              <a:gd name="T32" fmla="*/ 107 w 160"/>
              <a:gd name="T33" fmla="*/ 64 h 169"/>
              <a:gd name="T34" fmla="*/ 110 w 160"/>
              <a:gd name="T35" fmla="*/ 71 h 169"/>
              <a:gd name="T36" fmla="*/ 115 w 160"/>
              <a:gd name="T37" fmla="*/ 72 h 169"/>
              <a:gd name="T38" fmla="*/ 112 w 160"/>
              <a:gd name="T39" fmla="*/ 77 h 169"/>
              <a:gd name="T40" fmla="*/ 124 w 160"/>
              <a:gd name="T41" fmla="*/ 83 h 169"/>
              <a:gd name="T42" fmla="*/ 123 w 160"/>
              <a:gd name="T43" fmla="*/ 95 h 169"/>
              <a:gd name="T44" fmla="*/ 128 w 160"/>
              <a:gd name="T45" fmla="*/ 99 h 169"/>
              <a:gd name="T46" fmla="*/ 137 w 160"/>
              <a:gd name="T47" fmla="*/ 109 h 169"/>
              <a:gd name="T48" fmla="*/ 136 w 160"/>
              <a:gd name="T49" fmla="*/ 113 h 169"/>
              <a:gd name="T50" fmla="*/ 142 w 160"/>
              <a:gd name="T51" fmla="*/ 114 h 169"/>
              <a:gd name="T52" fmla="*/ 154 w 160"/>
              <a:gd name="T53" fmla="*/ 122 h 169"/>
              <a:gd name="T54" fmla="*/ 159 w 160"/>
              <a:gd name="T55" fmla="*/ 128 h 169"/>
              <a:gd name="T56" fmla="*/ 156 w 160"/>
              <a:gd name="T57" fmla="*/ 161 h 169"/>
              <a:gd name="T58" fmla="*/ 147 w 160"/>
              <a:gd name="T59" fmla="*/ 167 h 169"/>
              <a:gd name="T60" fmla="*/ 139 w 160"/>
              <a:gd name="T61" fmla="*/ 167 h 169"/>
              <a:gd name="T62" fmla="*/ 132 w 160"/>
              <a:gd name="T63" fmla="*/ 164 h 169"/>
              <a:gd name="T64" fmla="*/ 124 w 160"/>
              <a:gd name="T65" fmla="*/ 155 h 169"/>
              <a:gd name="T66" fmla="*/ 106 w 160"/>
              <a:gd name="T67" fmla="*/ 142 h 169"/>
              <a:gd name="T68" fmla="*/ 96 w 160"/>
              <a:gd name="T69" fmla="*/ 133 h 169"/>
              <a:gd name="T70" fmla="*/ 87 w 160"/>
              <a:gd name="T71" fmla="*/ 122 h 169"/>
              <a:gd name="T72" fmla="*/ 85 w 160"/>
              <a:gd name="T73" fmla="*/ 113 h 169"/>
              <a:gd name="T74" fmla="*/ 68 w 160"/>
              <a:gd name="T75" fmla="*/ 86 h 169"/>
              <a:gd name="T76" fmla="*/ 62 w 160"/>
              <a:gd name="T77" fmla="*/ 79 h 169"/>
              <a:gd name="T78" fmla="*/ 58 w 160"/>
              <a:gd name="T79" fmla="*/ 73 h 169"/>
              <a:gd name="T80" fmla="*/ 56 w 160"/>
              <a:gd name="T81" fmla="*/ 64 h 169"/>
              <a:gd name="T82" fmla="*/ 52 w 160"/>
              <a:gd name="T83" fmla="*/ 57 h 169"/>
              <a:gd name="T84" fmla="*/ 43 w 160"/>
              <a:gd name="T85" fmla="*/ 51 h 169"/>
              <a:gd name="T86" fmla="*/ 36 w 160"/>
              <a:gd name="T87" fmla="*/ 44 h 1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60" h="169">
                <a:moveTo>
                  <a:pt x="38" y="44"/>
                </a:moveTo>
                <a:lnTo>
                  <a:pt x="36" y="42"/>
                </a:lnTo>
                <a:lnTo>
                  <a:pt x="34" y="38"/>
                </a:lnTo>
                <a:lnTo>
                  <a:pt x="27" y="31"/>
                </a:lnTo>
                <a:lnTo>
                  <a:pt x="20" y="25"/>
                </a:lnTo>
                <a:lnTo>
                  <a:pt x="17" y="22"/>
                </a:lnTo>
                <a:lnTo>
                  <a:pt x="16" y="20"/>
                </a:lnTo>
                <a:lnTo>
                  <a:pt x="9" y="17"/>
                </a:lnTo>
                <a:lnTo>
                  <a:pt x="5" y="14"/>
                </a:lnTo>
                <a:lnTo>
                  <a:pt x="1" y="9"/>
                </a:lnTo>
                <a:lnTo>
                  <a:pt x="0" y="6"/>
                </a:lnTo>
                <a:lnTo>
                  <a:pt x="0" y="4"/>
                </a:lnTo>
                <a:lnTo>
                  <a:pt x="0" y="3"/>
                </a:lnTo>
                <a:lnTo>
                  <a:pt x="3" y="2"/>
                </a:lnTo>
                <a:lnTo>
                  <a:pt x="5" y="1"/>
                </a:lnTo>
                <a:lnTo>
                  <a:pt x="7" y="0"/>
                </a:lnTo>
                <a:lnTo>
                  <a:pt x="9" y="3"/>
                </a:lnTo>
                <a:lnTo>
                  <a:pt x="11" y="4"/>
                </a:lnTo>
                <a:lnTo>
                  <a:pt x="13" y="6"/>
                </a:lnTo>
                <a:lnTo>
                  <a:pt x="16" y="6"/>
                </a:lnTo>
                <a:lnTo>
                  <a:pt x="22" y="6"/>
                </a:lnTo>
                <a:lnTo>
                  <a:pt x="29" y="6"/>
                </a:lnTo>
                <a:lnTo>
                  <a:pt x="34" y="7"/>
                </a:lnTo>
                <a:lnTo>
                  <a:pt x="35" y="7"/>
                </a:lnTo>
                <a:lnTo>
                  <a:pt x="36" y="8"/>
                </a:lnTo>
                <a:lnTo>
                  <a:pt x="38" y="10"/>
                </a:lnTo>
                <a:lnTo>
                  <a:pt x="40" y="12"/>
                </a:lnTo>
                <a:lnTo>
                  <a:pt x="43" y="17"/>
                </a:lnTo>
                <a:lnTo>
                  <a:pt x="45" y="20"/>
                </a:lnTo>
                <a:lnTo>
                  <a:pt x="47" y="23"/>
                </a:lnTo>
                <a:lnTo>
                  <a:pt x="52" y="26"/>
                </a:lnTo>
                <a:lnTo>
                  <a:pt x="55" y="29"/>
                </a:lnTo>
                <a:lnTo>
                  <a:pt x="56" y="29"/>
                </a:lnTo>
                <a:lnTo>
                  <a:pt x="58" y="30"/>
                </a:lnTo>
                <a:lnTo>
                  <a:pt x="61" y="31"/>
                </a:lnTo>
                <a:lnTo>
                  <a:pt x="63" y="32"/>
                </a:lnTo>
                <a:lnTo>
                  <a:pt x="67" y="35"/>
                </a:lnTo>
                <a:lnTo>
                  <a:pt x="74" y="43"/>
                </a:lnTo>
                <a:lnTo>
                  <a:pt x="76" y="45"/>
                </a:lnTo>
                <a:lnTo>
                  <a:pt x="77" y="48"/>
                </a:lnTo>
                <a:lnTo>
                  <a:pt x="78" y="51"/>
                </a:lnTo>
                <a:lnTo>
                  <a:pt x="80" y="51"/>
                </a:lnTo>
                <a:lnTo>
                  <a:pt x="81" y="52"/>
                </a:lnTo>
                <a:lnTo>
                  <a:pt x="83" y="52"/>
                </a:lnTo>
                <a:lnTo>
                  <a:pt x="85" y="51"/>
                </a:lnTo>
                <a:lnTo>
                  <a:pt x="87" y="51"/>
                </a:lnTo>
                <a:lnTo>
                  <a:pt x="88" y="53"/>
                </a:lnTo>
                <a:lnTo>
                  <a:pt x="91" y="55"/>
                </a:lnTo>
                <a:lnTo>
                  <a:pt x="97" y="60"/>
                </a:lnTo>
                <a:lnTo>
                  <a:pt x="103" y="64"/>
                </a:lnTo>
                <a:lnTo>
                  <a:pt x="107" y="64"/>
                </a:lnTo>
                <a:lnTo>
                  <a:pt x="107" y="66"/>
                </a:lnTo>
                <a:lnTo>
                  <a:pt x="107" y="68"/>
                </a:lnTo>
                <a:lnTo>
                  <a:pt x="110" y="71"/>
                </a:lnTo>
                <a:lnTo>
                  <a:pt x="112" y="70"/>
                </a:lnTo>
                <a:lnTo>
                  <a:pt x="115" y="69"/>
                </a:lnTo>
                <a:lnTo>
                  <a:pt x="115" y="72"/>
                </a:lnTo>
                <a:lnTo>
                  <a:pt x="115" y="74"/>
                </a:lnTo>
                <a:lnTo>
                  <a:pt x="114" y="74"/>
                </a:lnTo>
                <a:lnTo>
                  <a:pt x="112" y="77"/>
                </a:lnTo>
                <a:lnTo>
                  <a:pt x="119" y="77"/>
                </a:lnTo>
                <a:lnTo>
                  <a:pt x="124" y="77"/>
                </a:lnTo>
                <a:lnTo>
                  <a:pt x="124" y="83"/>
                </a:lnTo>
                <a:lnTo>
                  <a:pt x="123" y="87"/>
                </a:lnTo>
                <a:lnTo>
                  <a:pt x="123" y="93"/>
                </a:lnTo>
                <a:lnTo>
                  <a:pt x="123" y="95"/>
                </a:lnTo>
                <a:lnTo>
                  <a:pt x="124" y="96"/>
                </a:lnTo>
                <a:lnTo>
                  <a:pt x="125" y="97"/>
                </a:lnTo>
                <a:lnTo>
                  <a:pt x="128" y="99"/>
                </a:lnTo>
                <a:lnTo>
                  <a:pt x="133" y="100"/>
                </a:lnTo>
                <a:lnTo>
                  <a:pt x="137" y="100"/>
                </a:lnTo>
                <a:lnTo>
                  <a:pt x="137" y="109"/>
                </a:lnTo>
                <a:lnTo>
                  <a:pt x="137" y="111"/>
                </a:lnTo>
                <a:lnTo>
                  <a:pt x="136" y="114"/>
                </a:lnTo>
                <a:lnTo>
                  <a:pt x="136" y="113"/>
                </a:lnTo>
                <a:lnTo>
                  <a:pt x="140" y="113"/>
                </a:lnTo>
                <a:lnTo>
                  <a:pt x="142" y="113"/>
                </a:lnTo>
                <a:lnTo>
                  <a:pt x="142" y="114"/>
                </a:lnTo>
                <a:lnTo>
                  <a:pt x="143" y="116"/>
                </a:lnTo>
                <a:lnTo>
                  <a:pt x="146" y="118"/>
                </a:lnTo>
                <a:lnTo>
                  <a:pt x="154" y="122"/>
                </a:lnTo>
                <a:lnTo>
                  <a:pt x="156" y="124"/>
                </a:lnTo>
                <a:lnTo>
                  <a:pt x="158" y="126"/>
                </a:lnTo>
                <a:lnTo>
                  <a:pt x="159" y="128"/>
                </a:lnTo>
                <a:lnTo>
                  <a:pt x="158" y="144"/>
                </a:lnTo>
                <a:lnTo>
                  <a:pt x="156" y="155"/>
                </a:lnTo>
                <a:lnTo>
                  <a:pt x="156" y="161"/>
                </a:lnTo>
                <a:lnTo>
                  <a:pt x="155" y="166"/>
                </a:lnTo>
                <a:lnTo>
                  <a:pt x="152" y="168"/>
                </a:lnTo>
                <a:lnTo>
                  <a:pt x="147" y="167"/>
                </a:lnTo>
                <a:lnTo>
                  <a:pt x="142" y="166"/>
                </a:lnTo>
                <a:lnTo>
                  <a:pt x="141" y="166"/>
                </a:lnTo>
                <a:lnTo>
                  <a:pt x="139" y="167"/>
                </a:lnTo>
                <a:lnTo>
                  <a:pt x="137" y="168"/>
                </a:lnTo>
                <a:lnTo>
                  <a:pt x="134" y="167"/>
                </a:lnTo>
                <a:lnTo>
                  <a:pt x="132" y="164"/>
                </a:lnTo>
                <a:lnTo>
                  <a:pt x="129" y="160"/>
                </a:lnTo>
                <a:lnTo>
                  <a:pt x="127" y="158"/>
                </a:lnTo>
                <a:lnTo>
                  <a:pt x="124" y="155"/>
                </a:lnTo>
                <a:lnTo>
                  <a:pt x="119" y="151"/>
                </a:lnTo>
                <a:lnTo>
                  <a:pt x="111" y="146"/>
                </a:lnTo>
                <a:lnTo>
                  <a:pt x="106" y="142"/>
                </a:lnTo>
                <a:lnTo>
                  <a:pt x="99" y="136"/>
                </a:lnTo>
                <a:lnTo>
                  <a:pt x="97" y="135"/>
                </a:lnTo>
                <a:lnTo>
                  <a:pt x="96" y="133"/>
                </a:lnTo>
                <a:lnTo>
                  <a:pt x="93" y="130"/>
                </a:lnTo>
                <a:lnTo>
                  <a:pt x="90" y="126"/>
                </a:lnTo>
                <a:lnTo>
                  <a:pt x="87" y="122"/>
                </a:lnTo>
                <a:lnTo>
                  <a:pt x="87" y="118"/>
                </a:lnTo>
                <a:lnTo>
                  <a:pt x="85" y="115"/>
                </a:lnTo>
                <a:lnTo>
                  <a:pt x="85" y="113"/>
                </a:lnTo>
                <a:lnTo>
                  <a:pt x="79" y="102"/>
                </a:lnTo>
                <a:lnTo>
                  <a:pt x="74" y="94"/>
                </a:lnTo>
                <a:lnTo>
                  <a:pt x="68" y="86"/>
                </a:lnTo>
                <a:lnTo>
                  <a:pt x="66" y="83"/>
                </a:lnTo>
                <a:lnTo>
                  <a:pt x="64" y="81"/>
                </a:lnTo>
                <a:lnTo>
                  <a:pt x="62" y="79"/>
                </a:lnTo>
                <a:lnTo>
                  <a:pt x="61" y="77"/>
                </a:lnTo>
                <a:lnTo>
                  <a:pt x="58" y="75"/>
                </a:lnTo>
                <a:lnTo>
                  <a:pt x="58" y="73"/>
                </a:lnTo>
                <a:lnTo>
                  <a:pt x="57" y="70"/>
                </a:lnTo>
                <a:lnTo>
                  <a:pt x="56" y="67"/>
                </a:lnTo>
                <a:lnTo>
                  <a:pt x="56" y="64"/>
                </a:lnTo>
                <a:lnTo>
                  <a:pt x="55" y="61"/>
                </a:lnTo>
                <a:lnTo>
                  <a:pt x="54" y="59"/>
                </a:lnTo>
                <a:lnTo>
                  <a:pt x="52" y="57"/>
                </a:lnTo>
                <a:lnTo>
                  <a:pt x="50" y="55"/>
                </a:lnTo>
                <a:lnTo>
                  <a:pt x="48" y="54"/>
                </a:lnTo>
                <a:lnTo>
                  <a:pt x="43" y="51"/>
                </a:lnTo>
                <a:lnTo>
                  <a:pt x="38" y="48"/>
                </a:lnTo>
                <a:lnTo>
                  <a:pt x="38" y="47"/>
                </a:lnTo>
                <a:lnTo>
                  <a:pt x="36" y="44"/>
                </a:lnTo>
                <a:lnTo>
                  <a:pt x="38" y="44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70" name="Freeform 69">
            <a:extLst>
              <a:ext uri="{FF2B5EF4-FFF2-40B4-BE49-F238E27FC236}">
                <a16:creationId xmlns:a16="http://schemas.microsoft.com/office/drawing/2014/main" id="{F24B52BB-C05A-D04F-863F-FE5D284696A8}"/>
              </a:ext>
            </a:extLst>
          </p:cNvPr>
          <p:cNvSpPr>
            <a:spLocks/>
          </p:cNvSpPr>
          <p:nvPr/>
        </p:nvSpPr>
        <p:spPr bwMode="auto">
          <a:xfrm>
            <a:off x="9035425" y="5067146"/>
            <a:ext cx="34925" cy="31750"/>
          </a:xfrm>
          <a:custGeom>
            <a:avLst/>
            <a:gdLst>
              <a:gd name="T0" fmla="*/ 9 w 17"/>
              <a:gd name="T1" fmla="*/ 2 h 17"/>
              <a:gd name="T2" fmla="*/ 9 w 17"/>
              <a:gd name="T3" fmla="*/ 4 h 17"/>
              <a:gd name="T4" fmla="*/ 10 w 17"/>
              <a:gd name="T5" fmla="*/ 6 h 17"/>
              <a:gd name="T6" fmla="*/ 13 w 17"/>
              <a:gd name="T7" fmla="*/ 9 h 17"/>
              <a:gd name="T8" fmla="*/ 16 w 17"/>
              <a:gd name="T9" fmla="*/ 11 h 17"/>
              <a:gd name="T10" fmla="*/ 16 w 17"/>
              <a:gd name="T11" fmla="*/ 16 h 17"/>
              <a:gd name="T12" fmla="*/ 9 w 17"/>
              <a:gd name="T13" fmla="*/ 13 h 17"/>
              <a:gd name="T14" fmla="*/ 8 w 17"/>
              <a:gd name="T15" fmla="*/ 13 h 17"/>
              <a:gd name="T16" fmla="*/ 4 w 17"/>
              <a:gd name="T17" fmla="*/ 12 h 17"/>
              <a:gd name="T18" fmla="*/ 1 w 17"/>
              <a:gd name="T19" fmla="*/ 9 h 17"/>
              <a:gd name="T20" fmla="*/ 0 w 17"/>
              <a:gd name="T21" fmla="*/ 6 h 17"/>
              <a:gd name="T22" fmla="*/ 0 w 17"/>
              <a:gd name="T23" fmla="*/ 4 h 17"/>
              <a:gd name="T24" fmla="*/ 0 w 17"/>
              <a:gd name="T25" fmla="*/ 3 h 17"/>
              <a:gd name="T26" fmla="*/ 1 w 17"/>
              <a:gd name="T27" fmla="*/ 2 h 17"/>
              <a:gd name="T28" fmla="*/ 1 w 17"/>
              <a:gd name="T29" fmla="*/ 0 h 17"/>
              <a:gd name="T30" fmla="*/ 2 w 17"/>
              <a:gd name="T31" fmla="*/ 0 h 17"/>
              <a:gd name="T32" fmla="*/ 9 w 17"/>
              <a:gd name="T33" fmla="*/ 2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7" h="17">
                <a:moveTo>
                  <a:pt x="9" y="2"/>
                </a:moveTo>
                <a:lnTo>
                  <a:pt x="9" y="4"/>
                </a:lnTo>
                <a:lnTo>
                  <a:pt x="10" y="6"/>
                </a:lnTo>
                <a:lnTo>
                  <a:pt x="13" y="9"/>
                </a:lnTo>
                <a:lnTo>
                  <a:pt x="16" y="11"/>
                </a:lnTo>
                <a:lnTo>
                  <a:pt x="16" y="16"/>
                </a:lnTo>
                <a:lnTo>
                  <a:pt x="9" y="13"/>
                </a:lnTo>
                <a:lnTo>
                  <a:pt x="8" y="13"/>
                </a:lnTo>
                <a:lnTo>
                  <a:pt x="4" y="12"/>
                </a:lnTo>
                <a:lnTo>
                  <a:pt x="1" y="9"/>
                </a:lnTo>
                <a:lnTo>
                  <a:pt x="0" y="6"/>
                </a:lnTo>
                <a:lnTo>
                  <a:pt x="0" y="4"/>
                </a:lnTo>
                <a:lnTo>
                  <a:pt x="0" y="3"/>
                </a:lnTo>
                <a:lnTo>
                  <a:pt x="1" y="2"/>
                </a:lnTo>
                <a:lnTo>
                  <a:pt x="1" y="0"/>
                </a:lnTo>
                <a:lnTo>
                  <a:pt x="2" y="0"/>
                </a:lnTo>
                <a:lnTo>
                  <a:pt x="9" y="2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71" name="Freeform 70">
            <a:extLst>
              <a:ext uri="{FF2B5EF4-FFF2-40B4-BE49-F238E27FC236}">
                <a16:creationId xmlns:a16="http://schemas.microsoft.com/office/drawing/2014/main" id="{FF05F6D5-6013-B0CF-05AB-1E4733B964CD}"/>
              </a:ext>
            </a:extLst>
          </p:cNvPr>
          <p:cNvSpPr>
            <a:spLocks/>
          </p:cNvSpPr>
          <p:nvPr/>
        </p:nvSpPr>
        <p:spPr bwMode="auto">
          <a:xfrm>
            <a:off x="8992563" y="4997296"/>
            <a:ext cx="34925" cy="31750"/>
          </a:xfrm>
          <a:custGeom>
            <a:avLst/>
            <a:gdLst>
              <a:gd name="T0" fmla="*/ 16 w 17"/>
              <a:gd name="T1" fmla="*/ 11 h 17"/>
              <a:gd name="T2" fmla="*/ 14 w 17"/>
              <a:gd name="T3" fmla="*/ 14 h 17"/>
              <a:gd name="T4" fmla="*/ 12 w 17"/>
              <a:gd name="T5" fmla="*/ 16 h 17"/>
              <a:gd name="T6" fmla="*/ 11 w 17"/>
              <a:gd name="T7" fmla="*/ 16 h 17"/>
              <a:gd name="T8" fmla="*/ 9 w 17"/>
              <a:gd name="T9" fmla="*/ 16 h 17"/>
              <a:gd name="T10" fmla="*/ 6 w 17"/>
              <a:gd name="T11" fmla="*/ 15 h 17"/>
              <a:gd name="T12" fmla="*/ 4 w 17"/>
              <a:gd name="T13" fmla="*/ 14 h 17"/>
              <a:gd name="T14" fmla="*/ 3 w 17"/>
              <a:gd name="T15" fmla="*/ 11 h 17"/>
              <a:gd name="T16" fmla="*/ 1 w 17"/>
              <a:gd name="T17" fmla="*/ 6 h 17"/>
              <a:gd name="T18" fmla="*/ 0 w 17"/>
              <a:gd name="T19" fmla="*/ 0 h 17"/>
              <a:gd name="T20" fmla="*/ 4 w 17"/>
              <a:gd name="T21" fmla="*/ 1 h 17"/>
              <a:gd name="T22" fmla="*/ 9 w 17"/>
              <a:gd name="T23" fmla="*/ 4 h 17"/>
              <a:gd name="T24" fmla="*/ 14 w 17"/>
              <a:gd name="T25" fmla="*/ 8 h 17"/>
              <a:gd name="T26" fmla="*/ 16 w 17"/>
              <a:gd name="T27" fmla="*/ 9 h 17"/>
              <a:gd name="T28" fmla="*/ 16 w 17"/>
              <a:gd name="T29" fmla="*/ 11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7" h="17">
                <a:moveTo>
                  <a:pt x="16" y="11"/>
                </a:moveTo>
                <a:lnTo>
                  <a:pt x="14" y="14"/>
                </a:lnTo>
                <a:lnTo>
                  <a:pt x="12" y="16"/>
                </a:lnTo>
                <a:lnTo>
                  <a:pt x="11" y="16"/>
                </a:lnTo>
                <a:lnTo>
                  <a:pt x="9" y="16"/>
                </a:lnTo>
                <a:lnTo>
                  <a:pt x="6" y="15"/>
                </a:lnTo>
                <a:lnTo>
                  <a:pt x="4" y="14"/>
                </a:lnTo>
                <a:lnTo>
                  <a:pt x="3" y="11"/>
                </a:lnTo>
                <a:lnTo>
                  <a:pt x="1" y="6"/>
                </a:lnTo>
                <a:lnTo>
                  <a:pt x="0" y="0"/>
                </a:lnTo>
                <a:lnTo>
                  <a:pt x="4" y="1"/>
                </a:lnTo>
                <a:lnTo>
                  <a:pt x="9" y="4"/>
                </a:lnTo>
                <a:lnTo>
                  <a:pt x="14" y="8"/>
                </a:lnTo>
                <a:lnTo>
                  <a:pt x="16" y="9"/>
                </a:lnTo>
                <a:lnTo>
                  <a:pt x="16" y="11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72" name="Freeform 71">
            <a:extLst>
              <a:ext uri="{FF2B5EF4-FFF2-40B4-BE49-F238E27FC236}">
                <a16:creationId xmlns:a16="http://schemas.microsoft.com/office/drawing/2014/main" id="{BC26DFBB-3F3A-F3B8-94AF-73469A80F873}"/>
              </a:ext>
            </a:extLst>
          </p:cNvPr>
          <p:cNvSpPr>
            <a:spLocks/>
          </p:cNvSpPr>
          <p:nvPr/>
        </p:nvSpPr>
        <p:spPr bwMode="auto">
          <a:xfrm>
            <a:off x="9935538" y="5349721"/>
            <a:ext cx="38100" cy="33338"/>
          </a:xfrm>
          <a:custGeom>
            <a:avLst/>
            <a:gdLst>
              <a:gd name="T0" fmla="*/ 0 w 19"/>
              <a:gd name="T1" fmla="*/ 1 h 17"/>
              <a:gd name="T2" fmla="*/ 0 w 19"/>
              <a:gd name="T3" fmla="*/ 13 h 17"/>
              <a:gd name="T4" fmla="*/ 1 w 19"/>
              <a:gd name="T5" fmla="*/ 14 h 17"/>
              <a:gd name="T6" fmla="*/ 4 w 19"/>
              <a:gd name="T7" fmla="*/ 16 h 17"/>
              <a:gd name="T8" fmla="*/ 9 w 19"/>
              <a:gd name="T9" fmla="*/ 16 h 17"/>
              <a:gd name="T10" fmla="*/ 12 w 19"/>
              <a:gd name="T11" fmla="*/ 14 h 17"/>
              <a:gd name="T12" fmla="*/ 14 w 19"/>
              <a:gd name="T13" fmla="*/ 10 h 17"/>
              <a:gd name="T14" fmla="*/ 16 w 19"/>
              <a:gd name="T15" fmla="*/ 7 h 17"/>
              <a:gd name="T16" fmla="*/ 18 w 19"/>
              <a:gd name="T17" fmla="*/ 4 h 17"/>
              <a:gd name="T18" fmla="*/ 16 w 19"/>
              <a:gd name="T19" fmla="*/ 1 h 17"/>
              <a:gd name="T20" fmla="*/ 14 w 19"/>
              <a:gd name="T21" fmla="*/ 1 h 17"/>
              <a:gd name="T22" fmla="*/ 9 w 19"/>
              <a:gd name="T23" fmla="*/ 0 h 17"/>
              <a:gd name="T24" fmla="*/ 5 w 19"/>
              <a:gd name="T25" fmla="*/ 1 h 17"/>
              <a:gd name="T26" fmla="*/ 0 w 19"/>
              <a:gd name="T27" fmla="*/ 1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9" h="17">
                <a:moveTo>
                  <a:pt x="0" y="1"/>
                </a:moveTo>
                <a:lnTo>
                  <a:pt x="0" y="13"/>
                </a:lnTo>
                <a:lnTo>
                  <a:pt x="1" y="14"/>
                </a:lnTo>
                <a:lnTo>
                  <a:pt x="4" y="16"/>
                </a:lnTo>
                <a:lnTo>
                  <a:pt x="9" y="16"/>
                </a:lnTo>
                <a:lnTo>
                  <a:pt x="12" y="14"/>
                </a:lnTo>
                <a:lnTo>
                  <a:pt x="14" y="10"/>
                </a:lnTo>
                <a:lnTo>
                  <a:pt x="16" y="7"/>
                </a:lnTo>
                <a:lnTo>
                  <a:pt x="18" y="4"/>
                </a:lnTo>
                <a:lnTo>
                  <a:pt x="16" y="1"/>
                </a:lnTo>
                <a:lnTo>
                  <a:pt x="14" y="1"/>
                </a:lnTo>
                <a:lnTo>
                  <a:pt x="9" y="0"/>
                </a:lnTo>
                <a:lnTo>
                  <a:pt x="5" y="1"/>
                </a:lnTo>
                <a:lnTo>
                  <a:pt x="0" y="1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73" name="Freeform 72">
            <a:extLst>
              <a:ext uri="{FF2B5EF4-FFF2-40B4-BE49-F238E27FC236}">
                <a16:creationId xmlns:a16="http://schemas.microsoft.com/office/drawing/2014/main" id="{D4440F85-D1D5-7BDC-688B-C19FBA03B495}"/>
              </a:ext>
            </a:extLst>
          </p:cNvPr>
          <p:cNvSpPr>
            <a:spLocks/>
          </p:cNvSpPr>
          <p:nvPr/>
        </p:nvSpPr>
        <p:spPr bwMode="auto">
          <a:xfrm>
            <a:off x="9903788" y="6027584"/>
            <a:ext cx="38100" cy="31750"/>
          </a:xfrm>
          <a:custGeom>
            <a:avLst/>
            <a:gdLst>
              <a:gd name="T0" fmla="*/ 6 w 19"/>
              <a:gd name="T1" fmla="*/ 2 h 17"/>
              <a:gd name="T2" fmla="*/ 2 w 19"/>
              <a:gd name="T3" fmla="*/ 4 h 17"/>
              <a:gd name="T4" fmla="*/ 1 w 19"/>
              <a:gd name="T5" fmla="*/ 8 h 17"/>
              <a:gd name="T6" fmla="*/ 0 w 19"/>
              <a:gd name="T7" fmla="*/ 10 h 17"/>
              <a:gd name="T8" fmla="*/ 0 w 19"/>
              <a:gd name="T9" fmla="*/ 12 h 17"/>
              <a:gd name="T10" fmla="*/ 1 w 19"/>
              <a:gd name="T11" fmla="*/ 12 h 17"/>
              <a:gd name="T12" fmla="*/ 2 w 19"/>
              <a:gd name="T13" fmla="*/ 14 h 17"/>
              <a:gd name="T14" fmla="*/ 6 w 19"/>
              <a:gd name="T15" fmla="*/ 16 h 17"/>
              <a:gd name="T16" fmla="*/ 9 w 19"/>
              <a:gd name="T17" fmla="*/ 14 h 17"/>
              <a:gd name="T18" fmla="*/ 12 w 19"/>
              <a:gd name="T19" fmla="*/ 12 h 17"/>
              <a:gd name="T20" fmla="*/ 18 w 19"/>
              <a:gd name="T21" fmla="*/ 4 h 17"/>
              <a:gd name="T22" fmla="*/ 17 w 19"/>
              <a:gd name="T23" fmla="*/ 0 h 17"/>
              <a:gd name="T24" fmla="*/ 15 w 19"/>
              <a:gd name="T25" fmla="*/ 0 h 17"/>
              <a:gd name="T26" fmla="*/ 12 w 19"/>
              <a:gd name="T27" fmla="*/ 0 h 17"/>
              <a:gd name="T28" fmla="*/ 9 w 19"/>
              <a:gd name="T29" fmla="*/ 0 h 17"/>
              <a:gd name="T30" fmla="*/ 6 w 19"/>
              <a:gd name="T31" fmla="*/ 2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9" h="17">
                <a:moveTo>
                  <a:pt x="6" y="2"/>
                </a:moveTo>
                <a:lnTo>
                  <a:pt x="2" y="4"/>
                </a:lnTo>
                <a:lnTo>
                  <a:pt x="1" y="8"/>
                </a:lnTo>
                <a:lnTo>
                  <a:pt x="0" y="10"/>
                </a:lnTo>
                <a:lnTo>
                  <a:pt x="0" y="12"/>
                </a:lnTo>
                <a:lnTo>
                  <a:pt x="1" y="12"/>
                </a:lnTo>
                <a:lnTo>
                  <a:pt x="2" y="14"/>
                </a:lnTo>
                <a:lnTo>
                  <a:pt x="6" y="16"/>
                </a:lnTo>
                <a:lnTo>
                  <a:pt x="9" y="14"/>
                </a:lnTo>
                <a:lnTo>
                  <a:pt x="12" y="12"/>
                </a:lnTo>
                <a:lnTo>
                  <a:pt x="18" y="4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9" y="0"/>
                </a:lnTo>
                <a:lnTo>
                  <a:pt x="6" y="2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74" name="Freeform 73">
            <a:extLst>
              <a:ext uri="{FF2B5EF4-FFF2-40B4-BE49-F238E27FC236}">
                <a16:creationId xmlns:a16="http://schemas.microsoft.com/office/drawing/2014/main" id="{DAB25CBC-1606-1524-B4D3-A2834D25835E}"/>
              </a:ext>
            </a:extLst>
          </p:cNvPr>
          <p:cNvSpPr>
            <a:spLocks/>
          </p:cNvSpPr>
          <p:nvPr/>
        </p:nvSpPr>
        <p:spPr bwMode="auto">
          <a:xfrm>
            <a:off x="10006975" y="6154584"/>
            <a:ext cx="123825" cy="87313"/>
          </a:xfrm>
          <a:custGeom>
            <a:avLst/>
            <a:gdLst>
              <a:gd name="T0" fmla="*/ 16 w 61"/>
              <a:gd name="T1" fmla="*/ 1 h 47"/>
              <a:gd name="T2" fmla="*/ 19 w 61"/>
              <a:gd name="T3" fmla="*/ 3 h 47"/>
              <a:gd name="T4" fmla="*/ 22 w 61"/>
              <a:gd name="T5" fmla="*/ 7 h 47"/>
              <a:gd name="T6" fmla="*/ 23 w 61"/>
              <a:gd name="T7" fmla="*/ 8 h 47"/>
              <a:gd name="T8" fmla="*/ 24 w 61"/>
              <a:gd name="T9" fmla="*/ 9 h 47"/>
              <a:gd name="T10" fmla="*/ 27 w 61"/>
              <a:gd name="T11" fmla="*/ 10 h 47"/>
              <a:gd name="T12" fmla="*/ 29 w 61"/>
              <a:gd name="T13" fmla="*/ 10 h 47"/>
              <a:gd name="T14" fmla="*/ 36 w 61"/>
              <a:gd name="T15" fmla="*/ 9 h 47"/>
              <a:gd name="T16" fmla="*/ 38 w 61"/>
              <a:gd name="T17" fmla="*/ 9 h 47"/>
              <a:gd name="T18" fmla="*/ 42 w 61"/>
              <a:gd name="T19" fmla="*/ 8 h 47"/>
              <a:gd name="T20" fmla="*/ 53 w 61"/>
              <a:gd name="T21" fmla="*/ 6 h 47"/>
              <a:gd name="T22" fmla="*/ 60 w 61"/>
              <a:gd name="T23" fmla="*/ 6 h 47"/>
              <a:gd name="T24" fmla="*/ 60 w 61"/>
              <a:gd name="T25" fmla="*/ 7 h 47"/>
              <a:gd name="T26" fmla="*/ 59 w 61"/>
              <a:gd name="T27" fmla="*/ 9 h 47"/>
              <a:gd name="T28" fmla="*/ 58 w 61"/>
              <a:gd name="T29" fmla="*/ 11 h 47"/>
              <a:gd name="T30" fmla="*/ 55 w 61"/>
              <a:gd name="T31" fmla="*/ 13 h 47"/>
              <a:gd name="T32" fmla="*/ 52 w 61"/>
              <a:gd name="T33" fmla="*/ 16 h 47"/>
              <a:gd name="T34" fmla="*/ 50 w 61"/>
              <a:gd name="T35" fmla="*/ 19 h 47"/>
              <a:gd name="T36" fmla="*/ 49 w 61"/>
              <a:gd name="T37" fmla="*/ 25 h 47"/>
              <a:gd name="T38" fmla="*/ 46 w 61"/>
              <a:gd name="T39" fmla="*/ 28 h 47"/>
              <a:gd name="T40" fmla="*/ 43 w 61"/>
              <a:gd name="T41" fmla="*/ 30 h 47"/>
              <a:gd name="T42" fmla="*/ 40 w 61"/>
              <a:gd name="T43" fmla="*/ 32 h 47"/>
              <a:gd name="T44" fmla="*/ 37 w 61"/>
              <a:gd name="T45" fmla="*/ 34 h 47"/>
              <a:gd name="T46" fmla="*/ 35 w 61"/>
              <a:gd name="T47" fmla="*/ 36 h 47"/>
              <a:gd name="T48" fmla="*/ 33 w 61"/>
              <a:gd name="T49" fmla="*/ 39 h 47"/>
              <a:gd name="T50" fmla="*/ 31 w 61"/>
              <a:gd name="T51" fmla="*/ 41 h 47"/>
              <a:gd name="T52" fmla="*/ 31 w 61"/>
              <a:gd name="T53" fmla="*/ 42 h 47"/>
              <a:gd name="T54" fmla="*/ 28 w 61"/>
              <a:gd name="T55" fmla="*/ 42 h 47"/>
              <a:gd name="T56" fmla="*/ 28 w 61"/>
              <a:gd name="T57" fmla="*/ 41 h 47"/>
              <a:gd name="T58" fmla="*/ 27 w 61"/>
              <a:gd name="T59" fmla="*/ 39 h 47"/>
              <a:gd name="T60" fmla="*/ 24 w 61"/>
              <a:gd name="T61" fmla="*/ 37 h 47"/>
              <a:gd name="T62" fmla="*/ 21 w 61"/>
              <a:gd name="T63" fmla="*/ 41 h 47"/>
              <a:gd name="T64" fmla="*/ 17 w 61"/>
              <a:gd name="T65" fmla="*/ 43 h 47"/>
              <a:gd name="T66" fmla="*/ 13 w 61"/>
              <a:gd name="T67" fmla="*/ 46 h 47"/>
              <a:gd name="T68" fmla="*/ 10 w 61"/>
              <a:gd name="T69" fmla="*/ 46 h 47"/>
              <a:gd name="T70" fmla="*/ 8 w 61"/>
              <a:gd name="T71" fmla="*/ 46 h 47"/>
              <a:gd name="T72" fmla="*/ 5 w 61"/>
              <a:gd name="T73" fmla="*/ 46 h 47"/>
              <a:gd name="T74" fmla="*/ 3 w 61"/>
              <a:gd name="T75" fmla="*/ 44 h 47"/>
              <a:gd name="T76" fmla="*/ 1 w 61"/>
              <a:gd name="T77" fmla="*/ 43 h 47"/>
              <a:gd name="T78" fmla="*/ 0 w 61"/>
              <a:gd name="T79" fmla="*/ 42 h 47"/>
              <a:gd name="T80" fmla="*/ 0 w 61"/>
              <a:gd name="T81" fmla="*/ 39 h 47"/>
              <a:gd name="T82" fmla="*/ 0 w 61"/>
              <a:gd name="T83" fmla="*/ 38 h 47"/>
              <a:gd name="T84" fmla="*/ 0 w 61"/>
              <a:gd name="T85" fmla="*/ 34 h 47"/>
              <a:gd name="T86" fmla="*/ 0 w 61"/>
              <a:gd name="T87" fmla="*/ 32 h 47"/>
              <a:gd name="T88" fmla="*/ 1 w 61"/>
              <a:gd name="T89" fmla="*/ 29 h 47"/>
              <a:gd name="T90" fmla="*/ 3 w 61"/>
              <a:gd name="T91" fmla="*/ 28 h 47"/>
              <a:gd name="T92" fmla="*/ 5 w 61"/>
              <a:gd name="T93" fmla="*/ 26 h 47"/>
              <a:gd name="T94" fmla="*/ 6 w 61"/>
              <a:gd name="T95" fmla="*/ 26 h 47"/>
              <a:gd name="T96" fmla="*/ 6 w 61"/>
              <a:gd name="T97" fmla="*/ 25 h 47"/>
              <a:gd name="T98" fmla="*/ 6 w 61"/>
              <a:gd name="T99" fmla="*/ 22 h 47"/>
              <a:gd name="T100" fmla="*/ 5 w 61"/>
              <a:gd name="T101" fmla="*/ 16 h 47"/>
              <a:gd name="T102" fmla="*/ 6 w 61"/>
              <a:gd name="T103" fmla="*/ 15 h 47"/>
              <a:gd name="T104" fmla="*/ 7 w 61"/>
              <a:gd name="T105" fmla="*/ 13 h 47"/>
              <a:gd name="T106" fmla="*/ 10 w 61"/>
              <a:gd name="T107" fmla="*/ 7 h 47"/>
              <a:gd name="T108" fmla="*/ 16 w 61"/>
              <a:gd name="T109" fmla="*/ 0 h 47"/>
              <a:gd name="T110" fmla="*/ 16 w 61"/>
              <a:gd name="T111" fmla="*/ 2 h 47"/>
              <a:gd name="T112" fmla="*/ 16 w 61"/>
              <a:gd name="T113" fmla="*/ 1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1" h="47">
                <a:moveTo>
                  <a:pt x="16" y="1"/>
                </a:moveTo>
                <a:lnTo>
                  <a:pt x="19" y="3"/>
                </a:lnTo>
                <a:lnTo>
                  <a:pt x="22" y="7"/>
                </a:lnTo>
                <a:lnTo>
                  <a:pt x="23" y="8"/>
                </a:lnTo>
                <a:lnTo>
                  <a:pt x="24" y="9"/>
                </a:lnTo>
                <a:lnTo>
                  <a:pt x="27" y="10"/>
                </a:lnTo>
                <a:lnTo>
                  <a:pt x="29" y="10"/>
                </a:lnTo>
                <a:lnTo>
                  <a:pt x="36" y="9"/>
                </a:lnTo>
                <a:lnTo>
                  <a:pt x="38" y="9"/>
                </a:lnTo>
                <a:lnTo>
                  <a:pt x="42" y="8"/>
                </a:lnTo>
                <a:lnTo>
                  <a:pt x="53" y="6"/>
                </a:lnTo>
                <a:lnTo>
                  <a:pt x="60" y="6"/>
                </a:lnTo>
                <a:lnTo>
                  <a:pt x="60" y="7"/>
                </a:lnTo>
                <a:lnTo>
                  <a:pt x="59" y="9"/>
                </a:lnTo>
                <a:lnTo>
                  <a:pt x="58" y="11"/>
                </a:lnTo>
                <a:lnTo>
                  <a:pt x="55" y="13"/>
                </a:lnTo>
                <a:lnTo>
                  <a:pt x="52" y="16"/>
                </a:lnTo>
                <a:lnTo>
                  <a:pt x="50" y="19"/>
                </a:lnTo>
                <a:lnTo>
                  <a:pt x="49" y="25"/>
                </a:lnTo>
                <a:lnTo>
                  <a:pt x="46" y="28"/>
                </a:lnTo>
                <a:lnTo>
                  <a:pt x="43" y="30"/>
                </a:lnTo>
                <a:lnTo>
                  <a:pt x="40" y="32"/>
                </a:lnTo>
                <a:lnTo>
                  <a:pt x="37" y="34"/>
                </a:lnTo>
                <a:lnTo>
                  <a:pt x="35" y="36"/>
                </a:lnTo>
                <a:lnTo>
                  <a:pt x="33" y="39"/>
                </a:lnTo>
                <a:lnTo>
                  <a:pt x="31" y="41"/>
                </a:lnTo>
                <a:lnTo>
                  <a:pt x="31" y="42"/>
                </a:lnTo>
                <a:lnTo>
                  <a:pt x="28" y="42"/>
                </a:lnTo>
                <a:lnTo>
                  <a:pt x="28" y="41"/>
                </a:lnTo>
                <a:lnTo>
                  <a:pt x="27" y="39"/>
                </a:lnTo>
                <a:lnTo>
                  <a:pt x="24" y="37"/>
                </a:lnTo>
                <a:lnTo>
                  <a:pt x="21" y="41"/>
                </a:lnTo>
                <a:lnTo>
                  <a:pt x="17" y="43"/>
                </a:lnTo>
                <a:lnTo>
                  <a:pt x="13" y="46"/>
                </a:lnTo>
                <a:lnTo>
                  <a:pt x="10" y="46"/>
                </a:lnTo>
                <a:lnTo>
                  <a:pt x="8" y="46"/>
                </a:lnTo>
                <a:lnTo>
                  <a:pt x="5" y="46"/>
                </a:lnTo>
                <a:lnTo>
                  <a:pt x="3" y="44"/>
                </a:lnTo>
                <a:lnTo>
                  <a:pt x="1" y="43"/>
                </a:lnTo>
                <a:lnTo>
                  <a:pt x="0" y="42"/>
                </a:lnTo>
                <a:lnTo>
                  <a:pt x="0" y="39"/>
                </a:lnTo>
                <a:lnTo>
                  <a:pt x="0" y="38"/>
                </a:lnTo>
                <a:lnTo>
                  <a:pt x="0" y="34"/>
                </a:lnTo>
                <a:lnTo>
                  <a:pt x="0" y="32"/>
                </a:lnTo>
                <a:lnTo>
                  <a:pt x="1" y="29"/>
                </a:lnTo>
                <a:lnTo>
                  <a:pt x="3" y="28"/>
                </a:lnTo>
                <a:lnTo>
                  <a:pt x="5" y="26"/>
                </a:lnTo>
                <a:lnTo>
                  <a:pt x="6" y="26"/>
                </a:lnTo>
                <a:lnTo>
                  <a:pt x="6" y="25"/>
                </a:lnTo>
                <a:lnTo>
                  <a:pt x="6" y="22"/>
                </a:lnTo>
                <a:lnTo>
                  <a:pt x="5" y="16"/>
                </a:lnTo>
                <a:lnTo>
                  <a:pt x="6" y="15"/>
                </a:lnTo>
                <a:lnTo>
                  <a:pt x="7" y="13"/>
                </a:lnTo>
                <a:lnTo>
                  <a:pt x="10" y="7"/>
                </a:lnTo>
                <a:lnTo>
                  <a:pt x="16" y="0"/>
                </a:lnTo>
                <a:lnTo>
                  <a:pt x="16" y="2"/>
                </a:lnTo>
                <a:lnTo>
                  <a:pt x="16" y="1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75" name="Freeform 74">
            <a:extLst>
              <a:ext uri="{FF2B5EF4-FFF2-40B4-BE49-F238E27FC236}">
                <a16:creationId xmlns:a16="http://schemas.microsoft.com/office/drawing/2014/main" id="{216FA4BA-298C-911E-01CB-19C13727E60A}"/>
              </a:ext>
            </a:extLst>
          </p:cNvPr>
          <p:cNvSpPr>
            <a:spLocks/>
          </p:cNvSpPr>
          <p:nvPr/>
        </p:nvSpPr>
        <p:spPr bwMode="auto">
          <a:xfrm>
            <a:off x="10130800" y="6137121"/>
            <a:ext cx="33338" cy="31750"/>
          </a:xfrm>
          <a:custGeom>
            <a:avLst/>
            <a:gdLst>
              <a:gd name="T0" fmla="*/ 16 w 17"/>
              <a:gd name="T1" fmla="*/ 0 h 17"/>
              <a:gd name="T2" fmla="*/ 16 w 17"/>
              <a:gd name="T3" fmla="*/ 5 h 17"/>
              <a:gd name="T4" fmla="*/ 12 w 17"/>
              <a:gd name="T5" fmla="*/ 8 h 17"/>
              <a:gd name="T6" fmla="*/ 12 w 17"/>
              <a:gd name="T7" fmla="*/ 12 h 17"/>
              <a:gd name="T8" fmla="*/ 8 w 17"/>
              <a:gd name="T9" fmla="*/ 16 h 17"/>
              <a:gd name="T10" fmla="*/ 4 w 17"/>
              <a:gd name="T11" fmla="*/ 13 h 17"/>
              <a:gd name="T12" fmla="*/ 0 w 17"/>
              <a:gd name="T13" fmla="*/ 10 h 17"/>
              <a:gd name="T14" fmla="*/ 0 w 17"/>
              <a:gd name="T15" fmla="*/ 6 h 17"/>
              <a:gd name="T16" fmla="*/ 6 w 17"/>
              <a:gd name="T17" fmla="*/ 4 h 17"/>
              <a:gd name="T18" fmla="*/ 10 w 17"/>
              <a:gd name="T19" fmla="*/ 2 h 17"/>
              <a:gd name="T20" fmla="*/ 16 w 17"/>
              <a:gd name="T21" fmla="*/ 0 h 17"/>
              <a:gd name="T22" fmla="*/ 16 w 17"/>
              <a:gd name="T23" fmla="*/ 2 h 17"/>
              <a:gd name="T24" fmla="*/ 16 w 17"/>
              <a:gd name="T25" fmla="*/ 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7" h="17">
                <a:moveTo>
                  <a:pt x="16" y="0"/>
                </a:moveTo>
                <a:lnTo>
                  <a:pt x="16" y="5"/>
                </a:lnTo>
                <a:lnTo>
                  <a:pt x="12" y="8"/>
                </a:lnTo>
                <a:lnTo>
                  <a:pt x="12" y="12"/>
                </a:lnTo>
                <a:lnTo>
                  <a:pt x="8" y="16"/>
                </a:lnTo>
                <a:lnTo>
                  <a:pt x="4" y="13"/>
                </a:lnTo>
                <a:lnTo>
                  <a:pt x="0" y="10"/>
                </a:lnTo>
                <a:lnTo>
                  <a:pt x="0" y="6"/>
                </a:lnTo>
                <a:lnTo>
                  <a:pt x="6" y="4"/>
                </a:lnTo>
                <a:lnTo>
                  <a:pt x="10" y="2"/>
                </a:lnTo>
                <a:lnTo>
                  <a:pt x="16" y="0"/>
                </a:lnTo>
                <a:lnTo>
                  <a:pt x="16" y="2"/>
                </a:lnTo>
                <a:lnTo>
                  <a:pt x="16" y="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76" name="Freeform 75">
            <a:extLst>
              <a:ext uri="{FF2B5EF4-FFF2-40B4-BE49-F238E27FC236}">
                <a16:creationId xmlns:a16="http://schemas.microsoft.com/office/drawing/2014/main" id="{11029C16-5A12-FE7D-9765-17C6193EE379}"/>
              </a:ext>
            </a:extLst>
          </p:cNvPr>
          <p:cNvSpPr>
            <a:spLocks/>
          </p:cNvSpPr>
          <p:nvPr/>
        </p:nvSpPr>
        <p:spPr bwMode="auto">
          <a:xfrm>
            <a:off x="10024438" y="6135534"/>
            <a:ext cx="34925" cy="31750"/>
          </a:xfrm>
          <a:custGeom>
            <a:avLst/>
            <a:gdLst>
              <a:gd name="T0" fmla="*/ 16 w 17"/>
              <a:gd name="T1" fmla="*/ 16 h 17"/>
              <a:gd name="T2" fmla="*/ 6 w 17"/>
              <a:gd name="T3" fmla="*/ 16 h 17"/>
              <a:gd name="T4" fmla="*/ 2 w 17"/>
              <a:gd name="T5" fmla="*/ 16 h 17"/>
              <a:gd name="T6" fmla="*/ 2 w 17"/>
              <a:gd name="T7" fmla="*/ 13 h 17"/>
              <a:gd name="T8" fmla="*/ 0 w 17"/>
              <a:gd name="T9" fmla="*/ 10 h 17"/>
              <a:gd name="T10" fmla="*/ 2 w 17"/>
              <a:gd name="T11" fmla="*/ 5 h 17"/>
              <a:gd name="T12" fmla="*/ 4 w 17"/>
              <a:gd name="T13" fmla="*/ 2 h 17"/>
              <a:gd name="T14" fmla="*/ 14 w 17"/>
              <a:gd name="T15" fmla="*/ 0 h 17"/>
              <a:gd name="T16" fmla="*/ 14 w 17"/>
              <a:gd name="T17" fmla="*/ 13 h 17"/>
              <a:gd name="T18" fmla="*/ 14 w 17"/>
              <a:gd name="T19" fmla="*/ 16 h 17"/>
              <a:gd name="T20" fmla="*/ 16 w 17"/>
              <a:gd name="T21" fmla="*/ 16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7" h="17">
                <a:moveTo>
                  <a:pt x="16" y="16"/>
                </a:moveTo>
                <a:lnTo>
                  <a:pt x="6" y="16"/>
                </a:lnTo>
                <a:lnTo>
                  <a:pt x="2" y="16"/>
                </a:lnTo>
                <a:lnTo>
                  <a:pt x="2" y="13"/>
                </a:lnTo>
                <a:lnTo>
                  <a:pt x="0" y="10"/>
                </a:lnTo>
                <a:lnTo>
                  <a:pt x="2" y="5"/>
                </a:lnTo>
                <a:lnTo>
                  <a:pt x="4" y="2"/>
                </a:lnTo>
                <a:lnTo>
                  <a:pt x="14" y="0"/>
                </a:lnTo>
                <a:lnTo>
                  <a:pt x="14" y="13"/>
                </a:lnTo>
                <a:lnTo>
                  <a:pt x="14" y="16"/>
                </a:lnTo>
                <a:lnTo>
                  <a:pt x="16" y="16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77" name="Freeform 76">
            <a:extLst>
              <a:ext uri="{FF2B5EF4-FFF2-40B4-BE49-F238E27FC236}">
                <a16:creationId xmlns:a16="http://schemas.microsoft.com/office/drawing/2014/main" id="{5634CBC7-6804-2FE2-E444-AE298ACBE4A7}"/>
              </a:ext>
            </a:extLst>
          </p:cNvPr>
          <p:cNvSpPr>
            <a:spLocks/>
          </p:cNvSpPr>
          <p:nvPr/>
        </p:nvSpPr>
        <p:spPr bwMode="auto">
          <a:xfrm>
            <a:off x="9333875" y="5338609"/>
            <a:ext cx="1163638" cy="781050"/>
          </a:xfrm>
          <a:custGeom>
            <a:avLst/>
            <a:gdLst>
              <a:gd name="T0" fmla="*/ 178 w 576"/>
              <a:gd name="T1" fmla="*/ 89 h 418"/>
              <a:gd name="T2" fmla="*/ 191 w 576"/>
              <a:gd name="T3" fmla="*/ 93 h 418"/>
              <a:gd name="T4" fmla="*/ 206 w 576"/>
              <a:gd name="T5" fmla="*/ 72 h 418"/>
              <a:gd name="T6" fmla="*/ 221 w 576"/>
              <a:gd name="T7" fmla="*/ 55 h 418"/>
              <a:gd name="T8" fmla="*/ 257 w 576"/>
              <a:gd name="T9" fmla="*/ 50 h 418"/>
              <a:gd name="T10" fmla="*/ 267 w 576"/>
              <a:gd name="T11" fmla="*/ 59 h 418"/>
              <a:gd name="T12" fmla="*/ 281 w 576"/>
              <a:gd name="T13" fmla="*/ 47 h 418"/>
              <a:gd name="T14" fmla="*/ 292 w 576"/>
              <a:gd name="T15" fmla="*/ 33 h 418"/>
              <a:gd name="T16" fmla="*/ 323 w 576"/>
              <a:gd name="T17" fmla="*/ 20 h 418"/>
              <a:gd name="T18" fmla="*/ 323 w 576"/>
              <a:gd name="T19" fmla="*/ 7 h 418"/>
              <a:gd name="T20" fmla="*/ 339 w 576"/>
              <a:gd name="T21" fmla="*/ 9 h 418"/>
              <a:gd name="T22" fmla="*/ 373 w 576"/>
              <a:gd name="T23" fmla="*/ 17 h 418"/>
              <a:gd name="T24" fmla="*/ 388 w 576"/>
              <a:gd name="T25" fmla="*/ 16 h 418"/>
              <a:gd name="T26" fmla="*/ 379 w 576"/>
              <a:gd name="T27" fmla="*/ 34 h 418"/>
              <a:gd name="T28" fmla="*/ 386 w 576"/>
              <a:gd name="T29" fmla="*/ 46 h 418"/>
              <a:gd name="T30" fmla="*/ 374 w 576"/>
              <a:gd name="T31" fmla="*/ 46 h 418"/>
              <a:gd name="T32" fmla="*/ 368 w 576"/>
              <a:gd name="T33" fmla="*/ 66 h 418"/>
              <a:gd name="T34" fmla="*/ 411 w 576"/>
              <a:gd name="T35" fmla="*/ 89 h 418"/>
              <a:gd name="T36" fmla="*/ 430 w 576"/>
              <a:gd name="T37" fmla="*/ 97 h 418"/>
              <a:gd name="T38" fmla="*/ 449 w 576"/>
              <a:gd name="T39" fmla="*/ 64 h 418"/>
              <a:gd name="T40" fmla="*/ 464 w 576"/>
              <a:gd name="T41" fmla="*/ 19 h 418"/>
              <a:gd name="T42" fmla="*/ 480 w 576"/>
              <a:gd name="T43" fmla="*/ 0 h 418"/>
              <a:gd name="T44" fmla="*/ 484 w 576"/>
              <a:gd name="T45" fmla="*/ 36 h 418"/>
              <a:gd name="T46" fmla="*/ 502 w 576"/>
              <a:gd name="T47" fmla="*/ 67 h 418"/>
              <a:gd name="T48" fmla="*/ 507 w 576"/>
              <a:gd name="T49" fmla="*/ 102 h 418"/>
              <a:gd name="T50" fmla="*/ 515 w 576"/>
              <a:gd name="T51" fmla="*/ 126 h 418"/>
              <a:gd name="T52" fmla="*/ 538 w 576"/>
              <a:gd name="T53" fmla="*/ 148 h 418"/>
              <a:gd name="T54" fmla="*/ 547 w 576"/>
              <a:gd name="T55" fmla="*/ 166 h 418"/>
              <a:gd name="T56" fmla="*/ 558 w 576"/>
              <a:gd name="T57" fmla="*/ 189 h 418"/>
              <a:gd name="T58" fmla="*/ 573 w 576"/>
              <a:gd name="T59" fmla="*/ 221 h 418"/>
              <a:gd name="T60" fmla="*/ 567 w 576"/>
              <a:gd name="T61" fmla="*/ 252 h 418"/>
              <a:gd name="T62" fmla="*/ 542 w 576"/>
              <a:gd name="T63" fmla="*/ 299 h 418"/>
              <a:gd name="T64" fmla="*/ 526 w 576"/>
              <a:gd name="T65" fmla="*/ 317 h 418"/>
              <a:gd name="T66" fmla="*/ 492 w 576"/>
              <a:gd name="T67" fmla="*/ 346 h 418"/>
              <a:gd name="T68" fmla="*/ 447 w 576"/>
              <a:gd name="T69" fmla="*/ 394 h 418"/>
              <a:gd name="T70" fmla="*/ 398 w 576"/>
              <a:gd name="T71" fmla="*/ 408 h 418"/>
              <a:gd name="T72" fmla="*/ 383 w 576"/>
              <a:gd name="T73" fmla="*/ 413 h 418"/>
              <a:gd name="T74" fmla="*/ 343 w 576"/>
              <a:gd name="T75" fmla="*/ 412 h 418"/>
              <a:gd name="T76" fmla="*/ 319 w 576"/>
              <a:gd name="T77" fmla="*/ 400 h 418"/>
              <a:gd name="T78" fmla="*/ 317 w 576"/>
              <a:gd name="T79" fmla="*/ 380 h 418"/>
              <a:gd name="T80" fmla="*/ 307 w 576"/>
              <a:gd name="T81" fmla="*/ 363 h 418"/>
              <a:gd name="T82" fmla="*/ 304 w 576"/>
              <a:gd name="T83" fmla="*/ 354 h 418"/>
              <a:gd name="T84" fmla="*/ 292 w 576"/>
              <a:gd name="T85" fmla="*/ 358 h 418"/>
              <a:gd name="T86" fmla="*/ 313 w 576"/>
              <a:gd name="T87" fmla="*/ 340 h 418"/>
              <a:gd name="T88" fmla="*/ 307 w 576"/>
              <a:gd name="T89" fmla="*/ 332 h 418"/>
              <a:gd name="T90" fmla="*/ 284 w 576"/>
              <a:gd name="T91" fmla="*/ 347 h 418"/>
              <a:gd name="T92" fmla="*/ 274 w 576"/>
              <a:gd name="T93" fmla="*/ 349 h 418"/>
              <a:gd name="T94" fmla="*/ 271 w 576"/>
              <a:gd name="T95" fmla="*/ 317 h 418"/>
              <a:gd name="T96" fmla="*/ 188 w 576"/>
              <a:gd name="T97" fmla="*/ 317 h 418"/>
              <a:gd name="T98" fmla="*/ 112 w 576"/>
              <a:gd name="T99" fmla="*/ 340 h 418"/>
              <a:gd name="T100" fmla="*/ 39 w 576"/>
              <a:gd name="T101" fmla="*/ 354 h 418"/>
              <a:gd name="T102" fmla="*/ 9 w 576"/>
              <a:gd name="T103" fmla="*/ 350 h 418"/>
              <a:gd name="T104" fmla="*/ 0 w 576"/>
              <a:gd name="T105" fmla="*/ 339 h 418"/>
              <a:gd name="T106" fmla="*/ 22 w 576"/>
              <a:gd name="T107" fmla="*/ 319 h 418"/>
              <a:gd name="T108" fmla="*/ 24 w 576"/>
              <a:gd name="T109" fmla="*/ 246 h 418"/>
              <a:gd name="T110" fmla="*/ 25 w 576"/>
              <a:gd name="T111" fmla="*/ 230 h 418"/>
              <a:gd name="T112" fmla="*/ 29 w 576"/>
              <a:gd name="T113" fmla="*/ 223 h 418"/>
              <a:gd name="T114" fmla="*/ 36 w 576"/>
              <a:gd name="T115" fmla="*/ 170 h 418"/>
              <a:gd name="T116" fmla="*/ 46 w 576"/>
              <a:gd name="T117" fmla="*/ 169 h 418"/>
              <a:gd name="T118" fmla="*/ 65 w 576"/>
              <a:gd name="T119" fmla="*/ 158 h 418"/>
              <a:gd name="T120" fmla="*/ 100 w 576"/>
              <a:gd name="T121" fmla="*/ 142 h 418"/>
              <a:gd name="T122" fmla="*/ 145 w 576"/>
              <a:gd name="T123" fmla="*/ 132 h 4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76" h="418">
                <a:moveTo>
                  <a:pt x="164" y="112"/>
                </a:moveTo>
                <a:lnTo>
                  <a:pt x="168" y="107"/>
                </a:lnTo>
                <a:lnTo>
                  <a:pt x="169" y="104"/>
                </a:lnTo>
                <a:lnTo>
                  <a:pt x="170" y="102"/>
                </a:lnTo>
                <a:lnTo>
                  <a:pt x="170" y="99"/>
                </a:lnTo>
                <a:lnTo>
                  <a:pt x="171" y="95"/>
                </a:lnTo>
                <a:lnTo>
                  <a:pt x="173" y="93"/>
                </a:lnTo>
                <a:lnTo>
                  <a:pt x="175" y="91"/>
                </a:lnTo>
                <a:lnTo>
                  <a:pt x="178" y="89"/>
                </a:lnTo>
                <a:lnTo>
                  <a:pt x="179" y="86"/>
                </a:lnTo>
                <a:lnTo>
                  <a:pt x="181" y="86"/>
                </a:lnTo>
                <a:lnTo>
                  <a:pt x="183" y="85"/>
                </a:lnTo>
                <a:lnTo>
                  <a:pt x="184" y="89"/>
                </a:lnTo>
                <a:lnTo>
                  <a:pt x="185" y="91"/>
                </a:lnTo>
                <a:lnTo>
                  <a:pt x="187" y="93"/>
                </a:lnTo>
                <a:lnTo>
                  <a:pt x="189" y="94"/>
                </a:lnTo>
                <a:lnTo>
                  <a:pt x="190" y="94"/>
                </a:lnTo>
                <a:lnTo>
                  <a:pt x="191" y="93"/>
                </a:lnTo>
                <a:lnTo>
                  <a:pt x="192" y="92"/>
                </a:lnTo>
                <a:lnTo>
                  <a:pt x="192" y="89"/>
                </a:lnTo>
                <a:lnTo>
                  <a:pt x="191" y="88"/>
                </a:lnTo>
                <a:lnTo>
                  <a:pt x="191" y="85"/>
                </a:lnTo>
                <a:lnTo>
                  <a:pt x="191" y="80"/>
                </a:lnTo>
                <a:lnTo>
                  <a:pt x="198" y="81"/>
                </a:lnTo>
                <a:lnTo>
                  <a:pt x="204" y="80"/>
                </a:lnTo>
                <a:lnTo>
                  <a:pt x="205" y="76"/>
                </a:lnTo>
                <a:lnTo>
                  <a:pt x="206" y="72"/>
                </a:lnTo>
                <a:lnTo>
                  <a:pt x="208" y="71"/>
                </a:lnTo>
                <a:lnTo>
                  <a:pt x="210" y="67"/>
                </a:lnTo>
                <a:lnTo>
                  <a:pt x="212" y="66"/>
                </a:lnTo>
                <a:lnTo>
                  <a:pt x="214" y="64"/>
                </a:lnTo>
                <a:lnTo>
                  <a:pt x="216" y="63"/>
                </a:lnTo>
                <a:lnTo>
                  <a:pt x="217" y="62"/>
                </a:lnTo>
                <a:lnTo>
                  <a:pt x="218" y="59"/>
                </a:lnTo>
                <a:lnTo>
                  <a:pt x="219" y="57"/>
                </a:lnTo>
                <a:lnTo>
                  <a:pt x="221" y="55"/>
                </a:lnTo>
                <a:lnTo>
                  <a:pt x="221" y="54"/>
                </a:lnTo>
                <a:lnTo>
                  <a:pt x="224" y="52"/>
                </a:lnTo>
                <a:lnTo>
                  <a:pt x="231" y="49"/>
                </a:lnTo>
                <a:lnTo>
                  <a:pt x="238" y="48"/>
                </a:lnTo>
                <a:lnTo>
                  <a:pt x="244" y="46"/>
                </a:lnTo>
                <a:lnTo>
                  <a:pt x="246" y="45"/>
                </a:lnTo>
                <a:lnTo>
                  <a:pt x="249" y="43"/>
                </a:lnTo>
                <a:lnTo>
                  <a:pt x="253" y="47"/>
                </a:lnTo>
                <a:lnTo>
                  <a:pt x="257" y="50"/>
                </a:lnTo>
                <a:lnTo>
                  <a:pt x="258" y="52"/>
                </a:lnTo>
                <a:lnTo>
                  <a:pt x="261" y="54"/>
                </a:lnTo>
                <a:lnTo>
                  <a:pt x="261" y="56"/>
                </a:lnTo>
                <a:lnTo>
                  <a:pt x="261" y="59"/>
                </a:lnTo>
                <a:lnTo>
                  <a:pt x="259" y="62"/>
                </a:lnTo>
                <a:lnTo>
                  <a:pt x="262" y="59"/>
                </a:lnTo>
                <a:lnTo>
                  <a:pt x="264" y="59"/>
                </a:lnTo>
                <a:lnTo>
                  <a:pt x="266" y="59"/>
                </a:lnTo>
                <a:lnTo>
                  <a:pt x="267" y="59"/>
                </a:lnTo>
                <a:lnTo>
                  <a:pt x="270" y="59"/>
                </a:lnTo>
                <a:lnTo>
                  <a:pt x="271" y="59"/>
                </a:lnTo>
                <a:lnTo>
                  <a:pt x="273" y="61"/>
                </a:lnTo>
                <a:lnTo>
                  <a:pt x="275" y="59"/>
                </a:lnTo>
                <a:lnTo>
                  <a:pt x="277" y="59"/>
                </a:lnTo>
                <a:lnTo>
                  <a:pt x="280" y="58"/>
                </a:lnTo>
                <a:lnTo>
                  <a:pt x="280" y="57"/>
                </a:lnTo>
                <a:lnTo>
                  <a:pt x="279" y="52"/>
                </a:lnTo>
                <a:lnTo>
                  <a:pt x="281" y="47"/>
                </a:lnTo>
                <a:lnTo>
                  <a:pt x="284" y="43"/>
                </a:lnTo>
                <a:lnTo>
                  <a:pt x="286" y="41"/>
                </a:lnTo>
                <a:lnTo>
                  <a:pt x="289" y="40"/>
                </a:lnTo>
                <a:lnTo>
                  <a:pt x="294" y="39"/>
                </a:lnTo>
                <a:lnTo>
                  <a:pt x="294" y="36"/>
                </a:lnTo>
                <a:lnTo>
                  <a:pt x="293" y="36"/>
                </a:lnTo>
                <a:lnTo>
                  <a:pt x="292" y="35"/>
                </a:lnTo>
                <a:lnTo>
                  <a:pt x="292" y="34"/>
                </a:lnTo>
                <a:lnTo>
                  <a:pt x="292" y="33"/>
                </a:lnTo>
                <a:lnTo>
                  <a:pt x="293" y="31"/>
                </a:lnTo>
                <a:lnTo>
                  <a:pt x="294" y="30"/>
                </a:lnTo>
                <a:lnTo>
                  <a:pt x="294" y="29"/>
                </a:lnTo>
                <a:lnTo>
                  <a:pt x="298" y="26"/>
                </a:lnTo>
                <a:lnTo>
                  <a:pt x="302" y="25"/>
                </a:lnTo>
                <a:lnTo>
                  <a:pt x="311" y="22"/>
                </a:lnTo>
                <a:lnTo>
                  <a:pt x="316" y="21"/>
                </a:lnTo>
                <a:lnTo>
                  <a:pt x="320" y="20"/>
                </a:lnTo>
                <a:lnTo>
                  <a:pt x="323" y="20"/>
                </a:lnTo>
                <a:lnTo>
                  <a:pt x="327" y="19"/>
                </a:lnTo>
                <a:lnTo>
                  <a:pt x="328" y="18"/>
                </a:lnTo>
                <a:lnTo>
                  <a:pt x="329" y="17"/>
                </a:lnTo>
                <a:lnTo>
                  <a:pt x="329" y="15"/>
                </a:lnTo>
                <a:lnTo>
                  <a:pt x="329" y="13"/>
                </a:lnTo>
                <a:lnTo>
                  <a:pt x="329" y="9"/>
                </a:lnTo>
                <a:lnTo>
                  <a:pt x="325" y="9"/>
                </a:lnTo>
                <a:lnTo>
                  <a:pt x="324" y="8"/>
                </a:lnTo>
                <a:lnTo>
                  <a:pt x="323" y="7"/>
                </a:lnTo>
                <a:lnTo>
                  <a:pt x="323" y="3"/>
                </a:lnTo>
                <a:lnTo>
                  <a:pt x="327" y="3"/>
                </a:lnTo>
                <a:lnTo>
                  <a:pt x="330" y="4"/>
                </a:lnTo>
                <a:lnTo>
                  <a:pt x="333" y="5"/>
                </a:lnTo>
                <a:lnTo>
                  <a:pt x="332" y="7"/>
                </a:lnTo>
                <a:lnTo>
                  <a:pt x="332" y="9"/>
                </a:lnTo>
                <a:lnTo>
                  <a:pt x="333" y="9"/>
                </a:lnTo>
                <a:lnTo>
                  <a:pt x="335" y="9"/>
                </a:lnTo>
                <a:lnTo>
                  <a:pt x="339" y="9"/>
                </a:lnTo>
                <a:lnTo>
                  <a:pt x="343" y="10"/>
                </a:lnTo>
                <a:lnTo>
                  <a:pt x="346" y="13"/>
                </a:lnTo>
                <a:lnTo>
                  <a:pt x="353" y="15"/>
                </a:lnTo>
                <a:lnTo>
                  <a:pt x="356" y="16"/>
                </a:lnTo>
                <a:lnTo>
                  <a:pt x="360" y="17"/>
                </a:lnTo>
                <a:lnTo>
                  <a:pt x="364" y="18"/>
                </a:lnTo>
                <a:lnTo>
                  <a:pt x="369" y="18"/>
                </a:lnTo>
                <a:lnTo>
                  <a:pt x="370" y="18"/>
                </a:lnTo>
                <a:lnTo>
                  <a:pt x="373" y="17"/>
                </a:lnTo>
                <a:lnTo>
                  <a:pt x="376" y="15"/>
                </a:lnTo>
                <a:lnTo>
                  <a:pt x="377" y="17"/>
                </a:lnTo>
                <a:lnTo>
                  <a:pt x="379" y="19"/>
                </a:lnTo>
                <a:lnTo>
                  <a:pt x="382" y="22"/>
                </a:lnTo>
                <a:lnTo>
                  <a:pt x="383" y="20"/>
                </a:lnTo>
                <a:lnTo>
                  <a:pt x="383" y="18"/>
                </a:lnTo>
                <a:lnTo>
                  <a:pt x="384" y="16"/>
                </a:lnTo>
                <a:lnTo>
                  <a:pt x="386" y="16"/>
                </a:lnTo>
                <a:lnTo>
                  <a:pt x="388" y="16"/>
                </a:lnTo>
                <a:lnTo>
                  <a:pt x="389" y="17"/>
                </a:lnTo>
                <a:lnTo>
                  <a:pt x="390" y="18"/>
                </a:lnTo>
                <a:lnTo>
                  <a:pt x="392" y="20"/>
                </a:lnTo>
                <a:lnTo>
                  <a:pt x="392" y="21"/>
                </a:lnTo>
                <a:lnTo>
                  <a:pt x="392" y="23"/>
                </a:lnTo>
                <a:lnTo>
                  <a:pt x="390" y="25"/>
                </a:lnTo>
                <a:lnTo>
                  <a:pt x="386" y="29"/>
                </a:lnTo>
                <a:lnTo>
                  <a:pt x="382" y="33"/>
                </a:lnTo>
                <a:lnTo>
                  <a:pt x="379" y="34"/>
                </a:lnTo>
                <a:lnTo>
                  <a:pt x="377" y="35"/>
                </a:lnTo>
                <a:lnTo>
                  <a:pt x="377" y="39"/>
                </a:lnTo>
                <a:lnTo>
                  <a:pt x="377" y="41"/>
                </a:lnTo>
                <a:lnTo>
                  <a:pt x="379" y="42"/>
                </a:lnTo>
                <a:lnTo>
                  <a:pt x="380" y="43"/>
                </a:lnTo>
                <a:lnTo>
                  <a:pt x="381" y="43"/>
                </a:lnTo>
                <a:lnTo>
                  <a:pt x="383" y="42"/>
                </a:lnTo>
                <a:lnTo>
                  <a:pt x="384" y="44"/>
                </a:lnTo>
                <a:lnTo>
                  <a:pt x="386" y="46"/>
                </a:lnTo>
                <a:lnTo>
                  <a:pt x="386" y="49"/>
                </a:lnTo>
                <a:lnTo>
                  <a:pt x="384" y="49"/>
                </a:lnTo>
                <a:lnTo>
                  <a:pt x="383" y="49"/>
                </a:lnTo>
                <a:lnTo>
                  <a:pt x="381" y="49"/>
                </a:lnTo>
                <a:lnTo>
                  <a:pt x="380" y="49"/>
                </a:lnTo>
                <a:lnTo>
                  <a:pt x="379" y="47"/>
                </a:lnTo>
                <a:lnTo>
                  <a:pt x="378" y="45"/>
                </a:lnTo>
                <a:lnTo>
                  <a:pt x="377" y="44"/>
                </a:lnTo>
                <a:lnTo>
                  <a:pt x="374" y="46"/>
                </a:lnTo>
                <a:lnTo>
                  <a:pt x="370" y="49"/>
                </a:lnTo>
                <a:lnTo>
                  <a:pt x="368" y="52"/>
                </a:lnTo>
                <a:lnTo>
                  <a:pt x="366" y="53"/>
                </a:lnTo>
                <a:lnTo>
                  <a:pt x="365" y="55"/>
                </a:lnTo>
                <a:lnTo>
                  <a:pt x="364" y="57"/>
                </a:lnTo>
                <a:lnTo>
                  <a:pt x="365" y="59"/>
                </a:lnTo>
                <a:lnTo>
                  <a:pt x="365" y="62"/>
                </a:lnTo>
                <a:lnTo>
                  <a:pt x="366" y="64"/>
                </a:lnTo>
                <a:lnTo>
                  <a:pt x="368" y="66"/>
                </a:lnTo>
                <a:lnTo>
                  <a:pt x="370" y="68"/>
                </a:lnTo>
                <a:lnTo>
                  <a:pt x="374" y="70"/>
                </a:lnTo>
                <a:lnTo>
                  <a:pt x="383" y="74"/>
                </a:lnTo>
                <a:lnTo>
                  <a:pt x="387" y="76"/>
                </a:lnTo>
                <a:lnTo>
                  <a:pt x="391" y="77"/>
                </a:lnTo>
                <a:lnTo>
                  <a:pt x="396" y="81"/>
                </a:lnTo>
                <a:lnTo>
                  <a:pt x="400" y="84"/>
                </a:lnTo>
                <a:lnTo>
                  <a:pt x="405" y="86"/>
                </a:lnTo>
                <a:lnTo>
                  <a:pt x="411" y="89"/>
                </a:lnTo>
                <a:lnTo>
                  <a:pt x="413" y="89"/>
                </a:lnTo>
                <a:lnTo>
                  <a:pt x="414" y="90"/>
                </a:lnTo>
                <a:lnTo>
                  <a:pt x="416" y="94"/>
                </a:lnTo>
                <a:lnTo>
                  <a:pt x="418" y="95"/>
                </a:lnTo>
                <a:lnTo>
                  <a:pt x="419" y="98"/>
                </a:lnTo>
                <a:lnTo>
                  <a:pt x="420" y="99"/>
                </a:lnTo>
                <a:lnTo>
                  <a:pt x="423" y="99"/>
                </a:lnTo>
                <a:lnTo>
                  <a:pt x="427" y="99"/>
                </a:lnTo>
                <a:lnTo>
                  <a:pt x="430" y="97"/>
                </a:lnTo>
                <a:lnTo>
                  <a:pt x="433" y="94"/>
                </a:lnTo>
                <a:lnTo>
                  <a:pt x="436" y="92"/>
                </a:lnTo>
                <a:lnTo>
                  <a:pt x="437" y="89"/>
                </a:lnTo>
                <a:lnTo>
                  <a:pt x="438" y="88"/>
                </a:lnTo>
                <a:lnTo>
                  <a:pt x="439" y="84"/>
                </a:lnTo>
                <a:lnTo>
                  <a:pt x="440" y="80"/>
                </a:lnTo>
                <a:lnTo>
                  <a:pt x="442" y="76"/>
                </a:lnTo>
                <a:lnTo>
                  <a:pt x="446" y="68"/>
                </a:lnTo>
                <a:lnTo>
                  <a:pt x="449" y="64"/>
                </a:lnTo>
                <a:lnTo>
                  <a:pt x="450" y="61"/>
                </a:lnTo>
                <a:lnTo>
                  <a:pt x="451" y="57"/>
                </a:lnTo>
                <a:lnTo>
                  <a:pt x="452" y="52"/>
                </a:lnTo>
                <a:lnTo>
                  <a:pt x="452" y="47"/>
                </a:lnTo>
                <a:lnTo>
                  <a:pt x="453" y="42"/>
                </a:lnTo>
                <a:lnTo>
                  <a:pt x="455" y="37"/>
                </a:lnTo>
                <a:lnTo>
                  <a:pt x="456" y="34"/>
                </a:lnTo>
                <a:lnTo>
                  <a:pt x="460" y="27"/>
                </a:lnTo>
                <a:lnTo>
                  <a:pt x="464" y="19"/>
                </a:lnTo>
                <a:lnTo>
                  <a:pt x="466" y="13"/>
                </a:lnTo>
                <a:lnTo>
                  <a:pt x="468" y="6"/>
                </a:lnTo>
                <a:lnTo>
                  <a:pt x="469" y="3"/>
                </a:lnTo>
                <a:lnTo>
                  <a:pt x="472" y="1"/>
                </a:lnTo>
                <a:lnTo>
                  <a:pt x="472" y="0"/>
                </a:lnTo>
                <a:lnTo>
                  <a:pt x="475" y="0"/>
                </a:lnTo>
                <a:lnTo>
                  <a:pt x="477" y="0"/>
                </a:lnTo>
                <a:lnTo>
                  <a:pt x="479" y="0"/>
                </a:lnTo>
                <a:lnTo>
                  <a:pt x="480" y="0"/>
                </a:lnTo>
                <a:lnTo>
                  <a:pt x="481" y="1"/>
                </a:lnTo>
                <a:lnTo>
                  <a:pt x="482" y="3"/>
                </a:lnTo>
                <a:lnTo>
                  <a:pt x="482" y="5"/>
                </a:lnTo>
                <a:lnTo>
                  <a:pt x="482" y="8"/>
                </a:lnTo>
                <a:lnTo>
                  <a:pt x="481" y="10"/>
                </a:lnTo>
                <a:lnTo>
                  <a:pt x="480" y="13"/>
                </a:lnTo>
                <a:lnTo>
                  <a:pt x="480" y="16"/>
                </a:lnTo>
                <a:lnTo>
                  <a:pt x="481" y="20"/>
                </a:lnTo>
                <a:lnTo>
                  <a:pt x="484" y="36"/>
                </a:lnTo>
                <a:lnTo>
                  <a:pt x="486" y="47"/>
                </a:lnTo>
                <a:lnTo>
                  <a:pt x="487" y="50"/>
                </a:lnTo>
                <a:lnTo>
                  <a:pt x="489" y="52"/>
                </a:lnTo>
                <a:lnTo>
                  <a:pt x="493" y="52"/>
                </a:lnTo>
                <a:lnTo>
                  <a:pt x="495" y="49"/>
                </a:lnTo>
                <a:lnTo>
                  <a:pt x="498" y="52"/>
                </a:lnTo>
                <a:lnTo>
                  <a:pt x="500" y="55"/>
                </a:lnTo>
                <a:lnTo>
                  <a:pt x="504" y="62"/>
                </a:lnTo>
                <a:lnTo>
                  <a:pt x="502" y="67"/>
                </a:lnTo>
                <a:lnTo>
                  <a:pt x="502" y="71"/>
                </a:lnTo>
                <a:lnTo>
                  <a:pt x="502" y="74"/>
                </a:lnTo>
                <a:lnTo>
                  <a:pt x="502" y="80"/>
                </a:lnTo>
                <a:lnTo>
                  <a:pt x="502" y="83"/>
                </a:lnTo>
                <a:lnTo>
                  <a:pt x="502" y="86"/>
                </a:lnTo>
                <a:lnTo>
                  <a:pt x="504" y="90"/>
                </a:lnTo>
                <a:lnTo>
                  <a:pt x="506" y="95"/>
                </a:lnTo>
                <a:lnTo>
                  <a:pt x="507" y="99"/>
                </a:lnTo>
                <a:lnTo>
                  <a:pt x="507" y="102"/>
                </a:lnTo>
                <a:lnTo>
                  <a:pt x="507" y="104"/>
                </a:lnTo>
                <a:lnTo>
                  <a:pt x="508" y="107"/>
                </a:lnTo>
                <a:lnTo>
                  <a:pt x="508" y="109"/>
                </a:lnTo>
                <a:lnTo>
                  <a:pt x="509" y="111"/>
                </a:lnTo>
                <a:lnTo>
                  <a:pt x="509" y="117"/>
                </a:lnTo>
                <a:lnTo>
                  <a:pt x="509" y="119"/>
                </a:lnTo>
                <a:lnTo>
                  <a:pt x="509" y="121"/>
                </a:lnTo>
                <a:lnTo>
                  <a:pt x="512" y="124"/>
                </a:lnTo>
                <a:lnTo>
                  <a:pt x="515" y="126"/>
                </a:lnTo>
                <a:lnTo>
                  <a:pt x="519" y="129"/>
                </a:lnTo>
                <a:lnTo>
                  <a:pt x="527" y="133"/>
                </a:lnTo>
                <a:lnTo>
                  <a:pt x="531" y="135"/>
                </a:lnTo>
                <a:lnTo>
                  <a:pt x="535" y="138"/>
                </a:lnTo>
                <a:lnTo>
                  <a:pt x="535" y="139"/>
                </a:lnTo>
                <a:lnTo>
                  <a:pt x="536" y="140"/>
                </a:lnTo>
                <a:lnTo>
                  <a:pt x="536" y="142"/>
                </a:lnTo>
                <a:lnTo>
                  <a:pt x="538" y="144"/>
                </a:lnTo>
                <a:lnTo>
                  <a:pt x="538" y="148"/>
                </a:lnTo>
                <a:lnTo>
                  <a:pt x="538" y="149"/>
                </a:lnTo>
                <a:lnTo>
                  <a:pt x="539" y="151"/>
                </a:lnTo>
                <a:lnTo>
                  <a:pt x="539" y="162"/>
                </a:lnTo>
                <a:lnTo>
                  <a:pt x="540" y="166"/>
                </a:lnTo>
                <a:lnTo>
                  <a:pt x="542" y="168"/>
                </a:lnTo>
                <a:lnTo>
                  <a:pt x="543" y="169"/>
                </a:lnTo>
                <a:lnTo>
                  <a:pt x="545" y="169"/>
                </a:lnTo>
                <a:lnTo>
                  <a:pt x="546" y="168"/>
                </a:lnTo>
                <a:lnTo>
                  <a:pt x="547" y="166"/>
                </a:lnTo>
                <a:lnTo>
                  <a:pt x="551" y="171"/>
                </a:lnTo>
                <a:lnTo>
                  <a:pt x="552" y="175"/>
                </a:lnTo>
                <a:lnTo>
                  <a:pt x="553" y="176"/>
                </a:lnTo>
                <a:lnTo>
                  <a:pt x="554" y="179"/>
                </a:lnTo>
                <a:lnTo>
                  <a:pt x="555" y="182"/>
                </a:lnTo>
                <a:lnTo>
                  <a:pt x="555" y="185"/>
                </a:lnTo>
                <a:lnTo>
                  <a:pt x="555" y="187"/>
                </a:lnTo>
                <a:lnTo>
                  <a:pt x="556" y="188"/>
                </a:lnTo>
                <a:lnTo>
                  <a:pt x="558" y="189"/>
                </a:lnTo>
                <a:lnTo>
                  <a:pt x="560" y="191"/>
                </a:lnTo>
                <a:lnTo>
                  <a:pt x="561" y="192"/>
                </a:lnTo>
                <a:lnTo>
                  <a:pt x="570" y="203"/>
                </a:lnTo>
                <a:lnTo>
                  <a:pt x="574" y="209"/>
                </a:lnTo>
                <a:lnTo>
                  <a:pt x="575" y="211"/>
                </a:lnTo>
                <a:lnTo>
                  <a:pt x="575" y="214"/>
                </a:lnTo>
                <a:lnTo>
                  <a:pt x="575" y="216"/>
                </a:lnTo>
                <a:lnTo>
                  <a:pt x="574" y="219"/>
                </a:lnTo>
                <a:lnTo>
                  <a:pt x="573" y="221"/>
                </a:lnTo>
                <a:lnTo>
                  <a:pt x="571" y="224"/>
                </a:lnTo>
                <a:lnTo>
                  <a:pt x="570" y="225"/>
                </a:lnTo>
                <a:lnTo>
                  <a:pt x="568" y="228"/>
                </a:lnTo>
                <a:lnTo>
                  <a:pt x="568" y="230"/>
                </a:lnTo>
                <a:lnTo>
                  <a:pt x="567" y="232"/>
                </a:lnTo>
                <a:lnTo>
                  <a:pt x="568" y="238"/>
                </a:lnTo>
                <a:lnTo>
                  <a:pt x="568" y="244"/>
                </a:lnTo>
                <a:lnTo>
                  <a:pt x="568" y="249"/>
                </a:lnTo>
                <a:lnTo>
                  <a:pt x="567" y="252"/>
                </a:lnTo>
                <a:lnTo>
                  <a:pt x="566" y="257"/>
                </a:lnTo>
                <a:lnTo>
                  <a:pt x="565" y="260"/>
                </a:lnTo>
                <a:lnTo>
                  <a:pt x="565" y="264"/>
                </a:lnTo>
                <a:lnTo>
                  <a:pt x="562" y="266"/>
                </a:lnTo>
                <a:lnTo>
                  <a:pt x="561" y="269"/>
                </a:lnTo>
                <a:lnTo>
                  <a:pt x="560" y="272"/>
                </a:lnTo>
                <a:lnTo>
                  <a:pt x="551" y="285"/>
                </a:lnTo>
                <a:lnTo>
                  <a:pt x="546" y="291"/>
                </a:lnTo>
                <a:lnTo>
                  <a:pt x="542" y="299"/>
                </a:lnTo>
                <a:lnTo>
                  <a:pt x="540" y="301"/>
                </a:lnTo>
                <a:lnTo>
                  <a:pt x="538" y="304"/>
                </a:lnTo>
                <a:lnTo>
                  <a:pt x="535" y="305"/>
                </a:lnTo>
                <a:lnTo>
                  <a:pt x="535" y="307"/>
                </a:lnTo>
                <a:lnTo>
                  <a:pt x="533" y="308"/>
                </a:lnTo>
                <a:lnTo>
                  <a:pt x="532" y="309"/>
                </a:lnTo>
                <a:lnTo>
                  <a:pt x="530" y="312"/>
                </a:lnTo>
                <a:lnTo>
                  <a:pt x="529" y="314"/>
                </a:lnTo>
                <a:lnTo>
                  <a:pt x="526" y="317"/>
                </a:lnTo>
                <a:lnTo>
                  <a:pt x="525" y="318"/>
                </a:lnTo>
                <a:lnTo>
                  <a:pt x="522" y="319"/>
                </a:lnTo>
                <a:lnTo>
                  <a:pt x="512" y="326"/>
                </a:lnTo>
                <a:lnTo>
                  <a:pt x="508" y="328"/>
                </a:lnTo>
                <a:lnTo>
                  <a:pt x="504" y="331"/>
                </a:lnTo>
                <a:lnTo>
                  <a:pt x="502" y="334"/>
                </a:lnTo>
                <a:lnTo>
                  <a:pt x="499" y="337"/>
                </a:lnTo>
                <a:lnTo>
                  <a:pt x="495" y="344"/>
                </a:lnTo>
                <a:lnTo>
                  <a:pt x="492" y="346"/>
                </a:lnTo>
                <a:lnTo>
                  <a:pt x="489" y="349"/>
                </a:lnTo>
                <a:lnTo>
                  <a:pt x="479" y="358"/>
                </a:lnTo>
                <a:lnTo>
                  <a:pt x="469" y="367"/>
                </a:lnTo>
                <a:lnTo>
                  <a:pt x="462" y="377"/>
                </a:lnTo>
                <a:lnTo>
                  <a:pt x="453" y="388"/>
                </a:lnTo>
                <a:lnTo>
                  <a:pt x="451" y="389"/>
                </a:lnTo>
                <a:lnTo>
                  <a:pt x="450" y="390"/>
                </a:lnTo>
                <a:lnTo>
                  <a:pt x="449" y="393"/>
                </a:lnTo>
                <a:lnTo>
                  <a:pt x="447" y="394"/>
                </a:lnTo>
                <a:lnTo>
                  <a:pt x="445" y="396"/>
                </a:lnTo>
                <a:lnTo>
                  <a:pt x="437" y="398"/>
                </a:lnTo>
                <a:lnTo>
                  <a:pt x="430" y="398"/>
                </a:lnTo>
                <a:lnTo>
                  <a:pt x="422" y="398"/>
                </a:lnTo>
                <a:lnTo>
                  <a:pt x="417" y="399"/>
                </a:lnTo>
                <a:lnTo>
                  <a:pt x="410" y="402"/>
                </a:lnTo>
                <a:lnTo>
                  <a:pt x="406" y="404"/>
                </a:lnTo>
                <a:lnTo>
                  <a:pt x="400" y="407"/>
                </a:lnTo>
                <a:lnTo>
                  <a:pt x="398" y="408"/>
                </a:lnTo>
                <a:lnTo>
                  <a:pt x="395" y="410"/>
                </a:lnTo>
                <a:lnTo>
                  <a:pt x="393" y="410"/>
                </a:lnTo>
                <a:lnTo>
                  <a:pt x="392" y="411"/>
                </a:lnTo>
                <a:lnTo>
                  <a:pt x="390" y="413"/>
                </a:lnTo>
                <a:lnTo>
                  <a:pt x="387" y="416"/>
                </a:lnTo>
                <a:lnTo>
                  <a:pt x="386" y="417"/>
                </a:lnTo>
                <a:lnTo>
                  <a:pt x="384" y="417"/>
                </a:lnTo>
                <a:lnTo>
                  <a:pt x="383" y="416"/>
                </a:lnTo>
                <a:lnTo>
                  <a:pt x="383" y="413"/>
                </a:lnTo>
                <a:lnTo>
                  <a:pt x="380" y="409"/>
                </a:lnTo>
                <a:lnTo>
                  <a:pt x="376" y="400"/>
                </a:lnTo>
                <a:lnTo>
                  <a:pt x="373" y="400"/>
                </a:lnTo>
                <a:lnTo>
                  <a:pt x="370" y="403"/>
                </a:lnTo>
                <a:lnTo>
                  <a:pt x="369" y="404"/>
                </a:lnTo>
                <a:lnTo>
                  <a:pt x="369" y="405"/>
                </a:lnTo>
                <a:lnTo>
                  <a:pt x="348" y="416"/>
                </a:lnTo>
                <a:lnTo>
                  <a:pt x="346" y="415"/>
                </a:lnTo>
                <a:lnTo>
                  <a:pt x="343" y="412"/>
                </a:lnTo>
                <a:lnTo>
                  <a:pt x="341" y="408"/>
                </a:lnTo>
                <a:lnTo>
                  <a:pt x="338" y="408"/>
                </a:lnTo>
                <a:lnTo>
                  <a:pt x="335" y="408"/>
                </a:lnTo>
                <a:lnTo>
                  <a:pt x="333" y="408"/>
                </a:lnTo>
                <a:lnTo>
                  <a:pt x="330" y="408"/>
                </a:lnTo>
                <a:lnTo>
                  <a:pt x="327" y="407"/>
                </a:lnTo>
                <a:lnTo>
                  <a:pt x="324" y="405"/>
                </a:lnTo>
                <a:lnTo>
                  <a:pt x="321" y="403"/>
                </a:lnTo>
                <a:lnTo>
                  <a:pt x="319" y="400"/>
                </a:lnTo>
                <a:lnTo>
                  <a:pt x="316" y="398"/>
                </a:lnTo>
                <a:lnTo>
                  <a:pt x="314" y="395"/>
                </a:lnTo>
                <a:lnTo>
                  <a:pt x="313" y="393"/>
                </a:lnTo>
                <a:lnTo>
                  <a:pt x="312" y="390"/>
                </a:lnTo>
                <a:lnTo>
                  <a:pt x="312" y="388"/>
                </a:lnTo>
                <a:lnTo>
                  <a:pt x="313" y="387"/>
                </a:lnTo>
                <a:lnTo>
                  <a:pt x="316" y="384"/>
                </a:lnTo>
                <a:lnTo>
                  <a:pt x="317" y="382"/>
                </a:lnTo>
                <a:lnTo>
                  <a:pt x="317" y="380"/>
                </a:lnTo>
                <a:lnTo>
                  <a:pt x="319" y="378"/>
                </a:lnTo>
                <a:lnTo>
                  <a:pt x="320" y="376"/>
                </a:lnTo>
                <a:lnTo>
                  <a:pt x="319" y="373"/>
                </a:lnTo>
                <a:lnTo>
                  <a:pt x="317" y="371"/>
                </a:lnTo>
                <a:lnTo>
                  <a:pt x="316" y="369"/>
                </a:lnTo>
                <a:lnTo>
                  <a:pt x="314" y="368"/>
                </a:lnTo>
                <a:lnTo>
                  <a:pt x="310" y="366"/>
                </a:lnTo>
                <a:lnTo>
                  <a:pt x="308" y="364"/>
                </a:lnTo>
                <a:lnTo>
                  <a:pt x="307" y="363"/>
                </a:lnTo>
                <a:lnTo>
                  <a:pt x="310" y="360"/>
                </a:lnTo>
                <a:lnTo>
                  <a:pt x="312" y="357"/>
                </a:lnTo>
                <a:lnTo>
                  <a:pt x="314" y="354"/>
                </a:lnTo>
                <a:lnTo>
                  <a:pt x="314" y="350"/>
                </a:lnTo>
                <a:lnTo>
                  <a:pt x="314" y="348"/>
                </a:lnTo>
                <a:lnTo>
                  <a:pt x="313" y="345"/>
                </a:lnTo>
                <a:lnTo>
                  <a:pt x="310" y="347"/>
                </a:lnTo>
                <a:lnTo>
                  <a:pt x="308" y="349"/>
                </a:lnTo>
                <a:lnTo>
                  <a:pt x="304" y="354"/>
                </a:lnTo>
                <a:lnTo>
                  <a:pt x="303" y="355"/>
                </a:lnTo>
                <a:lnTo>
                  <a:pt x="302" y="357"/>
                </a:lnTo>
                <a:lnTo>
                  <a:pt x="300" y="358"/>
                </a:lnTo>
                <a:lnTo>
                  <a:pt x="299" y="359"/>
                </a:lnTo>
                <a:lnTo>
                  <a:pt x="297" y="359"/>
                </a:lnTo>
                <a:lnTo>
                  <a:pt x="295" y="360"/>
                </a:lnTo>
                <a:lnTo>
                  <a:pt x="294" y="360"/>
                </a:lnTo>
                <a:lnTo>
                  <a:pt x="292" y="359"/>
                </a:lnTo>
                <a:lnTo>
                  <a:pt x="292" y="358"/>
                </a:lnTo>
                <a:lnTo>
                  <a:pt x="292" y="357"/>
                </a:lnTo>
                <a:lnTo>
                  <a:pt x="293" y="355"/>
                </a:lnTo>
                <a:lnTo>
                  <a:pt x="294" y="355"/>
                </a:lnTo>
                <a:lnTo>
                  <a:pt x="295" y="354"/>
                </a:lnTo>
                <a:lnTo>
                  <a:pt x="299" y="354"/>
                </a:lnTo>
                <a:lnTo>
                  <a:pt x="300" y="354"/>
                </a:lnTo>
                <a:lnTo>
                  <a:pt x="302" y="354"/>
                </a:lnTo>
                <a:lnTo>
                  <a:pt x="307" y="347"/>
                </a:lnTo>
                <a:lnTo>
                  <a:pt x="313" y="340"/>
                </a:lnTo>
                <a:lnTo>
                  <a:pt x="316" y="337"/>
                </a:lnTo>
                <a:lnTo>
                  <a:pt x="319" y="334"/>
                </a:lnTo>
                <a:lnTo>
                  <a:pt x="320" y="330"/>
                </a:lnTo>
                <a:lnTo>
                  <a:pt x="321" y="327"/>
                </a:lnTo>
                <a:lnTo>
                  <a:pt x="316" y="327"/>
                </a:lnTo>
                <a:lnTo>
                  <a:pt x="313" y="327"/>
                </a:lnTo>
                <a:lnTo>
                  <a:pt x="310" y="327"/>
                </a:lnTo>
                <a:lnTo>
                  <a:pt x="310" y="330"/>
                </a:lnTo>
                <a:lnTo>
                  <a:pt x="307" y="332"/>
                </a:lnTo>
                <a:lnTo>
                  <a:pt x="307" y="335"/>
                </a:lnTo>
                <a:lnTo>
                  <a:pt x="307" y="337"/>
                </a:lnTo>
                <a:lnTo>
                  <a:pt x="300" y="337"/>
                </a:lnTo>
                <a:lnTo>
                  <a:pt x="297" y="337"/>
                </a:lnTo>
                <a:lnTo>
                  <a:pt x="294" y="339"/>
                </a:lnTo>
                <a:lnTo>
                  <a:pt x="290" y="340"/>
                </a:lnTo>
                <a:lnTo>
                  <a:pt x="288" y="344"/>
                </a:lnTo>
                <a:lnTo>
                  <a:pt x="285" y="346"/>
                </a:lnTo>
                <a:lnTo>
                  <a:pt x="284" y="347"/>
                </a:lnTo>
                <a:lnTo>
                  <a:pt x="283" y="349"/>
                </a:lnTo>
                <a:lnTo>
                  <a:pt x="281" y="353"/>
                </a:lnTo>
                <a:lnTo>
                  <a:pt x="280" y="357"/>
                </a:lnTo>
                <a:lnTo>
                  <a:pt x="277" y="355"/>
                </a:lnTo>
                <a:lnTo>
                  <a:pt x="276" y="354"/>
                </a:lnTo>
                <a:lnTo>
                  <a:pt x="274" y="354"/>
                </a:lnTo>
                <a:lnTo>
                  <a:pt x="273" y="353"/>
                </a:lnTo>
                <a:lnTo>
                  <a:pt x="273" y="351"/>
                </a:lnTo>
                <a:lnTo>
                  <a:pt x="274" y="349"/>
                </a:lnTo>
                <a:lnTo>
                  <a:pt x="275" y="345"/>
                </a:lnTo>
                <a:lnTo>
                  <a:pt x="276" y="341"/>
                </a:lnTo>
                <a:lnTo>
                  <a:pt x="277" y="337"/>
                </a:lnTo>
                <a:lnTo>
                  <a:pt x="277" y="335"/>
                </a:lnTo>
                <a:lnTo>
                  <a:pt x="276" y="333"/>
                </a:lnTo>
                <a:lnTo>
                  <a:pt x="274" y="327"/>
                </a:lnTo>
                <a:lnTo>
                  <a:pt x="272" y="323"/>
                </a:lnTo>
                <a:lnTo>
                  <a:pt x="271" y="320"/>
                </a:lnTo>
                <a:lnTo>
                  <a:pt x="271" y="317"/>
                </a:lnTo>
                <a:lnTo>
                  <a:pt x="259" y="314"/>
                </a:lnTo>
                <a:lnTo>
                  <a:pt x="250" y="312"/>
                </a:lnTo>
                <a:lnTo>
                  <a:pt x="246" y="311"/>
                </a:lnTo>
                <a:lnTo>
                  <a:pt x="244" y="310"/>
                </a:lnTo>
                <a:lnTo>
                  <a:pt x="241" y="307"/>
                </a:lnTo>
                <a:lnTo>
                  <a:pt x="240" y="306"/>
                </a:lnTo>
                <a:lnTo>
                  <a:pt x="238" y="306"/>
                </a:lnTo>
                <a:lnTo>
                  <a:pt x="210" y="306"/>
                </a:lnTo>
                <a:lnTo>
                  <a:pt x="188" y="317"/>
                </a:lnTo>
                <a:lnTo>
                  <a:pt x="160" y="317"/>
                </a:lnTo>
                <a:lnTo>
                  <a:pt x="154" y="320"/>
                </a:lnTo>
                <a:lnTo>
                  <a:pt x="148" y="322"/>
                </a:lnTo>
                <a:lnTo>
                  <a:pt x="142" y="324"/>
                </a:lnTo>
                <a:lnTo>
                  <a:pt x="136" y="327"/>
                </a:lnTo>
                <a:lnTo>
                  <a:pt x="128" y="333"/>
                </a:lnTo>
                <a:lnTo>
                  <a:pt x="120" y="337"/>
                </a:lnTo>
                <a:lnTo>
                  <a:pt x="116" y="340"/>
                </a:lnTo>
                <a:lnTo>
                  <a:pt x="112" y="340"/>
                </a:lnTo>
                <a:lnTo>
                  <a:pt x="105" y="341"/>
                </a:lnTo>
                <a:lnTo>
                  <a:pt x="99" y="342"/>
                </a:lnTo>
                <a:lnTo>
                  <a:pt x="84" y="342"/>
                </a:lnTo>
                <a:lnTo>
                  <a:pt x="76" y="342"/>
                </a:lnTo>
                <a:lnTo>
                  <a:pt x="67" y="344"/>
                </a:lnTo>
                <a:lnTo>
                  <a:pt x="61" y="347"/>
                </a:lnTo>
                <a:lnTo>
                  <a:pt x="53" y="350"/>
                </a:lnTo>
                <a:lnTo>
                  <a:pt x="46" y="353"/>
                </a:lnTo>
                <a:lnTo>
                  <a:pt x="39" y="354"/>
                </a:lnTo>
                <a:lnTo>
                  <a:pt x="35" y="355"/>
                </a:lnTo>
                <a:lnTo>
                  <a:pt x="31" y="357"/>
                </a:lnTo>
                <a:lnTo>
                  <a:pt x="26" y="357"/>
                </a:lnTo>
                <a:lnTo>
                  <a:pt x="23" y="357"/>
                </a:lnTo>
                <a:lnTo>
                  <a:pt x="19" y="357"/>
                </a:lnTo>
                <a:lnTo>
                  <a:pt x="17" y="357"/>
                </a:lnTo>
                <a:lnTo>
                  <a:pt x="16" y="355"/>
                </a:lnTo>
                <a:lnTo>
                  <a:pt x="13" y="354"/>
                </a:lnTo>
                <a:lnTo>
                  <a:pt x="9" y="350"/>
                </a:lnTo>
                <a:lnTo>
                  <a:pt x="7" y="348"/>
                </a:lnTo>
                <a:lnTo>
                  <a:pt x="6" y="347"/>
                </a:lnTo>
                <a:lnTo>
                  <a:pt x="4" y="347"/>
                </a:lnTo>
                <a:lnTo>
                  <a:pt x="3" y="346"/>
                </a:lnTo>
                <a:lnTo>
                  <a:pt x="0" y="345"/>
                </a:lnTo>
                <a:lnTo>
                  <a:pt x="0" y="344"/>
                </a:lnTo>
                <a:lnTo>
                  <a:pt x="0" y="342"/>
                </a:lnTo>
                <a:lnTo>
                  <a:pt x="0" y="340"/>
                </a:lnTo>
                <a:lnTo>
                  <a:pt x="0" y="339"/>
                </a:lnTo>
                <a:lnTo>
                  <a:pt x="2" y="337"/>
                </a:lnTo>
                <a:lnTo>
                  <a:pt x="3" y="337"/>
                </a:lnTo>
                <a:lnTo>
                  <a:pt x="6" y="336"/>
                </a:lnTo>
                <a:lnTo>
                  <a:pt x="11" y="334"/>
                </a:lnTo>
                <a:lnTo>
                  <a:pt x="13" y="333"/>
                </a:lnTo>
                <a:lnTo>
                  <a:pt x="16" y="331"/>
                </a:lnTo>
                <a:lnTo>
                  <a:pt x="17" y="328"/>
                </a:lnTo>
                <a:lnTo>
                  <a:pt x="19" y="326"/>
                </a:lnTo>
                <a:lnTo>
                  <a:pt x="22" y="319"/>
                </a:lnTo>
                <a:lnTo>
                  <a:pt x="27" y="307"/>
                </a:lnTo>
                <a:lnTo>
                  <a:pt x="26" y="305"/>
                </a:lnTo>
                <a:lnTo>
                  <a:pt x="25" y="304"/>
                </a:lnTo>
                <a:lnTo>
                  <a:pt x="24" y="303"/>
                </a:lnTo>
                <a:lnTo>
                  <a:pt x="24" y="301"/>
                </a:lnTo>
                <a:lnTo>
                  <a:pt x="25" y="294"/>
                </a:lnTo>
                <a:lnTo>
                  <a:pt x="25" y="266"/>
                </a:lnTo>
                <a:lnTo>
                  <a:pt x="24" y="255"/>
                </a:lnTo>
                <a:lnTo>
                  <a:pt x="24" y="246"/>
                </a:lnTo>
                <a:lnTo>
                  <a:pt x="22" y="238"/>
                </a:lnTo>
                <a:lnTo>
                  <a:pt x="21" y="236"/>
                </a:lnTo>
                <a:lnTo>
                  <a:pt x="19" y="233"/>
                </a:lnTo>
                <a:lnTo>
                  <a:pt x="16" y="228"/>
                </a:lnTo>
                <a:lnTo>
                  <a:pt x="16" y="224"/>
                </a:lnTo>
                <a:lnTo>
                  <a:pt x="17" y="225"/>
                </a:lnTo>
                <a:lnTo>
                  <a:pt x="18" y="227"/>
                </a:lnTo>
                <a:lnTo>
                  <a:pt x="19" y="230"/>
                </a:lnTo>
                <a:lnTo>
                  <a:pt x="25" y="230"/>
                </a:lnTo>
                <a:lnTo>
                  <a:pt x="23" y="228"/>
                </a:lnTo>
                <a:lnTo>
                  <a:pt x="22" y="225"/>
                </a:lnTo>
                <a:lnTo>
                  <a:pt x="22" y="221"/>
                </a:lnTo>
                <a:lnTo>
                  <a:pt x="24" y="222"/>
                </a:lnTo>
                <a:lnTo>
                  <a:pt x="25" y="224"/>
                </a:lnTo>
                <a:lnTo>
                  <a:pt x="26" y="228"/>
                </a:lnTo>
                <a:lnTo>
                  <a:pt x="29" y="227"/>
                </a:lnTo>
                <a:lnTo>
                  <a:pt x="29" y="225"/>
                </a:lnTo>
                <a:lnTo>
                  <a:pt x="29" y="223"/>
                </a:lnTo>
                <a:lnTo>
                  <a:pt x="30" y="221"/>
                </a:lnTo>
                <a:lnTo>
                  <a:pt x="26" y="208"/>
                </a:lnTo>
                <a:lnTo>
                  <a:pt x="30" y="200"/>
                </a:lnTo>
                <a:lnTo>
                  <a:pt x="34" y="191"/>
                </a:lnTo>
                <a:lnTo>
                  <a:pt x="35" y="188"/>
                </a:lnTo>
                <a:lnTo>
                  <a:pt x="36" y="183"/>
                </a:lnTo>
                <a:lnTo>
                  <a:pt x="36" y="178"/>
                </a:lnTo>
                <a:lnTo>
                  <a:pt x="36" y="173"/>
                </a:lnTo>
                <a:lnTo>
                  <a:pt x="36" y="170"/>
                </a:lnTo>
                <a:lnTo>
                  <a:pt x="38" y="167"/>
                </a:lnTo>
                <a:lnTo>
                  <a:pt x="39" y="166"/>
                </a:lnTo>
                <a:lnTo>
                  <a:pt x="40" y="165"/>
                </a:lnTo>
                <a:lnTo>
                  <a:pt x="41" y="165"/>
                </a:lnTo>
                <a:lnTo>
                  <a:pt x="42" y="167"/>
                </a:lnTo>
                <a:lnTo>
                  <a:pt x="43" y="169"/>
                </a:lnTo>
                <a:lnTo>
                  <a:pt x="44" y="169"/>
                </a:lnTo>
                <a:lnTo>
                  <a:pt x="45" y="169"/>
                </a:lnTo>
                <a:lnTo>
                  <a:pt x="46" y="169"/>
                </a:lnTo>
                <a:lnTo>
                  <a:pt x="47" y="169"/>
                </a:lnTo>
                <a:lnTo>
                  <a:pt x="48" y="168"/>
                </a:lnTo>
                <a:lnTo>
                  <a:pt x="49" y="167"/>
                </a:lnTo>
                <a:lnTo>
                  <a:pt x="49" y="164"/>
                </a:lnTo>
                <a:lnTo>
                  <a:pt x="52" y="162"/>
                </a:lnTo>
                <a:lnTo>
                  <a:pt x="53" y="161"/>
                </a:lnTo>
                <a:lnTo>
                  <a:pt x="57" y="160"/>
                </a:lnTo>
                <a:lnTo>
                  <a:pt x="61" y="159"/>
                </a:lnTo>
                <a:lnTo>
                  <a:pt x="65" y="158"/>
                </a:lnTo>
                <a:lnTo>
                  <a:pt x="68" y="155"/>
                </a:lnTo>
                <a:lnTo>
                  <a:pt x="71" y="152"/>
                </a:lnTo>
                <a:lnTo>
                  <a:pt x="74" y="149"/>
                </a:lnTo>
                <a:lnTo>
                  <a:pt x="78" y="147"/>
                </a:lnTo>
                <a:lnTo>
                  <a:pt x="82" y="145"/>
                </a:lnTo>
                <a:lnTo>
                  <a:pt x="85" y="144"/>
                </a:lnTo>
                <a:lnTo>
                  <a:pt x="89" y="143"/>
                </a:lnTo>
                <a:lnTo>
                  <a:pt x="92" y="142"/>
                </a:lnTo>
                <a:lnTo>
                  <a:pt x="100" y="142"/>
                </a:lnTo>
                <a:lnTo>
                  <a:pt x="103" y="142"/>
                </a:lnTo>
                <a:lnTo>
                  <a:pt x="107" y="139"/>
                </a:lnTo>
                <a:lnTo>
                  <a:pt x="112" y="138"/>
                </a:lnTo>
                <a:lnTo>
                  <a:pt x="116" y="137"/>
                </a:lnTo>
                <a:lnTo>
                  <a:pt x="124" y="135"/>
                </a:lnTo>
                <a:lnTo>
                  <a:pt x="132" y="135"/>
                </a:lnTo>
                <a:lnTo>
                  <a:pt x="137" y="135"/>
                </a:lnTo>
                <a:lnTo>
                  <a:pt x="142" y="133"/>
                </a:lnTo>
                <a:lnTo>
                  <a:pt x="145" y="132"/>
                </a:lnTo>
                <a:lnTo>
                  <a:pt x="146" y="130"/>
                </a:lnTo>
                <a:lnTo>
                  <a:pt x="152" y="124"/>
                </a:lnTo>
                <a:lnTo>
                  <a:pt x="159" y="117"/>
                </a:lnTo>
                <a:lnTo>
                  <a:pt x="163" y="112"/>
                </a:lnTo>
                <a:lnTo>
                  <a:pt x="164" y="112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78" name="Freeform 77">
            <a:extLst>
              <a:ext uri="{FF2B5EF4-FFF2-40B4-BE49-F238E27FC236}">
                <a16:creationId xmlns:a16="http://schemas.microsoft.com/office/drawing/2014/main" id="{0B03889B-7CB6-0A37-3889-3784D2B87ACC}"/>
              </a:ext>
            </a:extLst>
          </p:cNvPr>
          <p:cNvSpPr>
            <a:spLocks/>
          </p:cNvSpPr>
          <p:nvPr/>
        </p:nvSpPr>
        <p:spPr bwMode="auto">
          <a:xfrm>
            <a:off x="10486400" y="6160934"/>
            <a:ext cx="334963" cy="176213"/>
          </a:xfrm>
          <a:custGeom>
            <a:avLst/>
            <a:gdLst>
              <a:gd name="T0" fmla="*/ 108 w 166"/>
              <a:gd name="T1" fmla="*/ 27 h 95"/>
              <a:gd name="T2" fmla="*/ 112 w 166"/>
              <a:gd name="T3" fmla="*/ 23 h 95"/>
              <a:gd name="T4" fmla="*/ 121 w 166"/>
              <a:gd name="T5" fmla="*/ 18 h 95"/>
              <a:gd name="T6" fmla="*/ 127 w 166"/>
              <a:gd name="T7" fmla="*/ 17 h 95"/>
              <a:gd name="T8" fmla="*/ 134 w 166"/>
              <a:gd name="T9" fmla="*/ 11 h 95"/>
              <a:gd name="T10" fmla="*/ 141 w 166"/>
              <a:gd name="T11" fmla="*/ 3 h 95"/>
              <a:gd name="T12" fmla="*/ 148 w 166"/>
              <a:gd name="T13" fmla="*/ 0 h 95"/>
              <a:gd name="T14" fmla="*/ 155 w 166"/>
              <a:gd name="T15" fmla="*/ 0 h 95"/>
              <a:gd name="T16" fmla="*/ 151 w 166"/>
              <a:gd name="T17" fmla="*/ 6 h 95"/>
              <a:gd name="T18" fmla="*/ 155 w 166"/>
              <a:gd name="T19" fmla="*/ 11 h 95"/>
              <a:gd name="T20" fmla="*/ 161 w 166"/>
              <a:gd name="T21" fmla="*/ 7 h 95"/>
              <a:gd name="T22" fmla="*/ 165 w 166"/>
              <a:gd name="T23" fmla="*/ 13 h 95"/>
              <a:gd name="T24" fmla="*/ 160 w 166"/>
              <a:gd name="T25" fmla="*/ 14 h 95"/>
              <a:gd name="T26" fmla="*/ 157 w 166"/>
              <a:gd name="T27" fmla="*/ 17 h 95"/>
              <a:gd name="T28" fmla="*/ 152 w 166"/>
              <a:gd name="T29" fmla="*/ 26 h 95"/>
              <a:gd name="T30" fmla="*/ 148 w 166"/>
              <a:gd name="T31" fmla="*/ 29 h 95"/>
              <a:gd name="T32" fmla="*/ 142 w 166"/>
              <a:gd name="T33" fmla="*/ 31 h 95"/>
              <a:gd name="T34" fmla="*/ 125 w 166"/>
              <a:gd name="T35" fmla="*/ 38 h 95"/>
              <a:gd name="T36" fmla="*/ 118 w 166"/>
              <a:gd name="T37" fmla="*/ 41 h 95"/>
              <a:gd name="T38" fmla="*/ 115 w 166"/>
              <a:gd name="T39" fmla="*/ 46 h 95"/>
              <a:gd name="T40" fmla="*/ 112 w 166"/>
              <a:gd name="T41" fmla="*/ 51 h 95"/>
              <a:gd name="T42" fmla="*/ 107 w 166"/>
              <a:gd name="T43" fmla="*/ 53 h 95"/>
              <a:gd name="T44" fmla="*/ 96 w 166"/>
              <a:gd name="T45" fmla="*/ 54 h 95"/>
              <a:gd name="T46" fmla="*/ 87 w 166"/>
              <a:gd name="T47" fmla="*/ 55 h 95"/>
              <a:gd name="T48" fmla="*/ 78 w 166"/>
              <a:gd name="T49" fmla="*/ 63 h 95"/>
              <a:gd name="T50" fmla="*/ 62 w 166"/>
              <a:gd name="T51" fmla="*/ 78 h 95"/>
              <a:gd name="T52" fmla="*/ 59 w 166"/>
              <a:gd name="T53" fmla="*/ 80 h 95"/>
              <a:gd name="T54" fmla="*/ 49 w 166"/>
              <a:gd name="T55" fmla="*/ 82 h 95"/>
              <a:gd name="T56" fmla="*/ 43 w 166"/>
              <a:gd name="T57" fmla="*/ 85 h 95"/>
              <a:gd name="T58" fmla="*/ 35 w 166"/>
              <a:gd name="T59" fmla="*/ 90 h 95"/>
              <a:gd name="T60" fmla="*/ 29 w 166"/>
              <a:gd name="T61" fmla="*/ 94 h 95"/>
              <a:gd name="T62" fmla="*/ 21 w 166"/>
              <a:gd name="T63" fmla="*/ 94 h 95"/>
              <a:gd name="T64" fmla="*/ 9 w 166"/>
              <a:gd name="T65" fmla="*/ 89 h 95"/>
              <a:gd name="T66" fmla="*/ 3 w 166"/>
              <a:gd name="T67" fmla="*/ 84 h 95"/>
              <a:gd name="T68" fmla="*/ 0 w 166"/>
              <a:gd name="T69" fmla="*/ 80 h 95"/>
              <a:gd name="T70" fmla="*/ 8 w 166"/>
              <a:gd name="T71" fmla="*/ 75 h 95"/>
              <a:gd name="T72" fmla="*/ 22 w 166"/>
              <a:gd name="T73" fmla="*/ 66 h 95"/>
              <a:gd name="T74" fmla="*/ 36 w 166"/>
              <a:gd name="T75" fmla="*/ 59 h 95"/>
              <a:gd name="T76" fmla="*/ 61 w 166"/>
              <a:gd name="T77" fmla="*/ 49 h 95"/>
              <a:gd name="T78" fmla="*/ 69 w 166"/>
              <a:gd name="T79" fmla="*/ 48 h 95"/>
              <a:gd name="T80" fmla="*/ 78 w 166"/>
              <a:gd name="T81" fmla="*/ 45 h 95"/>
              <a:gd name="T82" fmla="*/ 100 w 166"/>
              <a:gd name="T83" fmla="*/ 34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66" h="95">
                <a:moveTo>
                  <a:pt x="98" y="35"/>
                </a:moveTo>
                <a:lnTo>
                  <a:pt x="108" y="27"/>
                </a:lnTo>
                <a:lnTo>
                  <a:pt x="110" y="25"/>
                </a:lnTo>
                <a:lnTo>
                  <a:pt x="112" y="23"/>
                </a:lnTo>
                <a:lnTo>
                  <a:pt x="118" y="19"/>
                </a:lnTo>
                <a:lnTo>
                  <a:pt x="121" y="18"/>
                </a:lnTo>
                <a:lnTo>
                  <a:pt x="124" y="17"/>
                </a:lnTo>
                <a:lnTo>
                  <a:pt x="127" y="17"/>
                </a:lnTo>
                <a:lnTo>
                  <a:pt x="129" y="16"/>
                </a:lnTo>
                <a:lnTo>
                  <a:pt x="134" y="11"/>
                </a:lnTo>
                <a:lnTo>
                  <a:pt x="138" y="5"/>
                </a:lnTo>
                <a:lnTo>
                  <a:pt x="141" y="3"/>
                </a:lnTo>
                <a:lnTo>
                  <a:pt x="145" y="2"/>
                </a:lnTo>
                <a:lnTo>
                  <a:pt x="148" y="0"/>
                </a:lnTo>
                <a:lnTo>
                  <a:pt x="151" y="0"/>
                </a:lnTo>
                <a:lnTo>
                  <a:pt x="155" y="0"/>
                </a:lnTo>
                <a:lnTo>
                  <a:pt x="152" y="3"/>
                </a:lnTo>
                <a:lnTo>
                  <a:pt x="151" y="6"/>
                </a:lnTo>
                <a:lnTo>
                  <a:pt x="151" y="11"/>
                </a:lnTo>
                <a:lnTo>
                  <a:pt x="155" y="11"/>
                </a:lnTo>
                <a:lnTo>
                  <a:pt x="158" y="9"/>
                </a:lnTo>
                <a:lnTo>
                  <a:pt x="161" y="7"/>
                </a:lnTo>
                <a:lnTo>
                  <a:pt x="165" y="6"/>
                </a:lnTo>
                <a:lnTo>
                  <a:pt x="165" y="13"/>
                </a:lnTo>
                <a:lnTo>
                  <a:pt x="162" y="13"/>
                </a:lnTo>
                <a:lnTo>
                  <a:pt x="160" y="14"/>
                </a:lnTo>
                <a:lnTo>
                  <a:pt x="159" y="17"/>
                </a:lnTo>
                <a:lnTo>
                  <a:pt x="157" y="17"/>
                </a:lnTo>
                <a:lnTo>
                  <a:pt x="155" y="24"/>
                </a:lnTo>
                <a:lnTo>
                  <a:pt x="152" y="26"/>
                </a:lnTo>
                <a:lnTo>
                  <a:pt x="151" y="27"/>
                </a:lnTo>
                <a:lnTo>
                  <a:pt x="148" y="29"/>
                </a:lnTo>
                <a:lnTo>
                  <a:pt x="145" y="30"/>
                </a:lnTo>
                <a:lnTo>
                  <a:pt x="142" y="31"/>
                </a:lnTo>
                <a:lnTo>
                  <a:pt x="135" y="34"/>
                </a:lnTo>
                <a:lnTo>
                  <a:pt x="125" y="38"/>
                </a:lnTo>
                <a:lnTo>
                  <a:pt x="122" y="40"/>
                </a:lnTo>
                <a:lnTo>
                  <a:pt x="118" y="41"/>
                </a:lnTo>
                <a:lnTo>
                  <a:pt x="115" y="45"/>
                </a:lnTo>
                <a:lnTo>
                  <a:pt x="115" y="46"/>
                </a:lnTo>
                <a:lnTo>
                  <a:pt x="115" y="50"/>
                </a:lnTo>
                <a:lnTo>
                  <a:pt x="112" y="51"/>
                </a:lnTo>
                <a:lnTo>
                  <a:pt x="110" y="52"/>
                </a:lnTo>
                <a:lnTo>
                  <a:pt x="107" y="53"/>
                </a:lnTo>
                <a:lnTo>
                  <a:pt x="103" y="53"/>
                </a:lnTo>
                <a:lnTo>
                  <a:pt x="96" y="54"/>
                </a:lnTo>
                <a:lnTo>
                  <a:pt x="91" y="54"/>
                </a:lnTo>
                <a:lnTo>
                  <a:pt x="87" y="55"/>
                </a:lnTo>
                <a:lnTo>
                  <a:pt x="84" y="58"/>
                </a:lnTo>
                <a:lnTo>
                  <a:pt x="78" y="63"/>
                </a:lnTo>
                <a:lnTo>
                  <a:pt x="66" y="75"/>
                </a:lnTo>
                <a:lnTo>
                  <a:pt x="62" y="78"/>
                </a:lnTo>
                <a:lnTo>
                  <a:pt x="61" y="80"/>
                </a:lnTo>
                <a:lnTo>
                  <a:pt x="59" y="80"/>
                </a:lnTo>
                <a:lnTo>
                  <a:pt x="56" y="81"/>
                </a:lnTo>
                <a:lnTo>
                  <a:pt x="49" y="82"/>
                </a:lnTo>
                <a:lnTo>
                  <a:pt x="47" y="83"/>
                </a:lnTo>
                <a:lnTo>
                  <a:pt x="43" y="85"/>
                </a:lnTo>
                <a:lnTo>
                  <a:pt x="38" y="89"/>
                </a:lnTo>
                <a:lnTo>
                  <a:pt x="35" y="90"/>
                </a:lnTo>
                <a:lnTo>
                  <a:pt x="32" y="93"/>
                </a:lnTo>
                <a:lnTo>
                  <a:pt x="29" y="94"/>
                </a:lnTo>
                <a:lnTo>
                  <a:pt x="24" y="94"/>
                </a:lnTo>
                <a:lnTo>
                  <a:pt x="21" y="94"/>
                </a:lnTo>
                <a:lnTo>
                  <a:pt x="17" y="93"/>
                </a:lnTo>
                <a:lnTo>
                  <a:pt x="9" y="89"/>
                </a:lnTo>
                <a:lnTo>
                  <a:pt x="6" y="87"/>
                </a:lnTo>
                <a:lnTo>
                  <a:pt x="3" y="84"/>
                </a:lnTo>
                <a:lnTo>
                  <a:pt x="0" y="82"/>
                </a:lnTo>
                <a:lnTo>
                  <a:pt x="0" y="80"/>
                </a:lnTo>
                <a:lnTo>
                  <a:pt x="3" y="77"/>
                </a:lnTo>
                <a:lnTo>
                  <a:pt x="8" y="75"/>
                </a:lnTo>
                <a:lnTo>
                  <a:pt x="17" y="70"/>
                </a:lnTo>
                <a:lnTo>
                  <a:pt x="22" y="66"/>
                </a:lnTo>
                <a:lnTo>
                  <a:pt x="26" y="63"/>
                </a:lnTo>
                <a:lnTo>
                  <a:pt x="36" y="59"/>
                </a:lnTo>
                <a:lnTo>
                  <a:pt x="56" y="50"/>
                </a:lnTo>
                <a:lnTo>
                  <a:pt x="61" y="49"/>
                </a:lnTo>
                <a:lnTo>
                  <a:pt x="65" y="48"/>
                </a:lnTo>
                <a:lnTo>
                  <a:pt x="69" y="48"/>
                </a:lnTo>
                <a:lnTo>
                  <a:pt x="73" y="48"/>
                </a:lnTo>
                <a:lnTo>
                  <a:pt x="78" y="45"/>
                </a:lnTo>
                <a:lnTo>
                  <a:pt x="85" y="41"/>
                </a:lnTo>
                <a:lnTo>
                  <a:pt x="100" y="34"/>
                </a:lnTo>
                <a:lnTo>
                  <a:pt x="98" y="35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79" name="Freeform 78">
            <a:extLst>
              <a:ext uri="{FF2B5EF4-FFF2-40B4-BE49-F238E27FC236}">
                <a16:creationId xmlns:a16="http://schemas.microsoft.com/office/drawing/2014/main" id="{573069BC-22A5-DDE2-896D-52AFCC3A3B01}"/>
              </a:ext>
            </a:extLst>
          </p:cNvPr>
          <p:cNvSpPr>
            <a:spLocks/>
          </p:cNvSpPr>
          <p:nvPr/>
        </p:nvSpPr>
        <p:spPr bwMode="auto">
          <a:xfrm>
            <a:off x="10478463" y="6335559"/>
            <a:ext cx="33338" cy="31750"/>
          </a:xfrm>
          <a:custGeom>
            <a:avLst/>
            <a:gdLst>
              <a:gd name="T0" fmla="*/ 16 w 17"/>
              <a:gd name="T1" fmla="*/ 0 h 17"/>
              <a:gd name="T2" fmla="*/ 16 w 17"/>
              <a:gd name="T3" fmla="*/ 4 h 17"/>
              <a:gd name="T4" fmla="*/ 12 w 17"/>
              <a:gd name="T5" fmla="*/ 6 h 17"/>
              <a:gd name="T6" fmla="*/ 9 w 17"/>
              <a:gd name="T7" fmla="*/ 12 h 17"/>
              <a:gd name="T8" fmla="*/ 7 w 17"/>
              <a:gd name="T9" fmla="*/ 14 h 17"/>
              <a:gd name="T10" fmla="*/ 4 w 17"/>
              <a:gd name="T11" fmla="*/ 16 h 17"/>
              <a:gd name="T12" fmla="*/ 0 w 17"/>
              <a:gd name="T13" fmla="*/ 16 h 17"/>
              <a:gd name="T14" fmla="*/ 0 w 17"/>
              <a:gd name="T15" fmla="*/ 10 h 17"/>
              <a:gd name="T16" fmla="*/ 2 w 17"/>
              <a:gd name="T17" fmla="*/ 4 h 17"/>
              <a:gd name="T18" fmla="*/ 3 w 17"/>
              <a:gd name="T19" fmla="*/ 2 h 17"/>
              <a:gd name="T20" fmla="*/ 5 w 17"/>
              <a:gd name="T21" fmla="*/ 0 h 17"/>
              <a:gd name="T22" fmla="*/ 8 w 17"/>
              <a:gd name="T23" fmla="*/ 0 h 17"/>
              <a:gd name="T24" fmla="*/ 16 w 17"/>
              <a:gd name="T25" fmla="*/ 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7" h="17">
                <a:moveTo>
                  <a:pt x="16" y="0"/>
                </a:moveTo>
                <a:lnTo>
                  <a:pt x="16" y="4"/>
                </a:lnTo>
                <a:lnTo>
                  <a:pt x="12" y="6"/>
                </a:lnTo>
                <a:lnTo>
                  <a:pt x="9" y="12"/>
                </a:lnTo>
                <a:lnTo>
                  <a:pt x="7" y="14"/>
                </a:lnTo>
                <a:lnTo>
                  <a:pt x="4" y="16"/>
                </a:lnTo>
                <a:lnTo>
                  <a:pt x="0" y="16"/>
                </a:lnTo>
                <a:lnTo>
                  <a:pt x="0" y="10"/>
                </a:lnTo>
                <a:lnTo>
                  <a:pt x="2" y="4"/>
                </a:lnTo>
                <a:lnTo>
                  <a:pt x="3" y="2"/>
                </a:lnTo>
                <a:lnTo>
                  <a:pt x="5" y="0"/>
                </a:lnTo>
                <a:lnTo>
                  <a:pt x="8" y="0"/>
                </a:lnTo>
                <a:lnTo>
                  <a:pt x="16" y="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80" name="Freeform 79">
            <a:extLst>
              <a:ext uri="{FF2B5EF4-FFF2-40B4-BE49-F238E27FC236}">
                <a16:creationId xmlns:a16="http://schemas.microsoft.com/office/drawing/2014/main" id="{DA3981D7-0B0E-6FBE-F8F3-F9DA5E8931DF}"/>
              </a:ext>
            </a:extLst>
          </p:cNvPr>
          <p:cNvSpPr>
            <a:spLocks/>
          </p:cNvSpPr>
          <p:nvPr/>
        </p:nvSpPr>
        <p:spPr bwMode="auto">
          <a:xfrm>
            <a:off x="10826125" y="5995834"/>
            <a:ext cx="195263" cy="200025"/>
          </a:xfrm>
          <a:custGeom>
            <a:avLst/>
            <a:gdLst>
              <a:gd name="T0" fmla="*/ 5 w 97"/>
              <a:gd name="T1" fmla="*/ 106 h 107"/>
              <a:gd name="T2" fmla="*/ 0 w 97"/>
              <a:gd name="T3" fmla="*/ 102 h 107"/>
              <a:gd name="T4" fmla="*/ 0 w 97"/>
              <a:gd name="T5" fmla="*/ 99 h 107"/>
              <a:gd name="T6" fmla="*/ 6 w 97"/>
              <a:gd name="T7" fmla="*/ 96 h 107"/>
              <a:gd name="T8" fmla="*/ 16 w 97"/>
              <a:gd name="T9" fmla="*/ 92 h 107"/>
              <a:gd name="T10" fmla="*/ 19 w 97"/>
              <a:gd name="T11" fmla="*/ 89 h 107"/>
              <a:gd name="T12" fmla="*/ 22 w 97"/>
              <a:gd name="T13" fmla="*/ 84 h 107"/>
              <a:gd name="T14" fmla="*/ 16 w 97"/>
              <a:gd name="T15" fmla="*/ 80 h 107"/>
              <a:gd name="T16" fmla="*/ 13 w 97"/>
              <a:gd name="T17" fmla="*/ 74 h 107"/>
              <a:gd name="T18" fmla="*/ 13 w 97"/>
              <a:gd name="T19" fmla="*/ 71 h 107"/>
              <a:gd name="T20" fmla="*/ 15 w 97"/>
              <a:gd name="T21" fmla="*/ 68 h 107"/>
              <a:gd name="T22" fmla="*/ 19 w 97"/>
              <a:gd name="T23" fmla="*/ 67 h 107"/>
              <a:gd name="T24" fmla="*/ 26 w 97"/>
              <a:gd name="T25" fmla="*/ 67 h 107"/>
              <a:gd name="T26" fmla="*/ 32 w 97"/>
              <a:gd name="T27" fmla="*/ 62 h 107"/>
              <a:gd name="T28" fmla="*/ 38 w 97"/>
              <a:gd name="T29" fmla="*/ 58 h 107"/>
              <a:gd name="T30" fmla="*/ 41 w 97"/>
              <a:gd name="T31" fmla="*/ 56 h 107"/>
              <a:gd name="T32" fmla="*/ 46 w 97"/>
              <a:gd name="T33" fmla="*/ 48 h 107"/>
              <a:gd name="T34" fmla="*/ 49 w 97"/>
              <a:gd name="T35" fmla="*/ 36 h 107"/>
              <a:gd name="T36" fmla="*/ 52 w 97"/>
              <a:gd name="T37" fmla="*/ 29 h 107"/>
              <a:gd name="T38" fmla="*/ 48 w 97"/>
              <a:gd name="T39" fmla="*/ 24 h 107"/>
              <a:gd name="T40" fmla="*/ 46 w 97"/>
              <a:gd name="T41" fmla="*/ 20 h 107"/>
              <a:gd name="T42" fmla="*/ 49 w 97"/>
              <a:gd name="T43" fmla="*/ 16 h 107"/>
              <a:gd name="T44" fmla="*/ 48 w 97"/>
              <a:gd name="T45" fmla="*/ 13 h 107"/>
              <a:gd name="T46" fmla="*/ 48 w 97"/>
              <a:gd name="T47" fmla="*/ 9 h 107"/>
              <a:gd name="T48" fmla="*/ 50 w 97"/>
              <a:gd name="T49" fmla="*/ 1 h 107"/>
              <a:gd name="T50" fmla="*/ 52 w 97"/>
              <a:gd name="T51" fmla="*/ 0 h 107"/>
              <a:gd name="T52" fmla="*/ 55 w 97"/>
              <a:gd name="T53" fmla="*/ 5 h 107"/>
              <a:gd name="T54" fmla="*/ 60 w 97"/>
              <a:gd name="T55" fmla="*/ 11 h 107"/>
              <a:gd name="T56" fmla="*/ 63 w 97"/>
              <a:gd name="T57" fmla="*/ 14 h 107"/>
              <a:gd name="T58" fmla="*/ 63 w 97"/>
              <a:gd name="T59" fmla="*/ 20 h 107"/>
              <a:gd name="T60" fmla="*/ 60 w 97"/>
              <a:gd name="T61" fmla="*/ 21 h 107"/>
              <a:gd name="T62" fmla="*/ 59 w 97"/>
              <a:gd name="T63" fmla="*/ 24 h 107"/>
              <a:gd name="T64" fmla="*/ 57 w 97"/>
              <a:gd name="T65" fmla="*/ 29 h 107"/>
              <a:gd name="T66" fmla="*/ 55 w 97"/>
              <a:gd name="T67" fmla="*/ 34 h 107"/>
              <a:gd name="T68" fmla="*/ 55 w 97"/>
              <a:gd name="T69" fmla="*/ 38 h 107"/>
              <a:gd name="T70" fmla="*/ 57 w 97"/>
              <a:gd name="T71" fmla="*/ 39 h 107"/>
              <a:gd name="T72" fmla="*/ 60 w 97"/>
              <a:gd name="T73" fmla="*/ 38 h 107"/>
              <a:gd name="T74" fmla="*/ 68 w 97"/>
              <a:gd name="T75" fmla="*/ 31 h 107"/>
              <a:gd name="T76" fmla="*/ 68 w 97"/>
              <a:gd name="T77" fmla="*/ 35 h 107"/>
              <a:gd name="T78" fmla="*/ 66 w 97"/>
              <a:gd name="T79" fmla="*/ 39 h 107"/>
              <a:gd name="T80" fmla="*/ 64 w 97"/>
              <a:gd name="T81" fmla="*/ 43 h 107"/>
              <a:gd name="T82" fmla="*/ 66 w 97"/>
              <a:gd name="T83" fmla="*/ 46 h 107"/>
              <a:gd name="T84" fmla="*/ 69 w 97"/>
              <a:gd name="T85" fmla="*/ 51 h 107"/>
              <a:gd name="T86" fmla="*/ 72 w 97"/>
              <a:gd name="T87" fmla="*/ 52 h 107"/>
              <a:gd name="T88" fmla="*/ 76 w 97"/>
              <a:gd name="T89" fmla="*/ 51 h 107"/>
              <a:gd name="T90" fmla="*/ 84 w 97"/>
              <a:gd name="T91" fmla="*/ 47 h 107"/>
              <a:gd name="T92" fmla="*/ 89 w 97"/>
              <a:gd name="T93" fmla="*/ 46 h 107"/>
              <a:gd name="T94" fmla="*/ 93 w 97"/>
              <a:gd name="T95" fmla="*/ 48 h 107"/>
              <a:gd name="T96" fmla="*/ 96 w 97"/>
              <a:gd name="T97" fmla="*/ 51 h 107"/>
              <a:gd name="T98" fmla="*/ 95 w 97"/>
              <a:gd name="T99" fmla="*/ 53 h 107"/>
              <a:gd name="T100" fmla="*/ 89 w 97"/>
              <a:gd name="T101" fmla="*/ 57 h 107"/>
              <a:gd name="T102" fmla="*/ 72 w 97"/>
              <a:gd name="T103" fmla="*/ 70 h 107"/>
              <a:gd name="T104" fmla="*/ 70 w 97"/>
              <a:gd name="T105" fmla="*/ 71 h 107"/>
              <a:gd name="T106" fmla="*/ 62 w 97"/>
              <a:gd name="T107" fmla="*/ 71 h 107"/>
              <a:gd name="T108" fmla="*/ 59 w 97"/>
              <a:gd name="T109" fmla="*/ 71 h 107"/>
              <a:gd name="T110" fmla="*/ 53 w 97"/>
              <a:gd name="T111" fmla="*/ 75 h 107"/>
              <a:gd name="T112" fmla="*/ 40 w 97"/>
              <a:gd name="T113" fmla="*/ 87 h 107"/>
              <a:gd name="T114" fmla="*/ 29 w 97"/>
              <a:gd name="T115" fmla="*/ 96 h 107"/>
              <a:gd name="T116" fmla="*/ 18 w 97"/>
              <a:gd name="T117" fmla="*/ 102 h 107"/>
              <a:gd name="T118" fmla="*/ 6 w 97"/>
              <a:gd name="T119" fmla="*/ 106 h 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7" h="107">
                <a:moveTo>
                  <a:pt x="6" y="106"/>
                </a:moveTo>
                <a:lnTo>
                  <a:pt x="5" y="106"/>
                </a:lnTo>
                <a:lnTo>
                  <a:pt x="3" y="104"/>
                </a:lnTo>
                <a:lnTo>
                  <a:pt x="0" y="102"/>
                </a:lnTo>
                <a:lnTo>
                  <a:pt x="0" y="101"/>
                </a:lnTo>
                <a:lnTo>
                  <a:pt x="0" y="99"/>
                </a:lnTo>
                <a:lnTo>
                  <a:pt x="2" y="97"/>
                </a:lnTo>
                <a:lnTo>
                  <a:pt x="6" y="96"/>
                </a:lnTo>
                <a:lnTo>
                  <a:pt x="13" y="95"/>
                </a:lnTo>
                <a:lnTo>
                  <a:pt x="16" y="92"/>
                </a:lnTo>
                <a:lnTo>
                  <a:pt x="18" y="90"/>
                </a:lnTo>
                <a:lnTo>
                  <a:pt x="19" y="89"/>
                </a:lnTo>
                <a:lnTo>
                  <a:pt x="21" y="87"/>
                </a:lnTo>
                <a:lnTo>
                  <a:pt x="22" y="84"/>
                </a:lnTo>
                <a:lnTo>
                  <a:pt x="19" y="83"/>
                </a:lnTo>
                <a:lnTo>
                  <a:pt x="16" y="80"/>
                </a:lnTo>
                <a:lnTo>
                  <a:pt x="13" y="76"/>
                </a:lnTo>
                <a:lnTo>
                  <a:pt x="13" y="74"/>
                </a:lnTo>
                <a:lnTo>
                  <a:pt x="11" y="74"/>
                </a:lnTo>
                <a:lnTo>
                  <a:pt x="13" y="71"/>
                </a:lnTo>
                <a:lnTo>
                  <a:pt x="13" y="70"/>
                </a:lnTo>
                <a:lnTo>
                  <a:pt x="15" y="68"/>
                </a:lnTo>
                <a:lnTo>
                  <a:pt x="17" y="67"/>
                </a:lnTo>
                <a:lnTo>
                  <a:pt x="19" y="67"/>
                </a:lnTo>
                <a:lnTo>
                  <a:pt x="24" y="67"/>
                </a:lnTo>
                <a:lnTo>
                  <a:pt x="26" y="67"/>
                </a:lnTo>
                <a:lnTo>
                  <a:pt x="28" y="66"/>
                </a:lnTo>
                <a:lnTo>
                  <a:pt x="32" y="62"/>
                </a:lnTo>
                <a:lnTo>
                  <a:pt x="36" y="60"/>
                </a:lnTo>
                <a:lnTo>
                  <a:pt x="38" y="58"/>
                </a:lnTo>
                <a:lnTo>
                  <a:pt x="40" y="56"/>
                </a:lnTo>
                <a:lnTo>
                  <a:pt x="41" y="56"/>
                </a:lnTo>
                <a:lnTo>
                  <a:pt x="44" y="52"/>
                </a:lnTo>
                <a:lnTo>
                  <a:pt x="46" y="48"/>
                </a:lnTo>
                <a:lnTo>
                  <a:pt x="46" y="44"/>
                </a:lnTo>
                <a:lnTo>
                  <a:pt x="49" y="36"/>
                </a:lnTo>
                <a:lnTo>
                  <a:pt x="50" y="33"/>
                </a:lnTo>
                <a:lnTo>
                  <a:pt x="52" y="29"/>
                </a:lnTo>
                <a:lnTo>
                  <a:pt x="49" y="27"/>
                </a:lnTo>
                <a:lnTo>
                  <a:pt x="48" y="24"/>
                </a:lnTo>
                <a:lnTo>
                  <a:pt x="48" y="22"/>
                </a:lnTo>
                <a:lnTo>
                  <a:pt x="46" y="20"/>
                </a:lnTo>
                <a:lnTo>
                  <a:pt x="48" y="18"/>
                </a:lnTo>
                <a:lnTo>
                  <a:pt x="49" y="16"/>
                </a:lnTo>
                <a:lnTo>
                  <a:pt x="48" y="14"/>
                </a:lnTo>
                <a:lnTo>
                  <a:pt x="48" y="13"/>
                </a:lnTo>
                <a:lnTo>
                  <a:pt x="46" y="12"/>
                </a:lnTo>
                <a:lnTo>
                  <a:pt x="48" y="9"/>
                </a:lnTo>
                <a:lnTo>
                  <a:pt x="49" y="5"/>
                </a:lnTo>
                <a:lnTo>
                  <a:pt x="50" y="1"/>
                </a:lnTo>
                <a:lnTo>
                  <a:pt x="51" y="0"/>
                </a:lnTo>
                <a:lnTo>
                  <a:pt x="52" y="0"/>
                </a:lnTo>
                <a:lnTo>
                  <a:pt x="53" y="3"/>
                </a:lnTo>
                <a:lnTo>
                  <a:pt x="55" y="5"/>
                </a:lnTo>
                <a:lnTo>
                  <a:pt x="59" y="9"/>
                </a:lnTo>
                <a:lnTo>
                  <a:pt x="60" y="11"/>
                </a:lnTo>
                <a:lnTo>
                  <a:pt x="62" y="12"/>
                </a:lnTo>
                <a:lnTo>
                  <a:pt x="63" y="14"/>
                </a:lnTo>
                <a:lnTo>
                  <a:pt x="64" y="17"/>
                </a:lnTo>
                <a:lnTo>
                  <a:pt x="63" y="20"/>
                </a:lnTo>
                <a:lnTo>
                  <a:pt x="62" y="21"/>
                </a:lnTo>
                <a:lnTo>
                  <a:pt x="60" y="21"/>
                </a:lnTo>
                <a:lnTo>
                  <a:pt x="59" y="22"/>
                </a:lnTo>
                <a:lnTo>
                  <a:pt x="59" y="24"/>
                </a:lnTo>
                <a:lnTo>
                  <a:pt x="59" y="26"/>
                </a:lnTo>
                <a:lnTo>
                  <a:pt x="57" y="29"/>
                </a:lnTo>
                <a:lnTo>
                  <a:pt x="55" y="33"/>
                </a:lnTo>
                <a:lnTo>
                  <a:pt x="55" y="34"/>
                </a:lnTo>
                <a:lnTo>
                  <a:pt x="54" y="35"/>
                </a:lnTo>
                <a:lnTo>
                  <a:pt x="55" y="38"/>
                </a:lnTo>
                <a:lnTo>
                  <a:pt x="56" y="39"/>
                </a:lnTo>
                <a:lnTo>
                  <a:pt x="57" y="39"/>
                </a:lnTo>
                <a:lnTo>
                  <a:pt x="59" y="39"/>
                </a:lnTo>
                <a:lnTo>
                  <a:pt x="60" y="38"/>
                </a:lnTo>
                <a:lnTo>
                  <a:pt x="63" y="35"/>
                </a:lnTo>
                <a:lnTo>
                  <a:pt x="68" y="31"/>
                </a:lnTo>
                <a:lnTo>
                  <a:pt x="68" y="34"/>
                </a:lnTo>
                <a:lnTo>
                  <a:pt x="68" y="35"/>
                </a:lnTo>
                <a:lnTo>
                  <a:pt x="67" y="36"/>
                </a:lnTo>
                <a:lnTo>
                  <a:pt x="66" y="39"/>
                </a:lnTo>
                <a:lnTo>
                  <a:pt x="64" y="42"/>
                </a:lnTo>
                <a:lnTo>
                  <a:pt x="64" y="43"/>
                </a:lnTo>
                <a:lnTo>
                  <a:pt x="64" y="44"/>
                </a:lnTo>
                <a:lnTo>
                  <a:pt x="66" y="46"/>
                </a:lnTo>
                <a:lnTo>
                  <a:pt x="67" y="49"/>
                </a:lnTo>
                <a:lnTo>
                  <a:pt x="69" y="51"/>
                </a:lnTo>
                <a:lnTo>
                  <a:pt x="71" y="52"/>
                </a:lnTo>
                <a:lnTo>
                  <a:pt x="72" y="52"/>
                </a:lnTo>
                <a:lnTo>
                  <a:pt x="75" y="52"/>
                </a:lnTo>
                <a:lnTo>
                  <a:pt x="76" y="51"/>
                </a:lnTo>
                <a:lnTo>
                  <a:pt x="80" y="49"/>
                </a:lnTo>
                <a:lnTo>
                  <a:pt x="84" y="47"/>
                </a:lnTo>
                <a:lnTo>
                  <a:pt x="86" y="47"/>
                </a:lnTo>
                <a:lnTo>
                  <a:pt x="89" y="46"/>
                </a:lnTo>
                <a:lnTo>
                  <a:pt x="91" y="47"/>
                </a:lnTo>
                <a:lnTo>
                  <a:pt x="93" y="48"/>
                </a:lnTo>
                <a:lnTo>
                  <a:pt x="95" y="49"/>
                </a:lnTo>
                <a:lnTo>
                  <a:pt x="96" y="51"/>
                </a:lnTo>
                <a:lnTo>
                  <a:pt x="96" y="52"/>
                </a:lnTo>
                <a:lnTo>
                  <a:pt x="95" y="53"/>
                </a:lnTo>
                <a:lnTo>
                  <a:pt x="92" y="54"/>
                </a:lnTo>
                <a:lnTo>
                  <a:pt x="89" y="57"/>
                </a:lnTo>
                <a:lnTo>
                  <a:pt x="80" y="64"/>
                </a:lnTo>
                <a:lnTo>
                  <a:pt x="72" y="70"/>
                </a:lnTo>
                <a:lnTo>
                  <a:pt x="72" y="71"/>
                </a:lnTo>
                <a:lnTo>
                  <a:pt x="70" y="71"/>
                </a:lnTo>
                <a:lnTo>
                  <a:pt x="66" y="71"/>
                </a:lnTo>
                <a:lnTo>
                  <a:pt x="62" y="71"/>
                </a:lnTo>
                <a:lnTo>
                  <a:pt x="60" y="71"/>
                </a:lnTo>
                <a:lnTo>
                  <a:pt x="59" y="71"/>
                </a:lnTo>
                <a:lnTo>
                  <a:pt x="56" y="73"/>
                </a:lnTo>
                <a:lnTo>
                  <a:pt x="53" y="75"/>
                </a:lnTo>
                <a:lnTo>
                  <a:pt x="49" y="79"/>
                </a:lnTo>
                <a:lnTo>
                  <a:pt x="40" y="87"/>
                </a:lnTo>
                <a:lnTo>
                  <a:pt x="35" y="91"/>
                </a:lnTo>
                <a:lnTo>
                  <a:pt x="29" y="96"/>
                </a:lnTo>
                <a:lnTo>
                  <a:pt x="23" y="99"/>
                </a:lnTo>
                <a:lnTo>
                  <a:pt x="18" y="102"/>
                </a:lnTo>
                <a:lnTo>
                  <a:pt x="13" y="105"/>
                </a:lnTo>
                <a:lnTo>
                  <a:pt x="6" y="106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81" name="Freeform 80">
            <a:extLst>
              <a:ext uri="{FF2B5EF4-FFF2-40B4-BE49-F238E27FC236}">
                <a16:creationId xmlns:a16="http://schemas.microsoft.com/office/drawing/2014/main" id="{F760D7F5-FF16-30C7-A443-DA394C1E38B8}"/>
              </a:ext>
            </a:extLst>
          </p:cNvPr>
          <p:cNvSpPr>
            <a:spLocks/>
          </p:cNvSpPr>
          <p:nvPr/>
        </p:nvSpPr>
        <p:spPr bwMode="auto">
          <a:xfrm>
            <a:off x="10486400" y="5160809"/>
            <a:ext cx="122238" cy="63500"/>
          </a:xfrm>
          <a:custGeom>
            <a:avLst/>
            <a:gdLst>
              <a:gd name="T0" fmla="*/ 32 w 60"/>
              <a:gd name="T1" fmla="*/ 29 h 34"/>
              <a:gd name="T2" fmla="*/ 31 w 60"/>
              <a:gd name="T3" fmla="*/ 32 h 34"/>
              <a:gd name="T4" fmla="*/ 30 w 60"/>
              <a:gd name="T5" fmla="*/ 33 h 34"/>
              <a:gd name="T6" fmla="*/ 28 w 60"/>
              <a:gd name="T7" fmla="*/ 33 h 34"/>
              <a:gd name="T8" fmla="*/ 25 w 60"/>
              <a:gd name="T9" fmla="*/ 33 h 34"/>
              <a:gd name="T10" fmla="*/ 20 w 60"/>
              <a:gd name="T11" fmla="*/ 32 h 34"/>
              <a:gd name="T12" fmla="*/ 14 w 60"/>
              <a:gd name="T13" fmla="*/ 30 h 34"/>
              <a:gd name="T14" fmla="*/ 10 w 60"/>
              <a:gd name="T15" fmla="*/ 29 h 34"/>
              <a:gd name="T16" fmla="*/ 6 w 60"/>
              <a:gd name="T17" fmla="*/ 26 h 34"/>
              <a:gd name="T18" fmla="*/ 3 w 60"/>
              <a:gd name="T19" fmla="*/ 25 h 34"/>
              <a:gd name="T20" fmla="*/ 0 w 60"/>
              <a:gd name="T21" fmla="*/ 23 h 34"/>
              <a:gd name="T22" fmla="*/ 0 w 60"/>
              <a:gd name="T23" fmla="*/ 22 h 34"/>
              <a:gd name="T24" fmla="*/ 0 w 60"/>
              <a:gd name="T25" fmla="*/ 21 h 34"/>
              <a:gd name="T26" fmla="*/ 0 w 60"/>
              <a:gd name="T27" fmla="*/ 20 h 34"/>
              <a:gd name="T28" fmla="*/ 0 w 60"/>
              <a:gd name="T29" fmla="*/ 19 h 34"/>
              <a:gd name="T30" fmla="*/ 3 w 60"/>
              <a:gd name="T31" fmla="*/ 19 h 34"/>
              <a:gd name="T32" fmla="*/ 21 w 60"/>
              <a:gd name="T33" fmla="*/ 19 h 34"/>
              <a:gd name="T34" fmla="*/ 22 w 60"/>
              <a:gd name="T35" fmla="*/ 19 h 34"/>
              <a:gd name="T36" fmla="*/ 25 w 60"/>
              <a:gd name="T37" fmla="*/ 19 h 34"/>
              <a:gd name="T38" fmla="*/ 28 w 60"/>
              <a:gd name="T39" fmla="*/ 20 h 34"/>
              <a:gd name="T40" fmla="*/ 32 w 60"/>
              <a:gd name="T41" fmla="*/ 19 h 34"/>
              <a:gd name="T42" fmla="*/ 35 w 60"/>
              <a:gd name="T43" fmla="*/ 19 h 34"/>
              <a:gd name="T44" fmla="*/ 36 w 60"/>
              <a:gd name="T45" fmla="*/ 17 h 34"/>
              <a:gd name="T46" fmla="*/ 39 w 60"/>
              <a:gd name="T47" fmla="*/ 16 h 34"/>
              <a:gd name="T48" fmla="*/ 40 w 60"/>
              <a:gd name="T49" fmla="*/ 14 h 34"/>
              <a:gd name="T50" fmla="*/ 42 w 60"/>
              <a:gd name="T51" fmla="*/ 12 h 34"/>
              <a:gd name="T52" fmla="*/ 44 w 60"/>
              <a:gd name="T53" fmla="*/ 10 h 34"/>
              <a:gd name="T54" fmla="*/ 47 w 60"/>
              <a:gd name="T55" fmla="*/ 10 h 34"/>
              <a:gd name="T56" fmla="*/ 48 w 60"/>
              <a:gd name="T57" fmla="*/ 3 h 34"/>
              <a:gd name="T58" fmla="*/ 48 w 60"/>
              <a:gd name="T59" fmla="*/ 2 h 34"/>
              <a:gd name="T60" fmla="*/ 47 w 60"/>
              <a:gd name="T61" fmla="*/ 0 h 34"/>
              <a:gd name="T62" fmla="*/ 49 w 60"/>
              <a:gd name="T63" fmla="*/ 0 h 34"/>
              <a:gd name="T64" fmla="*/ 50 w 60"/>
              <a:gd name="T65" fmla="*/ 1 h 34"/>
              <a:gd name="T66" fmla="*/ 52 w 60"/>
              <a:gd name="T67" fmla="*/ 2 h 34"/>
              <a:gd name="T68" fmla="*/ 54 w 60"/>
              <a:gd name="T69" fmla="*/ 3 h 34"/>
              <a:gd name="T70" fmla="*/ 56 w 60"/>
              <a:gd name="T71" fmla="*/ 5 h 34"/>
              <a:gd name="T72" fmla="*/ 57 w 60"/>
              <a:gd name="T73" fmla="*/ 6 h 34"/>
              <a:gd name="T74" fmla="*/ 58 w 60"/>
              <a:gd name="T75" fmla="*/ 6 h 34"/>
              <a:gd name="T76" fmla="*/ 59 w 60"/>
              <a:gd name="T77" fmla="*/ 8 h 34"/>
              <a:gd name="T78" fmla="*/ 58 w 60"/>
              <a:gd name="T79" fmla="*/ 9 h 34"/>
              <a:gd name="T80" fmla="*/ 57 w 60"/>
              <a:gd name="T81" fmla="*/ 11 h 34"/>
              <a:gd name="T82" fmla="*/ 55 w 60"/>
              <a:gd name="T83" fmla="*/ 13 h 34"/>
              <a:gd name="T84" fmla="*/ 53 w 60"/>
              <a:gd name="T85" fmla="*/ 15 h 34"/>
              <a:gd name="T86" fmla="*/ 53 w 60"/>
              <a:gd name="T87" fmla="*/ 16 h 34"/>
              <a:gd name="T88" fmla="*/ 52 w 60"/>
              <a:gd name="T89" fmla="*/ 19 h 34"/>
              <a:gd name="T90" fmla="*/ 49 w 60"/>
              <a:gd name="T91" fmla="*/ 21 h 34"/>
              <a:gd name="T92" fmla="*/ 42 w 60"/>
              <a:gd name="T93" fmla="*/ 25 h 34"/>
              <a:gd name="T94" fmla="*/ 36 w 60"/>
              <a:gd name="T95" fmla="*/ 29 h 34"/>
              <a:gd name="T96" fmla="*/ 32 w 60"/>
              <a:gd name="T97" fmla="*/ 30 h 34"/>
              <a:gd name="T98" fmla="*/ 31 w 60"/>
              <a:gd name="T99" fmla="*/ 32 h 34"/>
              <a:gd name="T100" fmla="*/ 32 w 60"/>
              <a:gd name="T101" fmla="*/ 29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60" h="34">
                <a:moveTo>
                  <a:pt x="32" y="29"/>
                </a:moveTo>
                <a:lnTo>
                  <a:pt x="31" y="32"/>
                </a:lnTo>
                <a:lnTo>
                  <a:pt x="30" y="33"/>
                </a:lnTo>
                <a:lnTo>
                  <a:pt x="28" y="33"/>
                </a:lnTo>
                <a:lnTo>
                  <a:pt x="25" y="33"/>
                </a:lnTo>
                <a:lnTo>
                  <a:pt x="20" y="32"/>
                </a:lnTo>
                <a:lnTo>
                  <a:pt x="14" y="30"/>
                </a:lnTo>
                <a:lnTo>
                  <a:pt x="10" y="29"/>
                </a:lnTo>
                <a:lnTo>
                  <a:pt x="6" y="26"/>
                </a:lnTo>
                <a:lnTo>
                  <a:pt x="3" y="25"/>
                </a:lnTo>
                <a:lnTo>
                  <a:pt x="0" y="23"/>
                </a:lnTo>
                <a:lnTo>
                  <a:pt x="0" y="22"/>
                </a:lnTo>
                <a:lnTo>
                  <a:pt x="0" y="21"/>
                </a:lnTo>
                <a:lnTo>
                  <a:pt x="0" y="20"/>
                </a:lnTo>
                <a:lnTo>
                  <a:pt x="0" y="19"/>
                </a:lnTo>
                <a:lnTo>
                  <a:pt x="3" y="19"/>
                </a:lnTo>
                <a:lnTo>
                  <a:pt x="21" y="19"/>
                </a:lnTo>
                <a:lnTo>
                  <a:pt x="22" y="19"/>
                </a:lnTo>
                <a:lnTo>
                  <a:pt x="25" y="19"/>
                </a:lnTo>
                <a:lnTo>
                  <a:pt x="28" y="20"/>
                </a:lnTo>
                <a:lnTo>
                  <a:pt x="32" y="19"/>
                </a:lnTo>
                <a:lnTo>
                  <a:pt x="35" y="19"/>
                </a:lnTo>
                <a:lnTo>
                  <a:pt x="36" y="17"/>
                </a:lnTo>
                <a:lnTo>
                  <a:pt x="39" y="16"/>
                </a:lnTo>
                <a:lnTo>
                  <a:pt x="40" y="14"/>
                </a:lnTo>
                <a:lnTo>
                  <a:pt x="42" y="12"/>
                </a:lnTo>
                <a:lnTo>
                  <a:pt x="44" y="10"/>
                </a:lnTo>
                <a:lnTo>
                  <a:pt x="47" y="10"/>
                </a:lnTo>
                <a:lnTo>
                  <a:pt x="48" y="3"/>
                </a:lnTo>
                <a:lnTo>
                  <a:pt x="48" y="2"/>
                </a:lnTo>
                <a:lnTo>
                  <a:pt x="47" y="0"/>
                </a:lnTo>
                <a:lnTo>
                  <a:pt x="49" y="0"/>
                </a:lnTo>
                <a:lnTo>
                  <a:pt x="50" y="1"/>
                </a:lnTo>
                <a:lnTo>
                  <a:pt x="52" y="2"/>
                </a:lnTo>
                <a:lnTo>
                  <a:pt x="54" y="3"/>
                </a:lnTo>
                <a:lnTo>
                  <a:pt x="56" y="5"/>
                </a:lnTo>
                <a:lnTo>
                  <a:pt x="57" y="6"/>
                </a:lnTo>
                <a:lnTo>
                  <a:pt x="58" y="6"/>
                </a:lnTo>
                <a:lnTo>
                  <a:pt x="59" y="8"/>
                </a:lnTo>
                <a:lnTo>
                  <a:pt x="58" y="9"/>
                </a:lnTo>
                <a:lnTo>
                  <a:pt x="57" y="11"/>
                </a:lnTo>
                <a:lnTo>
                  <a:pt x="55" y="13"/>
                </a:lnTo>
                <a:lnTo>
                  <a:pt x="53" y="15"/>
                </a:lnTo>
                <a:lnTo>
                  <a:pt x="53" y="16"/>
                </a:lnTo>
                <a:lnTo>
                  <a:pt x="52" y="19"/>
                </a:lnTo>
                <a:lnTo>
                  <a:pt x="49" y="21"/>
                </a:lnTo>
                <a:lnTo>
                  <a:pt x="42" y="25"/>
                </a:lnTo>
                <a:lnTo>
                  <a:pt x="36" y="29"/>
                </a:lnTo>
                <a:lnTo>
                  <a:pt x="32" y="30"/>
                </a:lnTo>
                <a:lnTo>
                  <a:pt x="31" y="32"/>
                </a:lnTo>
                <a:lnTo>
                  <a:pt x="32" y="29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82" name="Freeform 81">
            <a:extLst>
              <a:ext uri="{FF2B5EF4-FFF2-40B4-BE49-F238E27FC236}">
                <a16:creationId xmlns:a16="http://schemas.microsoft.com/office/drawing/2014/main" id="{C027B083-3D9A-323A-9483-647D8E7216D9}"/>
              </a:ext>
            </a:extLst>
          </p:cNvPr>
          <p:cNvSpPr>
            <a:spLocks/>
          </p:cNvSpPr>
          <p:nvPr/>
        </p:nvSpPr>
        <p:spPr bwMode="auto">
          <a:xfrm>
            <a:off x="10568950" y="5121121"/>
            <a:ext cx="60325" cy="55563"/>
          </a:xfrm>
          <a:custGeom>
            <a:avLst/>
            <a:gdLst>
              <a:gd name="T0" fmla="*/ 29 w 30"/>
              <a:gd name="T1" fmla="*/ 20 h 30"/>
              <a:gd name="T2" fmla="*/ 29 w 30"/>
              <a:gd name="T3" fmla="*/ 28 h 30"/>
              <a:gd name="T4" fmla="*/ 25 w 30"/>
              <a:gd name="T5" fmla="*/ 29 h 30"/>
              <a:gd name="T6" fmla="*/ 24 w 30"/>
              <a:gd name="T7" fmla="*/ 27 h 30"/>
              <a:gd name="T8" fmla="*/ 22 w 30"/>
              <a:gd name="T9" fmla="*/ 25 h 30"/>
              <a:gd name="T10" fmla="*/ 21 w 30"/>
              <a:gd name="T11" fmla="*/ 23 h 30"/>
              <a:gd name="T12" fmla="*/ 21 w 30"/>
              <a:gd name="T13" fmla="*/ 20 h 30"/>
              <a:gd name="T14" fmla="*/ 20 w 30"/>
              <a:gd name="T15" fmla="*/ 18 h 30"/>
              <a:gd name="T16" fmla="*/ 19 w 30"/>
              <a:gd name="T17" fmla="*/ 15 h 30"/>
              <a:gd name="T18" fmla="*/ 17 w 30"/>
              <a:gd name="T19" fmla="*/ 13 h 30"/>
              <a:gd name="T20" fmla="*/ 15 w 30"/>
              <a:gd name="T21" fmla="*/ 12 h 30"/>
              <a:gd name="T22" fmla="*/ 10 w 30"/>
              <a:gd name="T23" fmla="*/ 9 h 30"/>
              <a:gd name="T24" fmla="*/ 6 w 30"/>
              <a:gd name="T25" fmla="*/ 6 h 30"/>
              <a:gd name="T26" fmla="*/ 3 w 30"/>
              <a:gd name="T27" fmla="*/ 5 h 30"/>
              <a:gd name="T28" fmla="*/ 2 w 30"/>
              <a:gd name="T29" fmla="*/ 4 h 30"/>
              <a:gd name="T30" fmla="*/ 1 w 30"/>
              <a:gd name="T31" fmla="*/ 2 h 30"/>
              <a:gd name="T32" fmla="*/ 0 w 30"/>
              <a:gd name="T33" fmla="*/ 0 h 30"/>
              <a:gd name="T34" fmla="*/ 7 w 30"/>
              <a:gd name="T35" fmla="*/ 5 h 30"/>
              <a:gd name="T36" fmla="*/ 14 w 30"/>
              <a:gd name="T37" fmla="*/ 9 h 30"/>
              <a:gd name="T38" fmla="*/ 21 w 30"/>
              <a:gd name="T39" fmla="*/ 15 h 30"/>
              <a:gd name="T40" fmla="*/ 29 w 30"/>
              <a:gd name="T41" fmla="*/ 2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30" h="30">
                <a:moveTo>
                  <a:pt x="29" y="20"/>
                </a:moveTo>
                <a:lnTo>
                  <a:pt x="29" y="28"/>
                </a:lnTo>
                <a:lnTo>
                  <a:pt x="25" y="29"/>
                </a:lnTo>
                <a:lnTo>
                  <a:pt x="24" y="27"/>
                </a:lnTo>
                <a:lnTo>
                  <a:pt x="22" y="25"/>
                </a:lnTo>
                <a:lnTo>
                  <a:pt x="21" y="23"/>
                </a:lnTo>
                <a:lnTo>
                  <a:pt x="21" y="20"/>
                </a:lnTo>
                <a:lnTo>
                  <a:pt x="20" y="18"/>
                </a:lnTo>
                <a:lnTo>
                  <a:pt x="19" y="15"/>
                </a:lnTo>
                <a:lnTo>
                  <a:pt x="17" y="13"/>
                </a:lnTo>
                <a:lnTo>
                  <a:pt x="15" y="12"/>
                </a:lnTo>
                <a:lnTo>
                  <a:pt x="10" y="9"/>
                </a:lnTo>
                <a:lnTo>
                  <a:pt x="6" y="6"/>
                </a:lnTo>
                <a:lnTo>
                  <a:pt x="3" y="5"/>
                </a:lnTo>
                <a:lnTo>
                  <a:pt x="2" y="4"/>
                </a:lnTo>
                <a:lnTo>
                  <a:pt x="1" y="2"/>
                </a:lnTo>
                <a:lnTo>
                  <a:pt x="0" y="0"/>
                </a:lnTo>
                <a:lnTo>
                  <a:pt x="7" y="5"/>
                </a:lnTo>
                <a:lnTo>
                  <a:pt x="14" y="9"/>
                </a:lnTo>
                <a:lnTo>
                  <a:pt x="21" y="15"/>
                </a:lnTo>
                <a:lnTo>
                  <a:pt x="29" y="2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83" name="Freeform 82">
            <a:extLst>
              <a:ext uri="{FF2B5EF4-FFF2-40B4-BE49-F238E27FC236}">
                <a16:creationId xmlns:a16="http://schemas.microsoft.com/office/drawing/2014/main" id="{506B36E8-C155-6EEF-F6C2-178F2C7CB795}"/>
              </a:ext>
            </a:extLst>
          </p:cNvPr>
          <p:cNvSpPr>
            <a:spLocks/>
          </p:cNvSpPr>
          <p:nvPr/>
        </p:nvSpPr>
        <p:spPr bwMode="auto">
          <a:xfrm>
            <a:off x="10113338" y="5060796"/>
            <a:ext cx="33338" cy="31750"/>
          </a:xfrm>
          <a:custGeom>
            <a:avLst/>
            <a:gdLst>
              <a:gd name="T0" fmla="*/ 16 w 17"/>
              <a:gd name="T1" fmla="*/ 13 h 17"/>
              <a:gd name="T2" fmla="*/ 12 w 17"/>
              <a:gd name="T3" fmla="*/ 16 h 17"/>
              <a:gd name="T4" fmla="*/ 10 w 17"/>
              <a:gd name="T5" fmla="*/ 13 h 17"/>
              <a:gd name="T6" fmla="*/ 8 w 17"/>
              <a:gd name="T7" fmla="*/ 13 h 17"/>
              <a:gd name="T8" fmla="*/ 3 w 17"/>
              <a:gd name="T9" fmla="*/ 9 h 17"/>
              <a:gd name="T10" fmla="*/ 2 w 17"/>
              <a:gd name="T11" fmla="*/ 8 h 17"/>
              <a:gd name="T12" fmla="*/ 1 w 17"/>
              <a:gd name="T13" fmla="*/ 4 h 17"/>
              <a:gd name="T14" fmla="*/ 0 w 17"/>
              <a:gd name="T15" fmla="*/ 0 h 17"/>
              <a:gd name="T16" fmla="*/ 2 w 17"/>
              <a:gd name="T17" fmla="*/ 0 h 17"/>
              <a:gd name="T18" fmla="*/ 5 w 17"/>
              <a:gd name="T19" fmla="*/ 1 h 17"/>
              <a:gd name="T20" fmla="*/ 10 w 17"/>
              <a:gd name="T21" fmla="*/ 4 h 17"/>
              <a:gd name="T22" fmla="*/ 13 w 17"/>
              <a:gd name="T23" fmla="*/ 8 h 17"/>
              <a:gd name="T24" fmla="*/ 16 w 17"/>
              <a:gd name="T25" fmla="*/ 13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7" h="17">
                <a:moveTo>
                  <a:pt x="16" y="13"/>
                </a:moveTo>
                <a:lnTo>
                  <a:pt x="12" y="16"/>
                </a:lnTo>
                <a:lnTo>
                  <a:pt x="10" y="13"/>
                </a:lnTo>
                <a:lnTo>
                  <a:pt x="8" y="13"/>
                </a:lnTo>
                <a:lnTo>
                  <a:pt x="3" y="9"/>
                </a:lnTo>
                <a:lnTo>
                  <a:pt x="2" y="8"/>
                </a:lnTo>
                <a:lnTo>
                  <a:pt x="1" y="4"/>
                </a:lnTo>
                <a:lnTo>
                  <a:pt x="0" y="0"/>
                </a:lnTo>
                <a:lnTo>
                  <a:pt x="2" y="0"/>
                </a:lnTo>
                <a:lnTo>
                  <a:pt x="5" y="1"/>
                </a:lnTo>
                <a:lnTo>
                  <a:pt x="10" y="4"/>
                </a:lnTo>
                <a:lnTo>
                  <a:pt x="13" y="8"/>
                </a:lnTo>
                <a:lnTo>
                  <a:pt x="16" y="13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84" name="Freeform 83">
            <a:extLst>
              <a:ext uri="{FF2B5EF4-FFF2-40B4-BE49-F238E27FC236}">
                <a16:creationId xmlns:a16="http://schemas.microsoft.com/office/drawing/2014/main" id="{C68F2C96-655E-83D3-F437-B6D2435CC22E}"/>
              </a:ext>
            </a:extLst>
          </p:cNvPr>
          <p:cNvSpPr>
            <a:spLocks/>
          </p:cNvSpPr>
          <p:nvPr/>
        </p:nvSpPr>
        <p:spPr bwMode="auto">
          <a:xfrm>
            <a:off x="10119688" y="5087784"/>
            <a:ext cx="33338" cy="33338"/>
          </a:xfrm>
          <a:custGeom>
            <a:avLst/>
            <a:gdLst>
              <a:gd name="T0" fmla="*/ 16 w 17"/>
              <a:gd name="T1" fmla="*/ 0 h 17"/>
              <a:gd name="T2" fmla="*/ 16 w 17"/>
              <a:gd name="T3" fmla="*/ 5 h 17"/>
              <a:gd name="T4" fmla="*/ 16 w 17"/>
              <a:gd name="T5" fmla="*/ 16 h 17"/>
              <a:gd name="T6" fmla="*/ 0 w 17"/>
              <a:gd name="T7" fmla="*/ 2 h 17"/>
              <a:gd name="T8" fmla="*/ 0 w 17"/>
              <a:gd name="T9" fmla="*/ 0 h 17"/>
              <a:gd name="T10" fmla="*/ 16 w 17"/>
              <a:gd name="T11" fmla="*/ 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" h="17">
                <a:moveTo>
                  <a:pt x="16" y="0"/>
                </a:moveTo>
                <a:lnTo>
                  <a:pt x="16" y="5"/>
                </a:lnTo>
                <a:lnTo>
                  <a:pt x="16" y="16"/>
                </a:lnTo>
                <a:lnTo>
                  <a:pt x="0" y="2"/>
                </a:lnTo>
                <a:lnTo>
                  <a:pt x="0" y="0"/>
                </a:lnTo>
                <a:lnTo>
                  <a:pt x="16" y="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85" name="Freeform 84">
            <a:extLst>
              <a:ext uri="{FF2B5EF4-FFF2-40B4-BE49-F238E27FC236}">
                <a16:creationId xmlns:a16="http://schemas.microsoft.com/office/drawing/2014/main" id="{AECA0917-E6E9-53E0-3A7D-45067E8BC4AC}"/>
              </a:ext>
            </a:extLst>
          </p:cNvPr>
          <p:cNvSpPr>
            <a:spLocks/>
          </p:cNvSpPr>
          <p:nvPr/>
        </p:nvSpPr>
        <p:spPr bwMode="auto">
          <a:xfrm>
            <a:off x="10067300" y="5192559"/>
            <a:ext cx="33338" cy="33338"/>
          </a:xfrm>
          <a:custGeom>
            <a:avLst/>
            <a:gdLst>
              <a:gd name="T0" fmla="*/ 16 w 17"/>
              <a:gd name="T1" fmla="*/ 8 h 17"/>
              <a:gd name="T2" fmla="*/ 16 w 17"/>
              <a:gd name="T3" fmla="*/ 12 h 17"/>
              <a:gd name="T4" fmla="*/ 16 w 17"/>
              <a:gd name="T5" fmla="*/ 13 h 17"/>
              <a:gd name="T6" fmla="*/ 16 w 17"/>
              <a:gd name="T7" fmla="*/ 16 h 17"/>
              <a:gd name="T8" fmla="*/ 8 w 17"/>
              <a:gd name="T9" fmla="*/ 16 h 17"/>
              <a:gd name="T10" fmla="*/ 3 w 17"/>
              <a:gd name="T11" fmla="*/ 13 h 17"/>
              <a:gd name="T12" fmla="*/ 1 w 17"/>
              <a:gd name="T13" fmla="*/ 12 h 17"/>
              <a:gd name="T14" fmla="*/ 1 w 17"/>
              <a:gd name="T15" fmla="*/ 11 h 17"/>
              <a:gd name="T16" fmla="*/ 0 w 17"/>
              <a:gd name="T17" fmla="*/ 8 h 17"/>
              <a:gd name="T18" fmla="*/ 1 w 17"/>
              <a:gd name="T19" fmla="*/ 6 h 17"/>
              <a:gd name="T20" fmla="*/ 2 w 17"/>
              <a:gd name="T21" fmla="*/ 3 h 17"/>
              <a:gd name="T22" fmla="*/ 4 w 17"/>
              <a:gd name="T23" fmla="*/ 1 h 17"/>
              <a:gd name="T24" fmla="*/ 9 w 17"/>
              <a:gd name="T25" fmla="*/ 0 h 17"/>
              <a:gd name="T26" fmla="*/ 11 w 17"/>
              <a:gd name="T27" fmla="*/ 2 h 17"/>
              <a:gd name="T28" fmla="*/ 11 w 17"/>
              <a:gd name="T29" fmla="*/ 4 h 17"/>
              <a:gd name="T30" fmla="*/ 12 w 17"/>
              <a:gd name="T31" fmla="*/ 7 h 17"/>
              <a:gd name="T32" fmla="*/ 14 w 17"/>
              <a:gd name="T33" fmla="*/ 8 h 17"/>
              <a:gd name="T34" fmla="*/ 16 w 17"/>
              <a:gd name="T35" fmla="*/ 8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7" h="17">
                <a:moveTo>
                  <a:pt x="16" y="8"/>
                </a:moveTo>
                <a:lnTo>
                  <a:pt x="16" y="12"/>
                </a:lnTo>
                <a:lnTo>
                  <a:pt x="16" y="13"/>
                </a:lnTo>
                <a:lnTo>
                  <a:pt x="16" y="16"/>
                </a:lnTo>
                <a:lnTo>
                  <a:pt x="8" y="16"/>
                </a:lnTo>
                <a:lnTo>
                  <a:pt x="3" y="13"/>
                </a:lnTo>
                <a:lnTo>
                  <a:pt x="1" y="12"/>
                </a:lnTo>
                <a:lnTo>
                  <a:pt x="1" y="11"/>
                </a:lnTo>
                <a:lnTo>
                  <a:pt x="0" y="8"/>
                </a:lnTo>
                <a:lnTo>
                  <a:pt x="1" y="6"/>
                </a:lnTo>
                <a:lnTo>
                  <a:pt x="2" y="3"/>
                </a:lnTo>
                <a:lnTo>
                  <a:pt x="4" y="1"/>
                </a:lnTo>
                <a:lnTo>
                  <a:pt x="9" y="0"/>
                </a:lnTo>
                <a:lnTo>
                  <a:pt x="11" y="2"/>
                </a:lnTo>
                <a:lnTo>
                  <a:pt x="11" y="4"/>
                </a:lnTo>
                <a:lnTo>
                  <a:pt x="12" y="7"/>
                </a:lnTo>
                <a:lnTo>
                  <a:pt x="14" y="8"/>
                </a:lnTo>
                <a:lnTo>
                  <a:pt x="16" y="8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86" name="Freeform 85">
            <a:extLst>
              <a:ext uri="{FF2B5EF4-FFF2-40B4-BE49-F238E27FC236}">
                <a16:creationId xmlns:a16="http://schemas.microsoft.com/office/drawing/2014/main" id="{F7F025F9-81A1-5B60-3EED-54182BA76B29}"/>
              </a:ext>
            </a:extLst>
          </p:cNvPr>
          <p:cNvSpPr>
            <a:spLocks/>
          </p:cNvSpPr>
          <p:nvPr/>
        </p:nvSpPr>
        <p:spPr bwMode="auto">
          <a:xfrm>
            <a:off x="10060950" y="5222721"/>
            <a:ext cx="33338" cy="30163"/>
          </a:xfrm>
          <a:custGeom>
            <a:avLst/>
            <a:gdLst>
              <a:gd name="T0" fmla="*/ 16 w 17"/>
              <a:gd name="T1" fmla="*/ 8 h 17"/>
              <a:gd name="T2" fmla="*/ 13 w 17"/>
              <a:gd name="T3" fmla="*/ 10 h 17"/>
              <a:gd name="T4" fmla="*/ 11 w 17"/>
              <a:gd name="T5" fmla="*/ 13 h 17"/>
              <a:gd name="T6" fmla="*/ 10 w 17"/>
              <a:gd name="T7" fmla="*/ 16 h 17"/>
              <a:gd name="T8" fmla="*/ 7 w 17"/>
              <a:gd name="T9" fmla="*/ 16 h 17"/>
              <a:gd name="T10" fmla="*/ 2 w 17"/>
              <a:gd name="T11" fmla="*/ 16 h 17"/>
              <a:gd name="T12" fmla="*/ 2 w 17"/>
              <a:gd name="T13" fmla="*/ 13 h 17"/>
              <a:gd name="T14" fmla="*/ 1 w 17"/>
              <a:gd name="T15" fmla="*/ 11 h 17"/>
              <a:gd name="T16" fmla="*/ 1 w 17"/>
              <a:gd name="T17" fmla="*/ 8 h 17"/>
              <a:gd name="T18" fmla="*/ 0 w 17"/>
              <a:gd name="T19" fmla="*/ 7 h 17"/>
              <a:gd name="T20" fmla="*/ 1 w 17"/>
              <a:gd name="T21" fmla="*/ 2 h 17"/>
              <a:gd name="T22" fmla="*/ 2 w 17"/>
              <a:gd name="T23" fmla="*/ 0 h 17"/>
              <a:gd name="T24" fmla="*/ 10 w 17"/>
              <a:gd name="T25" fmla="*/ 4 h 17"/>
              <a:gd name="T26" fmla="*/ 16 w 17"/>
              <a:gd name="T27" fmla="*/ 8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7" h="17">
                <a:moveTo>
                  <a:pt x="16" y="8"/>
                </a:moveTo>
                <a:lnTo>
                  <a:pt x="13" y="10"/>
                </a:lnTo>
                <a:lnTo>
                  <a:pt x="11" y="13"/>
                </a:lnTo>
                <a:lnTo>
                  <a:pt x="10" y="16"/>
                </a:lnTo>
                <a:lnTo>
                  <a:pt x="7" y="16"/>
                </a:lnTo>
                <a:lnTo>
                  <a:pt x="2" y="16"/>
                </a:lnTo>
                <a:lnTo>
                  <a:pt x="2" y="13"/>
                </a:lnTo>
                <a:lnTo>
                  <a:pt x="1" y="11"/>
                </a:lnTo>
                <a:lnTo>
                  <a:pt x="1" y="8"/>
                </a:lnTo>
                <a:lnTo>
                  <a:pt x="0" y="7"/>
                </a:lnTo>
                <a:lnTo>
                  <a:pt x="1" y="2"/>
                </a:lnTo>
                <a:lnTo>
                  <a:pt x="2" y="0"/>
                </a:lnTo>
                <a:lnTo>
                  <a:pt x="10" y="4"/>
                </a:lnTo>
                <a:lnTo>
                  <a:pt x="16" y="8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87" name="Freeform 86">
            <a:extLst>
              <a:ext uri="{FF2B5EF4-FFF2-40B4-BE49-F238E27FC236}">
                <a16:creationId xmlns:a16="http://schemas.microsoft.com/office/drawing/2014/main" id="{9F572812-B2A1-E19A-1FA9-21D2FDF48CA5}"/>
              </a:ext>
            </a:extLst>
          </p:cNvPr>
          <p:cNvSpPr>
            <a:spLocks/>
          </p:cNvSpPr>
          <p:nvPr/>
        </p:nvSpPr>
        <p:spPr bwMode="auto">
          <a:xfrm>
            <a:off x="9972050" y="5238596"/>
            <a:ext cx="34925" cy="36513"/>
          </a:xfrm>
          <a:custGeom>
            <a:avLst/>
            <a:gdLst>
              <a:gd name="T0" fmla="*/ 5 w 17"/>
              <a:gd name="T1" fmla="*/ 1 h 19"/>
              <a:gd name="T2" fmla="*/ 6 w 17"/>
              <a:gd name="T3" fmla="*/ 1 h 19"/>
              <a:gd name="T4" fmla="*/ 7 w 17"/>
              <a:gd name="T5" fmla="*/ 0 h 19"/>
              <a:gd name="T6" fmla="*/ 9 w 17"/>
              <a:gd name="T7" fmla="*/ 0 h 19"/>
              <a:gd name="T8" fmla="*/ 11 w 17"/>
              <a:gd name="T9" fmla="*/ 0 h 19"/>
              <a:gd name="T10" fmla="*/ 12 w 17"/>
              <a:gd name="T11" fmla="*/ 0 h 19"/>
              <a:gd name="T12" fmla="*/ 13 w 17"/>
              <a:gd name="T13" fmla="*/ 0 h 19"/>
              <a:gd name="T14" fmla="*/ 16 w 17"/>
              <a:gd name="T15" fmla="*/ 3 h 19"/>
              <a:gd name="T16" fmla="*/ 13 w 17"/>
              <a:gd name="T17" fmla="*/ 4 h 19"/>
              <a:gd name="T18" fmla="*/ 12 w 17"/>
              <a:gd name="T19" fmla="*/ 4 h 19"/>
              <a:gd name="T20" fmla="*/ 7 w 17"/>
              <a:gd name="T21" fmla="*/ 9 h 19"/>
              <a:gd name="T22" fmla="*/ 0 w 17"/>
              <a:gd name="T23" fmla="*/ 18 h 19"/>
              <a:gd name="T24" fmla="*/ 0 w 17"/>
              <a:gd name="T25" fmla="*/ 8 h 19"/>
              <a:gd name="T26" fmla="*/ 3 w 17"/>
              <a:gd name="T27" fmla="*/ 4 h 19"/>
              <a:gd name="T28" fmla="*/ 4 w 17"/>
              <a:gd name="T29" fmla="*/ 3 h 19"/>
              <a:gd name="T30" fmla="*/ 5 w 17"/>
              <a:gd name="T31" fmla="*/ 1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7" h="19">
                <a:moveTo>
                  <a:pt x="5" y="1"/>
                </a:moveTo>
                <a:lnTo>
                  <a:pt x="6" y="1"/>
                </a:lnTo>
                <a:lnTo>
                  <a:pt x="7" y="0"/>
                </a:lnTo>
                <a:lnTo>
                  <a:pt x="9" y="0"/>
                </a:lnTo>
                <a:lnTo>
                  <a:pt x="11" y="0"/>
                </a:lnTo>
                <a:lnTo>
                  <a:pt x="12" y="0"/>
                </a:lnTo>
                <a:lnTo>
                  <a:pt x="13" y="0"/>
                </a:lnTo>
                <a:lnTo>
                  <a:pt x="16" y="3"/>
                </a:lnTo>
                <a:lnTo>
                  <a:pt x="13" y="4"/>
                </a:lnTo>
                <a:lnTo>
                  <a:pt x="12" y="4"/>
                </a:lnTo>
                <a:lnTo>
                  <a:pt x="7" y="9"/>
                </a:lnTo>
                <a:lnTo>
                  <a:pt x="0" y="18"/>
                </a:lnTo>
                <a:lnTo>
                  <a:pt x="0" y="8"/>
                </a:lnTo>
                <a:lnTo>
                  <a:pt x="3" y="4"/>
                </a:lnTo>
                <a:lnTo>
                  <a:pt x="4" y="3"/>
                </a:lnTo>
                <a:lnTo>
                  <a:pt x="5" y="1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88" name="Freeform 87">
            <a:extLst>
              <a:ext uri="{FF2B5EF4-FFF2-40B4-BE49-F238E27FC236}">
                <a16:creationId xmlns:a16="http://schemas.microsoft.com/office/drawing/2014/main" id="{4A80E37F-46A9-65CB-F628-A661C82C9AC6}"/>
              </a:ext>
            </a:extLst>
          </p:cNvPr>
          <p:cNvSpPr>
            <a:spLocks/>
          </p:cNvSpPr>
          <p:nvPr/>
        </p:nvSpPr>
        <p:spPr bwMode="auto">
          <a:xfrm>
            <a:off x="9964113" y="5041746"/>
            <a:ext cx="34925" cy="33338"/>
          </a:xfrm>
          <a:custGeom>
            <a:avLst/>
            <a:gdLst>
              <a:gd name="T0" fmla="*/ 16 w 17"/>
              <a:gd name="T1" fmla="*/ 10 h 17"/>
              <a:gd name="T2" fmla="*/ 10 w 17"/>
              <a:gd name="T3" fmla="*/ 14 h 17"/>
              <a:gd name="T4" fmla="*/ 6 w 17"/>
              <a:gd name="T5" fmla="*/ 16 h 17"/>
              <a:gd name="T6" fmla="*/ 3 w 17"/>
              <a:gd name="T7" fmla="*/ 14 h 17"/>
              <a:gd name="T8" fmla="*/ 0 w 17"/>
              <a:gd name="T9" fmla="*/ 10 h 17"/>
              <a:gd name="T10" fmla="*/ 0 w 17"/>
              <a:gd name="T11" fmla="*/ 8 h 17"/>
              <a:gd name="T12" fmla="*/ 0 w 17"/>
              <a:gd name="T13" fmla="*/ 7 h 17"/>
              <a:gd name="T14" fmla="*/ 3 w 17"/>
              <a:gd name="T15" fmla="*/ 3 h 17"/>
              <a:gd name="T16" fmla="*/ 5 w 17"/>
              <a:gd name="T17" fmla="*/ 0 h 17"/>
              <a:gd name="T18" fmla="*/ 6 w 17"/>
              <a:gd name="T19" fmla="*/ 0 h 17"/>
              <a:gd name="T20" fmla="*/ 9 w 17"/>
              <a:gd name="T21" fmla="*/ 0 h 17"/>
              <a:gd name="T22" fmla="*/ 10 w 17"/>
              <a:gd name="T23" fmla="*/ 0 h 17"/>
              <a:gd name="T24" fmla="*/ 11 w 17"/>
              <a:gd name="T25" fmla="*/ 5 h 17"/>
              <a:gd name="T26" fmla="*/ 14 w 17"/>
              <a:gd name="T27" fmla="*/ 8 h 17"/>
              <a:gd name="T28" fmla="*/ 16 w 17"/>
              <a:gd name="T29" fmla="*/ 1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7" h="17">
                <a:moveTo>
                  <a:pt x="16" y="10"/>
                </a:moveTo>
                <a:lnTo>
                  <a:pt x="10" y="14"/>
                </a:lnTo>
                <a:lnTo>
                  <a:pt x="6" y="16"/>
                </a:lnTo>
                <a:lnTo>
                  <a:pt x="3" y="14"/>
                </a:lnTo>
                <a:lnTo>
                  <a:pt x="0" y="10"/>
                </a:lnTo>
                <a:lnTo>
                  <a:pt x="0" y="8"/>
                </a:lnTo>
                <a:lnTo>
                  <a:pt x="0" y="7"/>
                </a:lnTo>
                <a:lnTo>
                  <a:pt x="3" y="3"/>
                </a:lnTo>
                <a:lnTo>
                  <a:pt x="5" y="0"/>
                </a:lnTo>
                <a:lnTo>
                  <a:pt x="6" y="0"/>
                </a:lnTo>
                <a:lnTo>
                  <a:pt x="9" y="0"/>
                </a:lnTo>
                <a:lnTo>
                  <a:pt x="10" y="0"/>
                </a:lnTo>
                <a:lnTo>
                  <a:pt x="11" y="5"/>
                </a:lnTo>
                <a:lnTo>
                  <a:pt x="14" y="8"/>
                </a:lnTo>
                <a:lnTo>
                  <a:pt x="16" y="1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89" name="Freeform 88">
            <a:extLst>
              <a:ext uri="{FF2B5EF4-FFF2-40B4-BE49-F238E27FC236}">
                <a16:creationId xmlns:a16="http://schemas.microsoft.com/office/drawing/2014/main" id="{18707B00-804D-B74F-270D-B70CDC1A96E4}"/>
              </a:ext>
            </a:extLst>
          </p:cNvPr>
          <p:cNvSpPr>
            <a:spLocks/>
          </p:cNvSpPr>
          <p:nvPr/>
        </p:nvSpPr>
        <p:spPr bwMode="auto">
          <a:xfrm>
            <a:off x="9886325" y="5119534"/>
            <a:ext cx="93663" cy="30163"/>
          </a:xfrm>
          <a:custGeom>
            <a:avLst/>
            <a:gdLst>
              <a:gd name="T0" fmla="*/ 38 w 46"/>
              <a:gd name="T1" fmla="*/ 16 h 17"/>
              <a:gd name="T2" fmla="*/ 38 w 46"/>
              <a:gd name="T3" fmla="*/ 16 h 17"/>
              <a:gd name="T4" fmla="*/ 36 w 46"/>
              <a:gd name="T5" fmla="*/ 14 h 17"/>
              <a:gd name="T6" fmla="*/ 35 w 46"/>
              <a:gd name="T7" fmla="*/ 13 h 17"/>
              <a:gd name="T8" fmla="*/ 33 w 46"/>
              <a:gd name="T9" fmla="*/ 10 h 17"/>
              <a:gd name="T10" fmla="*/ 31 w 46"/>
              <a:gd name="T11" fmla="*/ 10 h 17"/>
              <a:gd name="T12" fmla="*/ 28 w 46"/>
              <a:gd name="T13" fmla="*/ 10 h 17"/>
              <a:gd name="T14" fmla="*/ 24 w 46"/>
              <a:gd name="T15" fmla="*/ 10 h 17"/>
              <a:gd name="T16" fmla="*/ 20 w 46"/>
              <a:gd name="T17" fmla="*/ 9 h 17"/>
              <a:gd name="T18" fmla="*/ 14 w 46"/>
              <a:gd name="T19" fmla="*/ 8 h 17"/>
              <a:gd name="T20" fmla="*/ 9 w 46"/>
              <a:gd name="T21" fmla="*/ 9 h 17"/>
              <a:gd name="T22" fmla="*/ 3 w 46"/>
              <a:gd name="T23" fmla="*/ 8 h 17"/>
              <a:gd name="T24" fmla="*/ 1 w 46"/>
              <a:gd name="T25" fmla="*/ 8 h 17"/>
              <a:gd name="T26" fmla="*/ 0 w 46"/>
              <a:gd name="T27" fmla="*/ 6 h 17"/>
              <a:gd name="T28" fmla="*/ 9 w 46"/>
              <a:gd name="T29" fmla="*/ 2 h 17"/>
              <a:gd name="T30" fmla="*/ 13 w 46"/>
              <a:gd name="T31" fmla="*/ 1 h 17"/>
              <a:gd name="T32" fmla="*/ 17 w 46"/>
              <a:gd name="T33" fmla="*/ 1 h 17"/>
              <a:gd name="T34" fmla="*/ 19 w 46"/>
              <a:gd name="T35" fmla="*/ 1 h 17"/>
              <a:gd name="T36" fmla="*/ 20 w 46"/>
              <a:gd name="T37" fmla="*/ 0 h 17"/>
              <a:gd name="T38" fmla="*/ 24 w 46"/>
              <a:gd name="T39" fmla="*/ 0 h 17"/>
              <a:gd name="T40" fmla="*/ 25 w 46"/>
              <a:gd name="T41" fmla="*/ 1 h 17"/>
              <a:gd name="T42" fmla="*/ 27 w 46"/>
              <a:gd name="T43" fmla="*/ 1 h 17"/>
              <a:gd name="T44" fmla="*/ 27 w 46"/>
              <a:gd name="T45" fmla="*/ 0 h 17"/>
              <a:gd name="T46" fmla="*/ 29 w 46"/>
              <a:gd name="T47" fmla="*/ 0 h 17"/>
              <a:gd name="T48" fmla="*/ 31 w 46"/>
              <a:gd name="T49" fmla="*/ 0 h 17"/>
              <a:gd name="T50" fmla="*/ 33 w 46"/>
              <a:gd name="T51" fmla="*/ 0 h 17"/>
              <a:gd name="T52" fmla="*/ 35 w 46"/>
              <a:gd name="T53" fmla="*/ 1 h 17"/>
              <a:gd name="T54" fmla="*/ 38 w 46"/>
              <a:gd name="T55" fmla="*/ 2 h 17"/>
              <a:gd name="T56" fmla="*/ 40 w 46"/>
              <a:gd name="T57" fmla="*/ 4 h 17"/>
              <a:gd name="T58" fmla="*/ 41 w 46"/>
              <a:gd name="T59" fmla="*/ 6 h 17"/>
              <a:gd name="T60" fmla="*/ 43 w 46"/>
              <a:gd name="T61" fmla="*/ 8 h 17"/>
              <a:gd name="T62" fmla="*/ 45 w 46"/>
              <a:gd name="T63" fmla="*/ 10 h 17"/>
              <a:gd name="T64" fmla="*/ 45 w 46"/>
              <a:gd name="T65" fmla="*/ 13 h 17"/>
              <a:gd name="T66" fmla="*/ 43 w 46"/>
              <a:gd name="T67" fmla="*/ 14 h 17"/>
              <a:gd name="T68" fmla="*/ 42 w 46"/>
              <a:gd name="T69" fmla="*/ 15 h 17"/>
              <a:gd name="T70" fmla="*/ 38 w 46"/>
              <a:gd name="T71" fmla="*/ 16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46" h="17">
                <a:moveTo>
                  <a:pt x="38" y="16"/>
                </a:moveTo>
                <a:lnTo>
                  <a:pt x="38" y="16"/>
                </a:lnTo>
                <a:lnTo>
                  <a:pt x="36" y="14"/>
                </a:lnTo>
                <a:lnTo>
                  <a:pt x="35" y="13"/>
                </a:lnTo>
                <a:lnTo>
                  <a:pt x="33" y="10"/>
                </a:lnTo>
                <a:lnTo>
                  <a:pt x="31" y="10"/>
                </a:lnTo>
                <a:lnTo>
                  <a:pt x="28" y="10"/>
                </a:lnTo>
                <a:lnTo>
                  <a:pt x="24" y="10"/>
                </a:lnTo>
                <a:lnTo>
                  <a:pt x="20" y="9"/>
                </a:lnTo>
                <a:lnTo>
                  <a:pt x="14" y="8"/>
                </a:lnTo>
                <a:lnTo>
                  <a:pt x="9" y="9"/>
                </a:lnTo>
                <a:lnTo>
                  <a:pt x="3" y="8"/>
                </a:lnTo>
                <a:lnTo>
                  <a:pt x="1" y="8"/>
                </a:lnTo>
                <a:lnTo>
                  <a:pt x="0" y="6"/>
                </a:lnTo>
                <a:lnTo>
                  <a:pt x="9" y="2"/>
                </a:lnTo>
                <a:lnTo>
                  <a:pt x="13" y="1"/>
                </a:lnTo>
                <a:lnTo>
                  <a:pt x="17" y="1"/>
                </a:lnTo>
                <a:lnTo>
                  <a:pt x="19" y="1"/>
                </a:lnTo>
                <a:lnTo>
                  <a:pt x="20" y="0"/>
                </a:lnTo>
                <a:lnTo>
                  <a:pt x="24" y="0"/>
                </a:lnTo>
                <a:lnTo>
                  <a:pt x="25" y="1"/>
                </a:lnTo>
                <a:lnTo>
                  <a:pt x="27" y="1"/>
                </a:lnTo>
                <a:lnTo>
                  <a:pt x="27" y="0"/>
                </a:lnTo>
                <a:lnTo>
                  <a:pt x="29" y="0"/>
                </a:lnTo>
                <a:lnTo>
                  <a:pt x="31" y="0"/>
                </a:lnTo>
                <a:lnTo>
                  <a:pt x="33" y="0"/>
                </a:lnTo>
                <a:lnTo>
                  <a:pt x="35" y="1"/>
                </a:lnTo>
                <a:lnTo>
                  <a:pt x="38" y="2"/>
                </a:lnTo>
                <a:lnTo>
                  <a:pt x="40" y="4"/>
                </a:lnTo>
                <a:lnTo>
                  <a:pt x="41" y="6"/>
                </a:lnTo>
                <a:lnTo>
                  <a:pt x="43" y="8"/>
                </a:lnTo>
                <a:lnTo>
                  <a:pt x="45" y="10"/>
                </a:lnTo>
                <a:lnTo>
                  <a:pt x="45" y="13"/>
                </a:lnTo>
                <a:lnTo>
                  <a:pt x="43" y="14"/>
                </a:lnTo>
                <a:lnTo>
                  <a:pt x="42" y="15"/>
                </a:lnTo>
                <a:lnTo>
                  <a:pt x="38" y="16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90" name="Freeform 89">
            <a:extLst>
              <a:ext uri="{FF2B5EF4-FFF2-40B4-BE49-F238E27FC236}">
                <a16:creationId xmlns:a16="http://schemas.microsoft.com/office/drawing/2014/main" id="{A7FBE015-2702-9B39-DFF8-9EC2B7FE7D72}"/>
              </a:ext>
            </a:extLst>
          </p:cNvPr>
          <p:cNvSpPr>
            <a:spLocks/>
          </p:cNvSpPr>
          <p:nvPr/>
        </p:nvSpPr>
        <p:spPr bwMode="auto">
          <a:xfrm>
            <a:off x="9886325" y="4987771"/>
            <a:ext cx="38100" cy="68263"/>
          </a:xfrm>
          <a:custGeom>
            <a:avLst/>
            <a:gdLst>
              <a:gd name="T0" fmla="*/ 2 w 18"/>
              <a:gd name="T1" fmla="*/ 18 h 36"/>
              <a:gd name="T2" fmla="*/ 2 w 18"/>
              <a:gd name="T3" fmla="*/ 14 h 36"/>
              <a:gd name="T4" fmla="*/ 2 w 18"/>
              <a:gd name="T5" fmla="*/ 12 h 36"/>
              <a:gd name="T6" fmla="*/ 0 w 18"/>
              <a:gd name="T7" fmla="*/ 9 h 36"/>
              <a:gd name="T8" fmla="*/ 0 w 18"/>
              <a:gd name="T9" fmla="*/ 7 h 36"/>
              <a:gd name="T10" fmla="*/ 0 w 18"/>
              <a:gd name="T11" fmla="*/ 3 h 36"/>
              <a:gd name="T12" fmla="*/ 0 w 18"/>
              <a:gd name="T13" fmla="*/ 1 h 36"/>
              <a:gd name="T14" fmla="*/ 0 w 18"/>
              <a:gd name="T15" fmla="*/ 0 h 36"/>
              <a:gd name="T16" fmla="*/ 4 w 18"/>
              <a:gd name="T17" fmla="*/ 0 h 36"/>
              <a:gd name="T18" fmla="*/ 5 w 18"/>
              <a:gd name="T19" fmla="*/ 6 h 36"/>
              <a:gd name="T20" fmla="*/ 5 w 18"/>
              <a:gd name="T21" fmla="*/ 9 h 36"/>
              <a:gd name="T22" fmla="*/ 4 w 18"/>
              <a:gd name="T23" fmla="*/ 13 h 36"/>
              <a:gd name="T24" fmla="*/ 7 w 18"/>
              <a:gd name="T25" fmla="*/ 13 h 36"/>
              <a:gd name="T26" fmla="*/ 7 w 18"/>
              <a:gd name="T27" fmla="*/ 5 h 36"/>
              <a:gd name="T28" fmla="*/ 14 w 18"/>
              <a:gd name="T29" fmla="*/ 5 h 36"/>
              <a:gd name="T30" fmla="*/ 14 w 18"/>
              <a:gd name="T31" fmla="*/ 8 h 36"/>
              <a:gd name="T32" fmla="*/ 14 w 18"/>
              <a:gd name="T33" fmla="*/ 9 h 36"/>
              <a:gd name="T34" fmla="*/ 14 w 18"/>
              <a:gd name="T35" fmla="*/ 11 h 36"/>
              <a:gd name="T36" fmla="*/ 12 w 18"/>
              <a:gd name="T37" fmla="*/ 13 h 36"/>
              <a:gd name="T38" fmla="*/ 11 w 18"/>
              <a:gd name="T39" fmla="*/ 15 h 36"/>
              <a:gd name="T40" fmla="*/ 10 w 18"/>
              <a:gd name="T41" fmla="*/ 16 h 36"/>
              <a:gd name="T42" fmla="*/ 10 w 18"/>
              <a:gd name="T43" fmla="*/ 17 h 36"/>
              <a:gd name="T44" fmla="*/ 17 w 18"/>
              <a:gd name="T45" fmla="*/ 25 h 36"/>
              <a:gd name="T46" fmla="*/ 14 w 18"/>
              <a:gd name="T47" fmla="*/ 25 h 36"/>
              <a:gd name="T48" fmla="*/ 12 w 18"/>
              <a:gd name="T49" fmla="*/ 23 h 36"/>
              <a:gd name="T50" fmla="*/ 10 w 18"/>
              <a:gd name="T51" fmla="*/ 22 h 36"/>
              <a:gd name="T52" fmla="*/ 9 w 18"/>
              <a:gd name="T53" fmla="*/ 22 h 36"/>
              <a:gd name="T54" fmla="*/ 7 w 18"/>
              <a:gd name="T55" fmla="*/ 22 h 36"/>
              <a:gd name="T56" fmla="*/ 5 w 18"/>
              <a:gd name="T57" fmla="*/ 22 h 36"/>
              <a:gd name="T58" fmla="*/ 4 w 18"/>
              <a:gd name="T59" fmla="*/ 23 h 36"/>
              <a:gd name="T60" fmla="*/ 3 w 18"/>
              <a:gd name="T61" fmla="*/ 25 h 36"/>
              <a:gd name="T62" fmla="*/ 3 w 18"/>
              <a:gd name="T63" fmla="*/ 26 h 36"/>
              <a:gd name="T64" fmla="*/ 3 w 18"/>
              <a:gd name="T65" fmla="*/ 28 h 36"/>
              <a:gd name="T66" fmla="*/ 4 w 18"/>
              <a:gd name="T67" fmla="*/ 30 h 36"/>
              <a:gd name="T68" fmla="*/ 5 w 18"/>
              <a:gd name="T69" fmla="*/ 31 h 36"/>
              <a:gd name="T70" fmla="*/ 5 w 18"/>
              <a:gd name="T71" fmla="*/ 35 h 36"/>
              <a:gd name="T72" fmla="*/ 3 w 18"/>
              <a:gd name="T73" fmla="*/ 32 h 36"/>
              <a:gd name="T74" fmla="*/ 2 w 18"/>
              <a:gd name="T75" fmla="*/ 31 h 36"/>
              <a:gd name="T76" fmla="*/ 2 w 18"/>
              <a:gd name="T77" fmla="*/ 29 h 36"/>
              <a:gd name="T78" fmla="*/ 2 w 18"/>
              <a:gd name="T79" fmla="*/ 27 h 36"/>
              <a:gd name="T80" fmla="*/ 2 w 18"/>
              <a:gd name="T81" fmla="*/ 22 h 36"/>
              <a:gd name="T82" fmla="*/ 2 w 18"/>
              <a:gd name="T83" fmla="*/ 18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8" h="36">
                <a:moveTo>
                  <a:pt x="2" y="18"/>
                </a:moveTo>
                <a:lnTo>
                  <a:pt x="2" y="14"/>
                </a:lnTo>
                <a:lnTo>
                  <a:pt x="2" y="12"/>
                </a:lnTo>
                <a:lnTo>
                  <a:pt x="0" y="9"/>
                </a:lnTo>
                <a:lnTo>
                  <a:pt x="0" y="7"/>
                </a:lnTo>
                <a:lnTo>
                  <a:pt x="0" y="3"/>
                </a:lnTo>
                <a:lnTo>
                  <a:pt x="0" y="1"/>
                </a:lnTo>
                <a:lnTo>
                  <a:pt x="0" y="0"/>
                </a:lnTo>
                <a:lnTo>
                  <a:pt x="4" y="0"/>
                </a:lnTo>
                <a:lnTo>
                  <a:pt x="5" y="6"/>
                </a:lnTo>
                <a:lnTo>
                  <a:pt x="5" y="9"/>
                </a:lnTo>
                <a:lnTo>
                  <a:pt x="4" y="13"/>
                </a:lnTo>
                <a:lnTo>
                  <a:pt x="7" y="13"/>
                </a:lnTo>
                <a:lnTo>
                  <a:pt x="7" y="5"/>
                </a:lnTo>
                <a:lnTo>
                  <a:pt x="14" y="5"/>
                </a:lnTo>
                <a:lnTo>
                  <a:pt x="14" y="8"/>
                </a:lnTo>
                <a:lnTo>
                  <a:pt x="14" y="9"/>
                </a:lnTo>
                <a:lnTo>
                  <a:pt x="14" y="11"/>
                </a:lnTo>
                <a:lnTo>
                  <a:pt x="12" y="13"/>
                </a:lnTo>
                <a:lnTo>
                  <a:pt x="11" y="15"/>
                </a:lnTo>
                <a:lnTo>
                  <a:pt x="10" y="16"/>
                </a:lnTo>
                <a:lnTo>
                  <a:pt x="10" y="17"/>
                </a:lnTo>
                <a:lnTo>
                  <a:pt x="17" y="25"/>
                </a:lnTo>
                <a:lnTo>
                  <a:pt x="14" y="25"/>
                </a:lnTo>
                <a:lnTo>
                  <a:pt x="12" y="23"/>
                </a:lnTo>
                <a:lnTo>
                  <a:pt x="10" y="22"/>
                </a:lnTo>
                <a:lnTo>
                  <a:pt x="9" y="22"/>
                </a:lnTo>
                <a:lnTo>
                  <a:pt x="7" y="22"/>
                </a:lnTo>
                <a:lnTo>
                  <a:pt x="5" y="22"/>
                </a:lnTo>
                <a:lnTo>
                  <a:pt x="4" y="23"/>
                </a:lnTo>
                <a:lnTo>
                  <a:pt x="3" y="25"/>
                </a:lnTo>
                <a:lnTo>
                  <a:pt x="3" y="26"/>
                </a:lnTo>
                <a:lnTo>
                  <a:pt x="3" y="28"/>
                </a:lnTo>
                <a:lnTo>
                  <a:pt x="4" y="30"/>
                </a:lnTo>
                <a:lnTo>
                  <a:pt x="5" y="31"/>
                </a:lnTo>
                <a:lnTo>
                  <a:pt x="5" y="35"/>
                </a:lnTo>
                <a:lnTo>
                  <a:pt x="3" y="32"/>
                </a:lnTo>
                <a:lnTo>
                  <a:pt x="2" y="31"/>
                </a:lnTo>
                <a:lnTo>
                  <a:pt x="2" y="29"/>
                </a:lnTo>
                <a:lnTo>
                  <a:pt x="2" y="27"/>
                </a:lnTo>
                <a:lnTo>
                  <a:pt x="2" y="22"/>
                </a:lnTo>
                <a:lnTo>
                  <a:pt x="2" y="18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91" name="Freeform 90">
            <a:extLst>
              <a:ext uri="{FF2B5EF4-FFF2-40B4-BE49-F238E27FC236}">
                <a16:creationId xmlns:a16="http://schemas.microsoft.com/office/drawing/2014/main" id="{58729C09-9D5D-E552-AB24-C6647A1D3085}"/>
              </a:ext>
            </a:extLst>
          </p:cNvPr>
          <p:cNvSpPr>
            <a:spLocks/>
          </p:cNvSpPr>
          <p:nvPr/>
        </p:nvSpPr>
        <p:spPr bwMode="auto">
          <a:xfrm>
            <a:off x="9837113" y="5124296"/>
            <a:ext cx="38100" cy="31750"/>
          </a:xfrm>
          <a:custGeom>
            <a:avLst/>
            <a:gdLst>
              <a:gd name="T0" fmla="*/ 14 w 19"/>
              <a:gd name="T1" fmla="*/ 4 h 17"/>
              <a:gd name="T2" fmla="*/ 17 w 19"/>
              <a:gd name="T3" fmla="*/ 8 h 17"/>
              <a:gd name="T4" fmla="*/ 17 w 19"/>
              <a:gd name="T5" fmla="*/ 9 h 17"/>
              <a:gd name="T6" fmla="*/ 18 w 19"/>
              <a:gd name="T7" fmla="*/ 11 h 17"/>
              <a:gd name="T8" fmla="*/ 17 w 19"/>
              <a:gd name="T9" fmla="*/ 13 h 17"/>
              <a:gd name="T10" fmla="*/ 17 w 19"/>
              <a:gd name="T11" fmla="*/ 14 h 17"/>
              <a:gd name="T12" fmla="*/ 15 w 19"/>
              <a:gd name="T13" fmla="*/ 15 h 17"/>
              <a:gd name="T14" fmla="*/ 13 w 19"/>
              <a:gd name="T15" fmla="*/ 16 h 17"/>
              <a:gd name="T16" fmla="*/ 10 w 19"/>
              <a:gd name="T17" fmla="*/ 16 h 17"/>
              <a:gd name="T18" fmla="*/ 8 w 19"/>
              <a:gd name="T19" fmla="*/ 16 h 17"/>
              <a:gd name="T20" fmla="*/ 4 w 19"/>
              <a:gd name="T21" fmla="*/ 14 h 17"/>
              <a:gd name="T22" fmla="*/ 1 w 19"/>
              <a:gd name="T23" fmla="*/ 10 h 17"/>
              <a:gd name="T24" fmla="*/ 0 w 19"/>
              <a:gd name="T25" fmla="*/ 9 h 17"/>
              <a:gd name="T26" fmla="*/ 0 w 19"/>
              <a:gd name="T27" fmla="*/ 7 h 17"/>
              <a:gd name="T28" fmla="*/ 9 w 19"/>
              <a:gd name="T29" fmla="*/ 0 h 17"/>
              <a:gd name="T30" fmla="*/ 17 w 19"/>
              <a:gd name="T31" fmla="*/ 7 h 17"/>
              <a:gd name="T32" fmla="*/ 14 w 19"/>
              <a:gd name="T33" fmla="*/ 4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9" h="17">
                <a:moveTo>
                  <a:pt x="14" y="4"/>
                </a:moveTo>
                <a:lnTo>
                  <a:pt x="17" y="8"/>
                </a:lnTo>
                <a:lnTo>
                  <a:pt x="17" y="9"/>
                </a:lnTo>
                <a:lnTo>
                  <a:pt x="18" y="11"/>
                </a:lnTo>
                <a:lnTo>
                  <a:pt x="17" y="13"/>
                </a:lnTo>
                <a:lnTo>
                  <a:pt x="17" y="14"/>
                </a:lnTo>
                <a:lnTo>
                  <a:pt x="15" y="15"/>
                </a:lnTo>
                <a:lnTo>
                  <a:pt x="13" y="16"/>
                </a:lnTo>
                <a:lnTo>
                  <a:pt x="10" y="16"/>
                </a:lnTo>
                <a:lnTo>
                  <a:pt x="8" y="16"/>
                </a:lnTo>
                <a:lnTo>
                  <a:pt x="4" y="14"/>
                </a:lnTo>
                <a:lnTo>
                  <a:pt x="1" y="10"/>
                </a:lnTo>
                <a:lnTo>
                  <a:pt x="0" y="9"/>
                </a:lnTo>
                <a:lnTo>
                  <a:pt x="0" y="7"/>
                </a:lnTo>
                <a:lnTo>
                  <a:pt x="9" y="0"/>
                </a:lnTo>
                <a:lnTo>
                  <a:pt x="17" y="7"/>
                </a:lnTo>
                <a:lnTo>
                  <a:pt x="14" y="4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92" name="Freeform 91">
            <a:extLst>
              <a:ext uri="{FF2B5EF4-FFF2-40B4-BE49-F238E27FC236}">
                <a16:creationId xmlns:a16="http://schemas.microsoft.com/office/drawing/2014/main" id="{6445C1B9-7C80-7607-A10B-FC979E709487}"/>
              </a:ext>
            </a:extLst>
          </p:cNvPr>
          <p:cNvSpPr>
            <a:spLocks/>
          </p:cNvSpPr>
          <p:nvPr/>
        </p:nvSpPr>
        <p:spPr bwMode="auto">
          <a:xfrm>
            <a:off x="9532313" y="5262409"/>
            <a:ext cx="93663" cy="31750"/>
          </a:xfrm>
          <a:custGeom>
            <a:avLst/>
            <a:gdLst>
              <a:gd name="T0" fmla="*/ 45 w 46"/>
              <a:gd name="T1" fmla="*/ 12 h 17"/>
              <a:gd name="T2" fmla="*/ 43 w 46"/>
              <a:gd name="T3" fmla="*/ 12 h 17"/>
              <a:gd name="T4" fmla="*/ 38 w 46"/>
              <a:gd name="T5" fmla="*/ 11 h 17"/>
              <a:gd name="T6" fmla="*/ 36 w 46"/>
              <a:gd name="T7" fmla="*/ 11 h 17"/>
              <a:gd name="T8" fmla="*/ 35 w 46"/>
              <a:gd name="T9" fmla="*/ 10 h 17"/>
              <a:gd name="T10" fmla="*/ 34 w 46"/>
              <a:gd name="T11" fmla="*/ 11 h 17"/>
              <a:gd name="T12" fmla="*/ 31 w 46"/>
              <a:gd name="T13" fmla="*/ 13 h 17"/>
              <a:gd name="T14" fmla="*/ 27 w 46"/>
              <a:gd name="T15" fmla="*/ 15 h 17"/>
              <a:gd name="T16" fmla="*/ 23 w 46"/>
              <a:gd name="T17" fmla="*/ 16 h 17"/>
              <a:gd name="T18" fmla="*/ 17 w 46"/>
              <a:gd name="T19" fmla="*/ 16 h 17"/>
              <a:gd name="T20" fmla="*/ 14 w 46"/>
              <a:gd name="T21" fmla="*/ 15 h 17"/>
              <a:gd name="T22" fmla="*/ 13 w 46"/>
              <a:gd name="T23" fmla="*/ 15 h 17"/>
              <a:gd name="T24" fmla="*/ 13 w 46"/>
              <a:gd name="T25" fmla="*/ 13 h 17"/>
              <a:gd name="T26" fmla="*/ 12 w 46"/>
              <a:gd name="T27" fmla="*/ 12 h 17"/>
              <a:gd name="T28" fmla="*/ 12 w 46"/>
              <a:gd name="T29" fmla="*/ 11 h 17"/>
              <a:gd name="T30" fmla="*/ 12 w 46"/>
              <a:gd name="T31" fmla="*/ 9 h 17"/>
              <a:gd name="T32" fmla="*/ 8 w 46"/>
              <a:gd name="T33" fmla="*/ 11 h 17"/>
              <a:gd name="T34" fmla="*/ 6 w 46"/>
              <a:gd name="T35" fmla="*/ 12 h 17"/>
              <a:gd name="T36" fmla="*/ 4 w 46"/>
              <a:gd name="T37" fmla="*/ 12 h 17"/>
              <a:gd name="T38" fmla="*/ 3 w 46"/>
              <a:gd name="T39" fmla="*/ 12 h 17"/>
              <a:gd name="T40" fmla="*/ 0 w 46"/>
              <a:gd name="T41" fmla="*/ 11 h 17"/>
              <a:gd name="T42" fmla="*/ 0 w 46"/>
              <a:gd name="T43" fmla="*/ 10 h 17"/>
              <a:gd name="T44" fmla="*/ 0 w 46"/>
              <a:gd name="T45" fmla="*/ 9 h 17"/>
              <a:gd name="T46" fmla="*/ 0 w 46"/>
              <a:gd name="T47" fmla="*/ 7 h 17"/>
              <a:gd name="T48" fmla="*/ 0 w 46"/>
              <a:gd name="T49" fmla="*/ 5 h 17"/>
              <a:gd name="T50" fmla="*/ 3 w 46"/>
              <a:gd name="T51" fmla="*/ 4 h 17"/>
              <a:gd name="T52" fmla="*/ 9 w 46"/>
              <a:gd name="T53" fmla="*/ 3 h 17"/>
              <a:gd name="T54" fmla="*/ 13 w 46"/>
              <a:gd name="T55" fmla="*/ 3 h 17"/>
              <a:gd name="T56" fmla="*/ 13 w 46"/>
              <a:gd name="T57" fmla="*/ 6 h 17"/>
              <a:gd name="T58" fmla="*/ 21 w 46"/>
              <a:gd name="T59" fmla="*/ 7 h 17"/>
              <a:gd name="T60" fmla="*/ 31 w 46"/>
              <a:gd name="T61" fmla="*/ 9 h 17"/>
              <a:gd name="T62" fmla="*/ 34 w 46"/>
              <a:gd name="T63" fmla="*/ 9 h 17"/>
              <a:gd name="T64" fmla="*/ 34 w 46"/>
              <a:gd name="T65" fmla="*/ 7 h 17"/>
              <a:gd name="T66" fmla="*/ 31 w 46"/>
              <a:gd name="T67" fmla="*/ 6 h 17"/>
              <a:gd name="T68" fmla="*/ 31 w 46"/>
              <a:gd name="T69" fmla="*/ 5 h 17"/>
              <a:gd name="T70" fmla="*/ 31 w 46"/>
              <a:gd name="T71" fmla="*/ 4 h 17"/>
              <a:gd name="T72" fmla="*/ 31 w 46"/>
              <a:gd name="T73" fmla="*/ 3 h 17"/>
              <a:gd name="T74" fmla="*/ 31 w 46"/>
              <a:gd name="T75" fmla="*/ 1 h 17"/>
              <a:gd name="T76" fmla="*/ 32 w 46"/>
              <a:gd name="T77" fmla="*/ 0 h 17"/>
              <a:gd name="T78" fmla="*/ 35 w 46"/>
              <a:gd name="T79" fmla="*/ 0 h 17"/>
              <a:gd name="T80" fmla="*/ 37 w 46"/>
              <a:gd name="T81" fmla="*/ 1 h 17"/>
              <a:gd name="T82" fmla="*/ 39 w 46"/>
              <a:gd name="T83" fmla="*/ 4 h 17"/>
              <a:gd name="T84" fmla="*/ 41 w 46"/>
              <a:gd name="T85" fmla="*/ 6 h 17"/>
              <a:gd name="T86" fmla="*/ 45 w 46"/>
              <a:gd name="T87" fmla="*/ 6 h 17"/>
              <a:gd name="T88" fmla="*/ 45 w 46"/>
              <a:gd name="T89" fmla="*/ 12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46" h="17">
                <a:moveTo>
                  <a:pt x="45" y="12"/>
                </a:moveTo>
                <a:lnTo>
                  <a:pt x="43" y="12"/>
                </a:lnTo>
                <a:lnTo>
                  <a:pt x="38" y="11"/>
                </a:lnTo>
                <a:lnTo>
                  <a:pt x="36" y="11"/>
                </a:lnTo>
                <a:lnTo>
                  <a:pt x="35" y="10"/>
                </a:lnTo>
                <a:lnTo>
                  <a:pt x="34" y="11"/>
                </a:lnTo>
                <a:lnTo>
                  <a:pt x="31" y="13"/>
                </a:lnTo>
                <a:lnTo>
                  <a:pt x="27" y="15"/>
                </a:lnTo>
                <a:lnTo>
                  <a:pt x="23" y="16"/>
                </a:lnTo>
                <a:lnTo>
                  <a:pt x="17" y="16"/>
                </a:lnTo>
                <a:lnTo>
                  <a:pt x="14" y="15"/>
                </a:lnTo>
                <a:lnTo>
                  <a:pt x="13" y="15"/>
                </a:lnTo>
                <a:lnTo>
                  <a:pt x="13" y="13"/>
                </a:lnTo>
                <a:lnTo>
                  <a:pt x="12" y="12"/>
                </a:lnTo>
                <a:lnTo>
                  <a:pt x="12" y="11"/>
                </a:lnTo>
                <a:lnTo>
                  <a:pt x="12" y="9"/>
                </a:lnTo>
                <a:lnTo>
                  <a:pt x="8" y="11"/>
                </a:lnTo>
                <a:lnTo>
                  <a:pt x="6" y="12"/>
                </a:lnTo>
                <a:lnTo>
                  <a:pt x="4" y="12"/>
                </a:lnTo>
                <a:lnTo>
                  <a:pt x="3" y="12"/>
                </a:lnTo>
                <a:lnTo>
                  <a:pt x="0" y="11"/>
                </a:lnTo>
                <a:lnTo>
                  <a:pt x="0" y="10"/>
                </a:lnTo>
                <a:lnTo>
                  <a:pt x="0" y="9"/>
                </a:lnTo>
                <a:lnTo>
                  <a:pt x="0" y="7"/>
                </a:lnTo>
                <a:lnTo>
                  <a:pt x="0" y="5"/>
                </a:lnTo>
                <a:lnTo>
                  <a:pt x="3" y="4"/>
                </a:lnTo>
                <a:lnTo>
                  <a:pt x="9" y="3"/>
                </a:lnTo>
                <a:lnTo>
                  <a:pt x="13" y="3"/>
                </a:lnTo>
                <a:lnTo>
                  <a:pt x="13" y="6"/>
                </a:lnTo>
                <a:lnTo>
                  <a:pt x="21" y="7"/>
                </a:lnTo>
                <a:lnTo>
                  <a:pt x="31" y="9"/>
                </a:lnTo>
                <a:lnTo>
                  <a:pt x="34" y="9"/>
                </a:lnTo>
                <a:lnTo>
                  <a:pt x="34" y="7"/>
                </a:lnTo>
                <a:lnTo>
                  <a:pt x="31" y="6"/>
                </a:lnTo>
                <a:lnTo>
                  <a:pt x="31" y="5"/>
                </a:lnTo>
                <a:lnTo>
                  <a:pt x="31" y="4"/>
                </a:lnTo>
                <a:lnTo>
                  <a:pt x="31" y="3"/>
                </a:lnTo>
                <a:lnTo>
                  <a:pt x="31" y="1"/>
                </a:lnTo>
                <a:lnTo>
                  <a:pt x="32" y="0"/>
                </a:lnTo>
                <a:lnTo>
                  <a:pt x="35" y="0"/>
                </a:lnTo>
                <a:lnTo>
                  <a:pt x="37" y="1"/>
                </a:lnTo>
                <a:lnTo>
                  <a:pt x="39" y="4"/>
                </a:lnTo>
                <a:lnTo>
                  <a:pt x="41" y="6"/>
                </a:lnTo>
                <a:lnTo>
                  <a:pt x="45" y="6"/>
                </a:lnTo>
                <a:lnTo>
                  <a:pt x="45" y="12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93" name="Freeform 92">
            <a:extLst>
              <a:ext uri="{FF2B5EF4-FFF2-40B4-BE49-F238E27FC236}">
                <a16:creationId xmlns:a16="http://schemas.microsoft.com/office/drawing/2014/main" id="{CB69AB82-816F-0FBA-DF35-C76BDDE12D0A}"/>
              </a:ext>
            </a:extLst>
          </p:cNvPr>
          <p:cNvSpPr>
            <a:spLocks/>
          </p:cNvSpPr>
          <p:nvPr/>
        </p:nvSpPr>
        <p:spPr bwMode="auto">
          <a:xfrm>
            <a:off x="9792663" y="5092546"/>
            <a:ext cx="33338" cy="31750"/>
          </a:xfrm>
          <a:custGeom>
            <a:avLst/>
            <a:gdLst>
              <a:gd name="T0" fmla="*/ 16 w 17"/>
              <a:gd name="T1" fmla="*/ 0 h 17"/>
              <a:gd name="T2" fmla="*/ 16 w 17"/>
              <a:gd name="T3" fmla="*/ 8 h 17"/>
              <a:gd name="T4" fmla="*/ 14 w 17"/>
              <a:gd name="T5" fmla="*/ 10 h 17"/>
              <a:gd name="T6" fmla="*/ 13 w 17"/>
              <a:gd name="T7" fmla="*/ 13 h 17"/>
              <a:gd name="T8" fmla="*/ 9 w 17"/>
              <a:gd name="T9" fmla="*/ 16 h 17"/>
              <a:gd name="T10" fmla="*/ 6 w 17"/>
              <a:gd name="T11" fmla="*/ 16 h 17"/>
              <a:gd name="T12" fmla="*/ 5 w 17"/>
              <a:gd name="T13" fmla="*/ 13 h 17"/>
              <a:gd name="T14" fmla="*/ 2 w 17"/>
              <a:gd name="T15" fmla="*/ 13 h 17"/>
              <a:gd name="T16" fmla="*/ 0 w 17"/>
              <a:gd name="T17" fmla="*/ 5 h 17"/>
              <a:gd name="T18" fmla="*/ 5 w 17"/>
              <a:gd name="T19" fmla="*/ 0 h 17"/>
              <a:gd name="T20" fmla="*/ 9 w 17"/>
              <a:gd name="T21" fmla="*/ 0 h 17"/>
              <a:gd name="T22" fmla="*/ 16 w 17"/>
              <a:gd name="T23" fmla="*/ 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7" h="17">
                <a:moveTo>
                  <a:pt x="16" y="0"/>
                </a:moveTo>
                <a:lnTo>
                  <a:pt x="16" y="8"/>
                </a:lnTo>
                <a:lnTo>
                  <a:pt x="14" y="10"/>
                </a:lnTo>
                <a:lnTo>
                  <a:pt x="13" y="13"/>
                </a:lnTo>
                <a:lnTo>
                  <a:pt x="9" y="16"/>
                </a:lnTo>
                <a:lnTo>
                  <a:pt x="6" y="16"/>
                </a:lnTo>
                <a:lnTo>
                  <a:pt x="5" y="13"/>
                </a:lnTo>
                <a:lnTo>
                  <a:pt x="2" y="13"/>
                </a:lnTo>
                <a:lnTo>
                  <a:pt x="0" y="5"/>
                </a:lnTo>
                <a:lnTo>
                  <a:pt x="5" y="0"/>
                </a:lnTo>
                <a:lnTo>
                  <a:pt x="9" y="0"/>
                </a:lnTo>
                <a:lnTo>
                  <a:pt x="16" y="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94" name="Freeform 93">
            <a:extLst>
              <a:ext uri="{FF2B5EF4-FFF2-40B4-BE49-F238E27FC236}">
                <a16:creationId xmlns:a16="http://schemas.microsoft.com/office/drawing/2014/main" id="{43FBAC6B-5C9F-3B19-AAFA-7B4933C11257}"/>
              </a:ext>
            </a:extLst>
          </p:cNvPr>
          <p:cNvSpPr>
            <a:spLocks/>
          </p:cNvSpPr>
          <p:nvPr/>
        </p:nvSpPr>
        <p:spPr bwMode="auto">
          <a:xfrm>
            <a:off x="9711700" y="4770284"/>
            <a:ext cx="141288" cy="119063"/>
          </a:xfrm>
          <a:custGeom>
            <a:avLst/>
            <a:gdLst>
              <a:gd name="T0" fmla="*/ 55 w 70"/>
              <a:gd name="T1" fmla="*/ 41 h 63"/>
              <a:gd name="T2" fmla="*/ 52 w 70"/>
              <a:gd name="T3" fmla="*/ 41 h 63"/>
              <a:gd name="T4" fmla="*/ 49 w 70"/>
              <a:gd name="T5" fmla="*/ 44 h 63"/>
              <a:gd name="T6" fmla="*/ 49 w 70"/>
              <a:gd name="T7" fmla="*/ 47 h 63"/>
              <a:gd name="T8" fmla="*/ 52 w 70"/>
              <a:gd name="T9" fmla="*/ 50 h 63"/>
              <a:gd name="T10" fmla="*/ 54 w 70"/>
              <a:gd name="T11" fmla="*/ 52 h 63"/>
              <a:gd name="T12" fmla="*/ 55 w 70"/>
              <a:gd name="T13" fmla="*/ 55 h 63"/>
              <a:gd name="T14" fmla="*/ 53 w 70"/>
              <a:gd name="T15" fmla="*/ 59 h 63"/>
              <a:gd name="T16" fmla="*/ 49 w 70"/>
              <a:gd name="T17" fmla="*/ 62 h 63"/>
              <a:gd name="T18" fmla="*/ 46 w 70"/>
              <a:gd name="T19" fmla="*/ 58 h 63"/>
              <a:gd name="T20" fmla="*/ 42 w 70"/>
              <a:gd name="T21" fmla="*/ 58 h 63"/>
              <a:gd name="T22" fmla="*/ 37 w 70"/>
              <a:gd name="T23" fmla="*/ 57 h 63"/>
              <a:gd name="T24" fmla="*/ 32 w 70"/>
              <a:gd name="T25" fmla="*/ 54 h 63"/>
              <a:gd name="T26" fmla="*/ 30 w 70"/>
              <a:gd name="T27" fmla="*/ 48 h 63"/>
              <a:gd name="T28" fmla="*/ 29 w 70"/>
              <a:gd name="T29" fmla="*/ 43 h 63"/>
              <a:gd name="T30" fmla="*/ 30 w 70"/>
              <a:gd name="T31" fmla="*/ 39 h 63"/>
              <a:gd name="T32" fmla="*/ 29 w 70"/>
              <a:gd name="T33" fmla="*/ 32 h 63"/>
              <a:gd name="T34" fmla="*/ 23 w 70"/>
              <a:gd name="T35" fmla="*/ 35 h 63"/>
              <a:gd name="T36" fmla="*/ 21 w 70"/>
              <a:gd name="T37" fmla="*/ 36 h 63"/>
              <a:gd name="T38" fmla="*/ 17 w 70"/>
              <a:gd name="T39" fmla="*/ 35 h 63"/>
              <a:gd name="T40" fmla="*/ 13 w 70"/>
              <a:gd name="T41" fmla="*/ 35 h 63"/>
              <a:gd name="T42" fmla="*/ 9 w 70"/>
              <a:gd name="T43" fmla="*/ 34 h 63"/>
              <a:gd name="T44" fmla="*/ 8 w 70"/>
              <a:gd name="T45" fmla="*/ 37 h 63"/>
              <a:gd name="T46" fmla="*/ 4 w 70"/>
              <a:gd name="T47" fmla="*/ 49 h 63"/>
              <a:gd name="T48" fmla="*/ 1 w 70"/>
              <a:gd name="T49" fmla="*/ 52 h 63"/>
              <a:gd name="T50" fmla="*/ 0 w 70"/>
              <a:gd name="T51" fmla="*/ 49 h 63"/>
              <a:gd name="T52" fmla="*/ 1 w 70"/>
              <a:gd name="T53" fmla="*/ 42 h 63"/>
              <a:gd name="T54" fmla="*/ 0 w 70"/>
              <a:gd name="T55" fmla="*/ 37 h 63"/>
              <a:gd name="T56" fmla="*/ 0 w 70"/>
              <a:gd name="T57" fmla="*/ 32 h 63"/>
              <a:gd name="T58" fmla="*/ 6 w 70"/>
              <a:gd name="T59" fmla="*/ 26 h 63"/>
              <a:gd name="T60" fmla="*/ 9 w 70"/>
              <a:gd name="T61" fmla="*/ 22 h 63"/>
              <a:gd name="T62" fmla="*/ 13 w 70"/>
              <a:gd name="T63" fmla="*/ 19 h 63"/>
              <a:gd name="T64" fmla="*/ 16 w 70"/>
              <a:gd name="T65" fmla="*/ 16 h 63"/>
              <a:gd name="T66" fmla="*/ 22 w 70"/>
              <a:gd name="T67" fmla="*/ 16 h 63"/>
              <a:gd name="T68" fmla="*/ 24 w 70"/>
              <a:gd name="T69" fmla="*/ 18 h 63"/>
              <a:gd name="T70" fmla="*/ 26 w 70"/>
              <a:gd name="T71" fmla="*/ 22 h 63"/>
              <a:gd name="T72" fmla="*/ 28 w 70"/>
              <a:gd name="T73" fmla="*/ 22 h 63"/>
              <a:gd name="T74" fmla="*/ 32 w 70"/>
              <a:gd name="T75" fmla="*/ 21 h 63"/>
              <a:gd name="T76" fmla="*/ 34 w 70"/>
              <a:gd name="T77" fmla="*/ 18 h 63"/>
              <a:gd name="T78" fmla="*/ 36 w 70"/>
              <a:gd name="T79" fmla="*/ 16 h 63"/>
              <a:gd name="T80" fmla="*/ 41 w 70"/>
              <a:gd name="T81" fmla="*/ 13 h 63"/>
              <a:gd name="T82" fmla="*/ 46 w 70"/>
              <a:gd name="T83" fmla="*/ 10 h 63"/>
              <a:gd name="T84" fmla="*/ 48 w 70"/>
              <a:gd name="T85" fmla="*/ 7 h 63"/>
              <a:gd name="T86" fmla="*/ 48 w 70"/>
              <a:gd name="T87" fmla="*/ 0 h 63"/>
              <a:gd name="T88" fmla="*/ 52 w 70"/>
              <a:gd name="T89" fmla="*/ 0 h 63"/>
              <a:gd name="T90" fmla="*/ 56 w 70"/>
              <a:gd name="T91" fmla="*/ 3 h 63"/>
              <a:gd name="T92" fmla="*/ 58 w 70"/>
              <a:gd name="T93" fmla="*/ 6 h 63"/>
              <a:gd name="T94" fmla="*/ 59 w 70"/>
              <a:gd name="T95" fmla="*/ 9 h 63"/>
              <a:gd name="T96" fmla="*/ 67 w 70"/>
              <a:gd name="T97" fmla="*/ 31 h 63"/>
              <a:gd name="T98" fmla="*/ 69 w 70"/>
              <a:gd name="T99" fmla="*/ 37 h 63"/>
              <a:gd name="T100" fmla="*/ 68 w 70"/>
              <a:gd name="T101" fmla="*/ 41 h 63"/>
              <a:gd name="T102" fmla="*/ 64 w 70"/>
              <a:gd name="T103" fmla="*/ 45 h 63"/>
              <a:gd name="T104" fmla="*/ 62 w 70"/>
              <a:gd name="T105" fmla="*/ 50 h 63"/>
              <a:gd name="T106" fmla="*/ 62 w 70"/>
              <a:gd name="T107" fmla="*/ 52 h 63"/>
              <a:gd name="T108" fmla="*/ 59 w 70"/>
              <a:gd name="T109" fmla="*/ 48 h 63"/>
              <a:gd name="T110" fmla="*/ 57 w 70"/>
              <a:gd name="T111" fmla="*/ 43 h 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70" h="63">
                <a:moveTo>
                  <a:pt x="57" y="43"/>
                </a:moveTo>
                <a:lnTo>
                  <a:pt x="55" y="41"/>
                </a:lnTo>
                <a:lnTo>
                  <a:pt x="53" y="39"/>
                </a:lnTo>
                <a:lnTo>
                  <a:pt x="52" y="41"/>
                </a:lnTo>
                <a:lnTo>
                  <a:pt x="50" y="43"/>
                </a:lnTo>
                <a:lnTo>
                  <a:pt x="49" y="44"/>
                </a:lnTo>
                <a:lnTo>
                  <a:pt x="49" y="45"/>
                </a:lnTo>
                <a:lnTo>
                  <a:pt x="49" y="47"/>
                </a:lnTo>
                <a:lnTo>
                  <a:pt x="50" y="48"/>
                </a:lnTo>
                <a:lnTo>
                  <a:pt x="52" y="50"/>
                </a:lnTo>
                <a:lnTo>
                  <a:pt x="53" y="52"/>
                </a:lnTo>
                <a:lnTo>
                  <a:pt x="54" y="52"/>
                </a:lnTo>
                <a:lnTo>
                  <a:pt x="55" y="54"/>
                </a:lnTo>
                <a:lnTo>
                  <a:pt x="55" y="55"/>
                </a:lnTo>
                <a:lnTo>
                  <a:pt x="55" y="58"/>
                </a:lnTo>
                <a:lnTo>
                  <a:pt x="53" y="59"/>
                </a:lnTo>
                <a:lnTo>
                  <a:pt x="52" y="62"/>
                </a:lnTo>
                <a:lnTo>
                  <a:pt x="49" y="62"/>
                </a:lnTo>
                <a:lnTo>
                  <a:pt x="48" y="61"/>
                </a:lnTo>
                <a:lnTo>
                  <a:pt x="46" y="58"/>
                </a:lnTo>
                <a:lnTo>
                  <a:pt x="45" y="58"/>
                </a:lnTo>
                <a:lnTo>
                  <a:pt x="42" y="58"/>
                </a:lnTo>
                <a:lnTo>
                  <a:pt x="39" y="58"/>
                </a:lnTo>
                <a:lnTo>
                  <a:pt x="37" y="57"/>
                </a:lnTo>
                <a:lnTo>
                  <a:pt x="35" y="56"/>
                </a:lnTo>
                <a:lnTo>
                  <a:pt x="32" y="54"/>
                </a:lnTo>
                <a:lnTo>
                  <a:pt x="31" y="52"/>
                </a:lnTo>
                <a:lnTo>
                  <a:pt x="30" y="48"/>
                </a:lnTo>
                <a:lnTo>
                  <a:pt x="29" y="45"/>
                </a:lnTo>
                <a:lnTo>
                  <a:pt x="29" y="43"/>
                </a:lnTo>
                <a:lnTo>
                  <a:pt x="29" y="41"/>
                </a:lnTo>
                <a:lnTo>
                  <a:pt x="30" y="39"/>
                </a:lnTo>
                <a:lnTo>
                  <a:pt x="32" y="37"/>
                </a:lnTo>
                <a:lnTo>
                  <a:pt x="29" y="32"/>
                </a:lnTo>
                <a:lnTo>
                  <a:pt x="23" y="32"/>
                </a:lnTo>
                <a:lnTo>
                  <a:pt x="23" y="35"/>
                </a:lnTo>
                <a:lnTo>
                  <a:pt x="23" y="37"/>
                </a:lnTo>
                <a:lnTo>
                  <a:pt x="21" y="36"/>
                </a:lnTo>
                <a:lnTo>
                  <a:pt x="19" y="36"/>
                </a:lnTo>
                <a:lnTo>
                  <a:pt x="17" y="35"/>
                </a:lnTo>
                <a:lnTo>
                  <a:pt x="16" y="37"/>
                </a:lnTo>
                <a:lnTo>
                  <a:pt x="13" y="35"/>
                </a:lnTo>
                <a:lnTo>
                  <a:pt x="10" y="32"/>
                </a:lnTo>
                <a:lnTo>
                  <a:pt x="9" y="34"/>
                </a:lnTo>
                <a:lnTo>
                  <a:pt x="9" y="35"/>
                </a:lnTo>
                <a:lnTo>
                  <a:pt x="8" y="37"/>
                </a:lnTo>
                <a:lnTo>
                  <a:pt x="6" y="44"/>
                </a:lnTo>
                <a:lnTo>
                  <a:pt x="4" y="49"/>
                </a:lnTo>
                <a:lnTo>
                  <a:pt x="3" y="52"/>
                </a:lnTo>
                <a:lnTo>
                  <a:pt x="1" y="52"/>
                </a:lnTo>
                <a:lnTo>
                  <a:pt x="0" y="52"/>
                </a:lnTo>
                <a:lnTo>
                  <a:pt x="0" y="49"/>
                </a:lnTo>
                <a:lnTo>
                  <a:pt x="0" y="48"/>
                </a:lnTo>
                <a:lnTo>
                  <a:pt x="1" y="42"/>
                </a:lnTo>
                <a:lnTo>
                  <a:pt x="0" y="39"/>
                </a:lnTo>
                <a:lnTo>
                  <a:pt x="0" y="37"/>
                </a:lnTo>
                <a:lnTo>
                  <a:pt x="0" y="35"/>
                </a:lnTo>
                <a:lnTo>
                  <a:pt x="0" y="32"/>
                </a:lnTo>
                <a:lnTo>
                  <a:pt x="3" y="26"/>
                </a:lnTo>
                <a:lnTo>
                  <a:pt x="6" y="26"/>
                </a:lnTo>
                <a:lnTo>
                  <a:pt x="8" y="25"/>
                </a:lnTo>
                <a:lnTo>
                  <a:pt x="9" y="22"/>
                </a:lnTo>
                <a:lnTo>
                  <a:pt x="12" y="21"/>
                </a:lnTo>
                <a:lnTo>
                  <a:pt x="13" y="19"/>
                </a:lnTo>
                <a:lnTo>
                  <a:pt x="14" y="17"/>
                </a:lnTo>
                <a:lnTo>
                  <a:pt x="16" y="16"/>
                </a:lnTo>
                <a:lnTo>
                  <a:pt x="19" y="16"/>
                </a:lnTo>
                <a:lnTo>
                  <a:pt x="22" y="16"/>
                </a:lnTo>
                <a:lnTo>
                  <a:pt x="23" y="17"/>
                </a:lnTo>
                <a:lnTo>
                  <a:pt x="24" y="18"/>
                </a:lnTo>
                <a:lnTo>
                  <a:pt x="26" y="20"/>
                </a:lnTo>
                <a:lnTo>
                  <a:pt x="26" y="22"/>
                </a:lnTo>
                <a:lnTo>
                  <a:pt x="27" y="22"/>
                </a:lnTo>
                <a:lnTo>
                  <a:pt x="28" y="22"/>
                </a:lnTo>
                <a:lnTo>
                  <a:pt x="32" y="22"/>
                </a:lnTo>
                <a:lnTo>
                  <a:pt x="32" y="21"/>
                </a:lnTo>
                <a:lnTo>
                  <a:pt x="32" y="19"/>
                </a:lnTo>
                <a:lnTo>
                  <a:pt x="34" y="18"/>
                </a:lnTo>
                <a:lnTo>
                  <a:pt x="36" y="17"/>
                </a:lnTo>
                <a:lnTo>
                  <a:pt x="36" y="16"/>
                </a:lnTo>
                <a:lnTo>
                  <a:pt x="37" y="13"/>
                </a:lnTo>
                <a:lnTo>
                  <a:pt x="41" y="13"/>
                </a:lnTo>
                <a:lnTo>
                  <a:pt x="44" y="12"/>
                </a:lnTo>
                <a:lnTo>
                  <a:pt x="46" y="10"/>
                </a:lnTo>
                <a:lnTo>
                  <a:pt x="46" y="9"/>
                </a:lnTo>
                <a:lnTo>
                  <a:pt x="48" y="7"/>
                </a:lnTo>
                <a:lnTo>
                  <a:pt x="48" y="4"/>
                </a:lnTo>
                <a:lnTo>
                  <a:pt x="48" y="0"/>
                </a:lnTo>
                <a:lnTo>
                  <a:pt x="50" y="0"/>
                </a:lnTo>
                <a:lnTo>
                  <a:pt x="52" y="0"/>
                </a:lnTo>
                <a:lnTo>
                  <a:pt x="54" y="3"/>
                </a:lnTo>
                <a:lnTo>
                  <a:pt x="56" y="3"/>
                </a:lnTo>
                <a:lnTo>
                  <a:pt x="57" y="4"/>
                </a:lnTo>
                <a:lnTo>
                  <a:pt x="58" y="6"/>
                </a:lnTo>
                <a:lnTo>
                  <a:pt x="59" y="8"/>
                </a:lnTo>
                <a:lnTo>
                  <a:pt x="59" y="9"/>
                </a:lnTo>
                <a:lnTo>
                  <a:pt x="64" y="20"/>
                </a:lnTo>
                <a:lnTo>
                  <a:pt x="67" y="31"/>
                </a:lnTo>
                <a:lnTo>
                  <a:pt x="68" y="35"/>
                </a:lnTo>
                <a:lnTo>
                  <a:pt x="69" y="37"/>
                </a:lnTo>
                <a:lnTo>
                  <a:pt x="68" y="39"/>
                </a:lnTo>
                <a:lnTo>
                  <a:pt x="68" y="41"/>
                </a:lnTo>
                <a:lnTo>
                  <a:pt x="65" y="44"/>
                </a:lnTo>
                <a:lnTo>
                  <a:pt x="64" y="45"/>
                </a:lnTo>
                <a:lnTo>
                  <a:pt x="63" y="48"/>
                </a:lnTo>
                <a:lnTo>
                  <a:pt x="62" y="50"/>
                </a:lnTo>
                <a:lnTo>
                  <a:pt x="62" y="53"/>
                </a:lnTo>
                <a:lnTo>
                  <a:pt x="62" y="52"/>
                </a:lnTo>
                <a:lnTo>
                  <a:pt x="61" y="52"/>
                </a:lnTo>
                <a:lnTo>
                  <a:pt x="59" y="48"/>
                </a:lnTo>
                <a:lnTo>
                  <a:pt x="56" y="41"/>
                </a:lnTo>
                <a:lnTo>
                  <a:pt x="57" y="43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95" name="Freeform 94">
            <a:extLst>
              <a:ext uri="{FF2B5EF4-FFF2-40B4-BE49-F238E27FC236}">
                <a16:creationId xmlns:a16="http://schemas.microsoft.com/office/drawing/2014/main" id="{EEF15709-F789-AE51-9944-A79891B14974}"/>
              </a:ext>
            </a:extLst>
          </p:cNvPr>
          <p:cNvSpPr>
            <a:spLocks/>
          </p:cNvSpPr>
          <p:nvPr/>
        </p:nvSpPr>
        <p:spPr bwMode="auto">
          <a:xfrm>
            <a:off x="9575175" y="4743296"/>
            <a:ext cx="69850" cy="63500"/>
          </a:xfrm>
          <a:custGeom>
            <a:avLst/>
            <a:gdLst>
              <a:gd name="T0" fmla="*/ 3 w 35"/>
              <a:gd name="T1" fmla="*/ 33 h 34"/>
              <a:gd name="T2" fmla="*/ 0 w 35"/>
              <a:gd name="T3" fmla="*/ 33 h 34"/>
              <a:gd name="T4" fmla="*/ 2 w 35"/>
              <a:gd name="T5" fmla="*/ 28 h 34"/>
              <a:gd name="T6" fmla="*/ 5 w 35"/>
              <a:gd name="T7" fmla="*/ 24 h 34"/>
              <a:gd name="T8" fmla="*/ 9 w 35"/>
              <a:gd name="T9" fmla="*/ 21 h 34"/>
              <a:gd name="T10" fmla="*/ 13 w 35"/>
              <a:gd name="T11" fmla="*/ 18 h 34"/>
              <a:gd name="T12" fmla="*/ 21 w 35"/>
              <a:gd name="T13" fmla="*/ 11 h 34"/>
              <a:gd name="T14" fmla="*/ 24 w 35"/>
              <a:gd name="T15" fmla="*/ 9 h 34"/>
              <a:gd name="T16" fmla="*/ 27 w 35"/>
              <a:gd name="T17" fmla="*/ 5 h 34"/>
              <a:gd name="T18" fmla="*/ 27 w 35"/>
              <a:gd name="T19" fmla="*/ 1 h 34"/>
              <a:gd name="T20" fmla="*/ 28 w 35"/>
              <a:gd name="T21" fmla="*/ 0 h 34"/>
              <a:gd name="T22" fmla="*/ 29 w 35"/>
              <a:gd name="T23" fmla="*/ 0 h 34"/>
              <a:gd name="T24" fmla="*/ 29 w 35"/>
              <a:gd name="T25" fmla="*/ 2 h 34"/>
              <a:gd name="T26" fmla="*/ 30 w 35"/>
              <a:gd name="T27" fmla="*/ 4 h 34"/>
              <a:gd name="T28" fmla="*/ 34 w 35"/>
              <a:gd name="T29" fmla="*/ 6 h 34"/>
              <a:gd name="T30" fmla="*/ 31 w 35"/>
              <a:gd name="T31" fmla="*/ 8 h 34"/>
              <a:gd name="T32" fmla="*/ 30 w 35"/>
              <a:gd name="T33" fmla="*/ 9 h 34"/>
              <a:gd name="T34" fmla="*/ 28 w 35"/>
              <a:gd name="T35" fmla="*/ 9 h 34"/>
              <a:gd name="T36" fmla="*/ 27 w 35"/>
              <a:gd name="T37" fmla="*/ 11 h 34"/>
              <a:gd name="T38" fmla="*/ 26 w 35"/>
              <a:gd name="T39" fmla="*/ 13 h 34"/>
              <a:gd name="T40" fmla="*/ 23 w 35"/>
              <a:gd name="T41" fmla="*/ 13 h 34"/>
              <a:gd name="T42" fmla="*/ 20 w 35"/>
              <a:gd name="T43" fmla="*/ 14 h 34"/>
              <a:gd name="T44" fmla="*/ 19 w 35"/>
              <a:gd name="T45" fmla="*/ 18 h 34"/>
              <a:gd name="T46" fmla="*/ 18 w 35"/>
              <a:gd name="T47" fmla="*/ 20 h 34"/>
              <a:gd name="T48" fmla="*/ 15 w 35"/>
              <a:gd name="T49" fmla="*/ 23 h 34"/>
              <a:gd name="T50" fmla="*/ 13 w 35"/>
              <a:gd name="T51" fmla="*/ 26 h 34"/>
              <a:gd name="T52" fmla="*/ 10 w 35"/>
              <a:gd name="T53" fmla="*/ 28 h 34"/>
              <a:gd name="T54" fmla="*/ 7 w 35"/>
              <a:gd name="T55" fmla="*/ 30 h 34"/>
              <a:gd name="T56" fmla="*/ 3 w 35"/>
              <a:gd name="T57" fmla="*/ 33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35" h="34">
                <a:moveTo>
                  <a:pt x="3" y="33"/>
                </a:moveTo>
                <a:lnTo>
                  <a:pt x="0" y="33"/>
                </a:lnTo>
                <a:lnTo>
                  <a:pt x="2" y="28"/>
                </a:lnTo>
                <a:lnTo>
                  <a:pt x="5" y="24"/>
                </a:lnTo>
                <a:lnTo>
                  <a:pt x="9" y="21"/>
                </a:lnTo>
                <a:lnTo>
                  <a:pt x="13" y="18"/>
                </a:lnTo>
                <a:lnTo>
                  <a:pt x="21" y="11"/>
                </a:lnTo>
                <a:lnTo>
                  <a:pt x="24" y="9"/>
                </a:lnTo>
                <a:lnTo>
                  <a:pt x="27" y="5"/>
                </a:lnTo>
                <a:lnTo>
                  <a:pt x="27" y="1"/>
                </a:lnTo>
                <a:lnTo>
                  <a:pt x="28" y="0"/>
                </a:lnTo>
                <a:lnTo>
                  <a:pt x="29" y="0"/>
                </a:lnTo>
                <a:lnTo>
                  <a:pt x="29" y="2"/>
                </a:lnTo>
                <a:lnTo>
                  <a:pt x="30" y="4"/>
                </a:lnTo>
                <a:lnTo>
                  <a:pt x="34" y="6"/>
                </a:lnTo>
                <a:lnTo>
                  <a:pt x="31" y="8"/>
                </a:lnTo>
                <a:lnTo>
                  <a:pt x="30" y="9"/>
                </a:lnTo>
                <a:lnTo>
                  <a:pt x="28" y="9"/>
                </a:lnTo>
                <a:lnTo>
                  <a:pt x="27" y="11"/>
                </a:lnTo>
                <a:lnTo>
                  <a:pt x="26" y="13"/>
                </a:lnTo>
                <a:lnTo>
                  <a:pt x="23" y="13"/>
                </a:lnTo>
                <a:lnTo>
                  <a:pt x="20" y="14"/>
                </a:lnTo>
                <a:lnTo>
                  <a:pt x="19" y="18"/>
                </a:lnTo>
                <a:lnTo>
                  <a:pt x="18" y="20"/>
                </a:lnTo>
                <a:lnTo>
                  <a:pt x="15" y="23"/>
                </a:lnTo>
                <a:lnTo>
                  <a:pt x="13" y="26"/>
                </a:lnTo>
                <a:lnTo>
                  <a:pt x="10" y="28"/>
                </a:lnTo>
                <a:lnTo>
                  <a:pt x="7" y="30"/>
                </a:lnTo>
                <a:lnTo>
                  <a:pt x="3" y="33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96" name="Freeform 95">
            <a:extLst>
              <a:ext uri="{FF2B5EF4-FFF2-40B4-BE49-F238E27FC236}">
                <a16:creationId xmlns:a16="http://schemas.microsoft.com/office/drawing/2014/main" id="{C1FCEA25-8BC9-403F-772F-D3423A6AAC64}"/>
              </a:ext>
            </a:extLst>
          </p:cNvPr>
          <p:cNvSpPr>
            <a:spLocks/>
          </p:cNvSpPr>
          <p:nvPr/>
        </p:nvSpPr>
        <p:spPr bwMode="auto">
          <a:xfrm>
            <a:off x="9622800" y="4530571"/>
            <a:ext cx="138113" cy="166688"/>
          </a:xfrm>
          <a:custGeom>
            <a:avLst/>
            <a:gdLst>
              <a:gd name="T0" fmla="*/ 4 w 68"/>
              <a:gd name="T1" fmla="*/ 34 h 89"/>
              <a:gd name="T2" fmla="*/ 6 w 68"/>
              <a:gd name="T3" fmla="*/ 22 h 89"/>
              <a:gd name="T4" fmla="*/ 4 w 68"/>
              <a:gd name="T5" fmla="*/ 16 h 89"/>
              <a:gd name="T6" fmla="*/ 3 w 68"/>
              <a:gd name="T7" fmla="*/ 9 h 89"/>
              <a:gd name="T8" fmla="*/ 4 w 68"/>
              <a:gd name="T9" fmla="*/ 3 h 89"/>
              <a:gd name="T10" fmla="*/ 6 w 68"/>
              <a:gd name="T11" fmla="*/ 0 h 89"/>
              <a:gd name="T12" fmla="*/ 9 w 68"/>
              <a:gd name="T13" fmla="*/ 0 h 89"/>
              <a:gd name="T14" fmla="*/ 12 w 68"/>
              <a:gd name="T15" fmla="*/ 0 h 89"/>
              <a:gd name="T16" fmla="*/ 16 w 68"/>
              <a:gd name="T17" fmla="*/ 6 h 89"/>
              <a:gd name="T18" fmla="*/ 17 w 68"/>
              <a:gd name="T19" fmla="*/ 8 h 89"/>
              <a:gd name="T20" fmla="*/ 21 w 68"/>
              <a:gd name="T21" fmla="*/ 6 h 89"/>
              <a:gd name="T22" fmla="*/ 24 w 68"/>
              <a:gd name="T23" fmla="*/ 3 h 89"/>
              <a:gd name="T24" fmla="*/ 26 w 68"/>
              <a:gd name="T25" fmla="*/ 9 h 89"/>
              <a:gd name="T26" fmla="*/ 28 w 68"/>
              <a:gd name="T27" fmla="*/ 13 h 89"/>
              <a:gd name="T28" fmla="*/ 31 w 68"/>
              <a:gd name="T29" fmla="*/ 24 h 89"/>
              <a:gd name="T30" fmla="*/ 33 w 68"/>
              <a:gd name="T31" fmla="*/ 29 h 89"/>
              <a:gd name="T32" fmla="*/ 31 w 68"/>
              <a:gd name="T33" fmla="*/ 34 h 89"/>
              <a:gd name="T34" fmla="*/ 26 w 68"/>
              <a:gd name="T35" fmla="*/ 41 h 89"/>
              <a:gd name="T36" fmla="*/ 24 w 68"/>
              <a:gd name="T37" fmla="*/ 46 h 89"/>
              <a:gd name="T38" fmla="*/ 24 w 68"/>
              <a:gd name="T39" fmla="*/ 51 h 89"/>
              <a:gd name="T40" fmla="*/ 26 w 68"/>
              <a:gd name="T41" fmla="*/ 57 h 89"/>
              <a:gd name="T42" fmla="*/ 30 w 68"/>
              <a:gd name="T43" fmla="*/ 63 h 89"/>
              <a:gd name="T44" fmla="*/ 34 w 68"/>
              <a:gd name="T45" fmla="*/ 68 h 89"/>
              <a:gd name="T46" fmla="*/ 36 w 68"/>
              <a:gd name="T47" fmla="*/ 66 h 89"/>
              <a:gd name="T48" fmla="*/ 38 w 68"/>
              <a:gd name="T49" fmla="*/ 64 h 89"/>
              <a:gd name="T50" fmla="*/ 42 w 68"/>
              <a:gd name="T51" fmla="*/ 63 h 89"/>
              <a:gd name="T52" fmla="*/ 46 w 68"/>
              <a:gd name="T53" fmla="*/ 65 h 89"/>
              <a:gd name="T54" fmla="*/ 50 w 68"/>
              <a:gd name="T55" fmla="*/ 72 h 89"/>
              <a:gd name="T56" fmla="*/ 53 w 68"/>
              <a:gd name="T57" fmla="*/ 73 h 89"/>
              <a:gd name="T58" fmla="*/ 56 w 68"/>
              <a:gd name="T59" fmla="*/ 70 h 89"/>
              <a:gd name="T60" fmla="*/ 58 w 68"/>
              <a:gd name="T61" fmla="*/ 70 h 89"/>
              <a:gd name="T62" fmla="*/ 60 w 68"/>
              <a:gd name="T63" fmla="*/ 73 h 89"/>
              <a:gd name="T64" fmla="*/ 57 w 68"/>
              <a:gd name="T65" fmla="*/ 75 h 89"/>
              <a:gd name="T66" fmla="*/ 58 w 68"/>
              <a:gd name="T67" fmla="*/ 77 h 89"/>
              <a:gd name="T68" fmla="*/ 61 w 68"/>
              <a:gd name="T69" fmla="*/ 78 h 89"/>
              <a:gd name="T70" fmla="*/ 62 w 68"/>
              <a:gd name="T71" fmla="*/ 80 h 89"/>
              <a:gd name="T72" fmla="*/ 67 w 68"/>
              <a:gd name="T73" fmla="*/ 82 h 89"/>
              <a:gd name="T74" fmla="*/ 67 w 68"/>
              <a:gd name="T75" fmla="*/ 87 h 89"/>
              <a:gd name="T76" fmla="*/ 64 w 68"/>
              <a:gd name="T77" fmla="*/ 88 h 89"/>
              <a:gd name="T78" fmla="*/ 63 w 68"/>
              <a:gd name="T79" fmla="*/ 84 h 89"/>
              <a:gd name="T80" fmla="*/ 60 w 68"/>
              <a:gd name="T81" fmla="*/ 80 h 89"/>
              <a:gd name="T82" fmla="*/ 48 w 68"/>
              <a:gd name="T83" fmla="*/ 74 h 89"/>
              <a:gd name="T84" fmla="*/ 44 w 68"/>
              <a:gd name="T85" fmla="*/ 71 h 89"/>
              <a:gd name="T86" fmla="*/ 43 w 68"/>
              <a:gd name="T87" fmla="*/ 73 h 89"/>
              <a:gd name="T88" fmla="*/ 43 w 68"/>
              <a:gd name="T89" fmla="*/ 77 h 89"/>
              <a:gd name="T90" fmla="*/ 43 w 68"/>
              <a:gd name="T91" fmla="*/ 79 h 89"/>
              <a:gd name="T92" fmla="*/ 39 w 68"/>
              <a:gd name="T93" fmla="*/ 77 h 89"/>
              <a:gd name="T94" fmla="*/ 36 w 68"/>
              <a:gd name="T95" fmla="*/ 73 h 89"/>
              <a:gd name="T96" fmla="*/ 33 w 68"/>
              <a:gd name="T97" fmla="*/ 70 h 89"/>
              <a:gd name="T98" fmla="*/ 29 w 68"/>
              <a:gd name="T99" fmla="*/ 70 h 89"/>
              <a:gd name="T100" fmla="*/ 24 w 68"/>
              <a:gd name="T101" fmla="*/ 72 h 89"/>
              <a:gd name="T102" fmla="*/ 20 w 68"/>
              <a:gd name="T103" fmla="*/ 72 h 89"/>
              <a:gd name="T104" fmla="*/ 16 w 68"/>
              <a:gd name="T105" fmla="*/ 69 h 89"/>
              <a:gd name="T106" fmla="*/ 15 w 68"/>
              <a:gd name="T107" fmla="*/ 65 h 89"/>
              <a:gd name="T108" fmla="*/ 17 w 68"/>
              <a:gd name="T109" fmla="*/ 61 h 89"/>
              <a:gd name="T110" fmla="*/ 15 w 68"/>
              <a:gd name="T111" fmla="*/ 56 h 89"/>
              <a:gd name="T112" fmla="*/ 12 w 68"/>
              <a:gd name="T113" fmla="*/ 59 h 89"/>
              <a:gd name="T114" fmla="*/ 8 w 68"/>
              <a:gd name="T115" fmla="*/ 59 h 89"/>
              <a:gd name="T116" fmla="*/ 2 w 68"/>
              <a:gd name="T117" fmla="*/ 55 h 89"/>
              <a:gd name="T118" fmla="*/ 0 w 68"/>
              <a:gd name="T119" fmla="*/ 52 h 89"/>
              <a:gd name="T120" fmla="*/ 0 w 68"/>
              <a:gd name="T121" fmla="*/ 39 h 89"/>
              <a:gd name="T122" fmla="*/ 2 w 68"/>
              <a:gd name="T123" fmla="*/ 37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8" h="89">
                <a:moveTo>
                  <a:pt x="3" y="37"/>
                </a:moveTo>
                <a:lnTo>
                  <a:pt x="4" y="34"/>
                </a:lnTo>
                <a:lnTo>
                  <a:pt x="6" y="30"/>
                </a:lnTo>
                <a:lnTo>
                  <a:pt x="6" y="22"/>
                </a:lnTo>
                <a:lnTo>
                  <a:pt x="6" y="19"/>
                </a:lnTo>
                <a:lnTo>
                  <a:pt x="4" y="16"/>
                </a:lnTo>
                <a:lnTo>
                  <a:pt x="4" y="12"/>
                </a:lnTo>
                <a:lnTo>
                  <a:pt x="3" y="9"/>
                </a:lnTo>
                <a:lnTo>
                  <a:pt x="3" y="6"/>
                </a:lnTo>
                <a:lnTo>
                  <a:pt x="4" y="3"/>
                </a:lnTo>
                <a:lnTo>
                  <a:pt x="6" y="2"/>
                </a:lnTo>
                <a:lnTo>
                  <a:pt x="6" y="0"/>
                </a:lnTo>
                <a:lnTo>
                  <a:pt x="7" y="0"/>
                </a:lnTo>
                <a:lnTo>
                  <a:pt x="9" y="0"/>
                </a:lnTo>
                <a:lnTo>
                  <a:pt x="10" y="0"/>
                </a:lnTo>
                <a:lnTo>
                  <a:pt x="12" y="0"/>
                </a:lnTo>
                <a:lnTo>
                  <a:pt x="13" y="3"/>
                </a:lnTo>
                <a:lnTo>
                  <a:pt x="16" y="6"/>
                </a:lnTo>
                <a:lnTo>
                  <a:pt x="16" y="7"/>
                </a:lnTo>
                <a:lnTo>
                  <a:pt x="17" y="8"/>
                </a:lnTo>
                <a:lnTo>
                  <a:pt x="20" y="7"/>
                </a:lnTo>
                <a:lnTo>
                  <a:pt x="21" y="6"/>
                </a:lnTo>
                <a:lnTo>
                  <a:pt x="23" y="4"/>
                </a:lnTo>
                <a:lnTo>
                  <a:pt x="24" y="3"/>
                </a:lnTo>
                <a:lnTo>
                  <a:pt x="25" y="6"/>
                </a:lnTo>
                <a:lnTo>
                  <a:pt x="26" y="9"/>
                </a:lnTo>
                <a:lnTo>
                  <a:pt x="26" y="11"/>
                </a:lnTo>
                <a:lnTo>
                  <a:pt x="28" y="13"/>
                </a:lnTo>
                <a:lnTo>
                  <a:pt x="30" y="18"/>
                </a:lnTo>
                <a:lnTo>
                  <a:pt x="31" y="24"/>
                </a:lnTo>
                <a:lnTo>
                  <a:pt x="33" y="26"/>
                </a:lnTo>
                <a:lnTo>
                  <a:pt x="33" y="29"/>
                </a:lnTo>
                <a:lnTo>
                  <a:pt x="33" y="32"/>
                </a:lnTo>
                <a:lnTo>
                  <a:pt x="31" y="34"/>
                </a:lnTo>
                <a:lnTo>
                  <a:pt x="29" y="39"/>
                </a:lnTo>
                <a:lnTo>
                  <a:pt x="26" y="41"/>
                </a:lnTo>
                <a:lnTo>
                  <a:pt x="25" y="43"/>
                </a:lnTo>
                <a:lnTo>
                  <a:pt x="24" y="46"/>
                </a:lnTo>
                <a:lnTo>
                  <a:pt x="24" y="49"/>
                </a:lnTo>
                <a:lnTo>
                  <a:pt x="24" y="51"/>
                </a:lnTo>
                <a:lnTo>
                  <a:pt x="25" y="55"/>
                </a:lnTo>
                <a:lnTo>
                  <a:pt x="26" y="57"/>
                </a:lnTo>
                <a:lnTo>
                  <a:pt x="28" y="60"/>
                </a:lnTo>
                <a:lnTo>
                  <a:pt x="30" y="63"/>
                </a:lnTo>
                <a:lnTo>
                  <a:pt x="33" y="66"/>
                </a:lnTo>
                <a:lnTo>
                  <a:pt x="34" y="68"/>
                </a:lnTo>
                <a:lnTo>
                  <a:pt x="36" y="69"/>
                </a:lnTo>
                <a:lnTo>
                  <a:pt x="36" y="66"/>
                </a:lnTo>
                <a:lnTo>
                  <a:pt x="37" y="66"/>
                </a:lnTo>
                <a:lnTo>
                  <a:pt x="38" y="64"/>
                </a:lnTo>
                <a:lnTo>
                  <a:pt x="40" y="63"/>
                </a:lnTo>
                <a:lnTo>
                  <a:pt x="42" y="63"/>
                </a:lnTo>
                <a:lnTo>
                  <a:pt x="44" y="64"/>
                </a:lnTo>
                <a:lnTo>
                  <a:pt x="46" y="65"/>
                </a:lnTo>
                <a:lnTo>
                  <a:pt x="48" y="69"/>
                </a:lnTo>
                <a:lnTo>
                  <a:pt x="50" y="72"/>
                </a:lnTo>
                <a:lnTo>
                  <a:pt x="52" y="73"/>
                </a:lnTo>
                <a:lnTo>
                  <a:pt x="53" y="73"/>
                </a:lnTo>
                <a:lnTo>
                  <a:pt x="55" y="72"/>
                </a:lnTo>
                <a:lnTo>
                  <a:pt x="56" y="70"/>
                </a:lnTo>
                <a:lnTo>
                  <a:pt x="57" y="70"/>
                </a:lnTo>
                <a:lnTo>
                  <a:pt x="58" y="70"/>
                </a:lnTo>
                <a:lnTo>
                  <a:pt x="60" y="71"/>
                </a:lnTo>
                <a:lnTo>
                  <a:pt x="60" y="73"/>
                </a:lnTo>
                <a:lnTo>
                  <a:pt x="58" y="74"/>
                </a:lnTo>
                <a:lnTo>
                  <a:pt x="57" y="75"/>
                </a:lnTo>
                <a:lnTo>
                  <a:pt x="57" y="77"/>
                </a:lnTo>
                <a:lnTo>
                  <a:pt x="58" y="77"/>
                </a:lnTo>
                <a:lnTo>
                  <a:pt x="60" y="77"/>
                </a:lnTo>
                <a:lnTo>
                  <a:pt x="61" y="78"/>
                </a:lnTo>
                <a:lnTo>
                  <a:pt x="62" y="79"/>
                </a:lnTo>
                <a:lnTo>
                  <a:pt x="62" y="80"/>
                </a:lnTo>
                <a:lnTo>
                  <a:pt x="65" y="81"/>
                </a:lnTo>
                <a:lnTo>
                  <a:pt x="67" y="82"/>
                </a:lnTo>
                <a:lnTo>
                  <a:pt x="67" y="85"/>
                </a:lnTo>
                <a:lnTo>
                  <a:pt x="67" y="87"/>
                </a:lnTo>
                <a:lnTo>
                  <a:pt x="65" y="88"/>
                </a:lnTo>
                <a:lnTo>
                  <a:pt x="64" y="88"/>
                </a:lnTo>
                <a:lnTo>
                  <a:pt x="64" y="87"/>
                </a:lnTo>
                <a:lnTo>
                  <a:pt x="63" y="84"/>
                </a:lnTo>
                <a:lnTo>
                  <a:pt x="61" y="82"/>
                </a:lnTo>
                <a:lnTo>
                  <a:pt x="60" y="80"/>
                </a:lnTo>
                <a:lnTo>
                  <a:pt x="53" y="78"/>
                </a:lnTo>
                <a:lnTo>
                  <a:pt x="48" y="74"/>
                </a:lnTo>
                <a:lnTo>
                  <a:pt x="46" y="72"/>
                </a:lnTo>
                <a:lnTo>
                  <a:pt x="44" y="71"/>
                </a:lnTo>
                <a:lnTo>
                  <a:pt x="43" y="72"/>
                </a:lnTo>
                <a:lnTo>
                  <a:pt x="43" y="73"/>
                </a:lnTo>
                <a:lnTo>
                  <a:pt x="43" y="75"/>
                </a:lnTo>
                <a:lnTo>
                  <a:pt x="43" y="77"/>
                </a:lnTo>
                <a:lnTo>
                  <a:pt x="46" y="79"/>
                </a:lnTo>
                <a:lnTo>
                  <a:pt x="43" y="79"/>
                </a:lnTo>
                <a:lnTo>
                  <a:pt x="40" y="78"/>
                </a:lnTo>
                <a:lnTo>
                  <a:pt x="39" y="77"/>
                </a:lnTo>
                <a:lnTo>
                  <a:pt x="38" y="75"/>
                </a:lnTo>
                <a:lnTo>
                  <a:pt x="36" y="73"/>
                </a:lnTo>
                <a:lnTo>
                  <a:pt x="34" y="71"/>
                </a:lnTo>
                <a:lnTo>
                  <a:pt x="33" y="70"/>
                </a:lnTo>
                <a:lnTo>
                  <a:pt x="30" y="69"/>
                </a:lnTo>
                <a:lnTo>
                  <a:pt x="29" y="70"/>
                </a:lnTo>
                <a:lnTo>
                  <a:pt x="26" y="71"/>
                </a:lnTo>
                <a:lnTo>
                  <a:pt x="24" y="72"/>
                </a:lnTo>
                <a:lnTo>
                  <a:pt x="22" y="72"/>
                </a:lnTo>
                <a:lnTo>
                  <a:pt x="20" y="72"/>
                </a:lnTo>
                <a:lnTo>
                  <a:pt x="17" y="70"/>
                </a:lnTo>
                <a:lnTo>
                  <a:pt x="16" y="69"/>
                </a:lnTo>
                <a:lnTo>
                  <a:pt x="15" y="66"/>
                </a:lnTo>
                <a:lnTo>
                  <a:pt x="15" y="65"/>
                </a:lnTo>
                <a:lnTo>
                  <a:pt x="16" y="63"/>
                </a:lnTo>
                <a:lnTo>
                  <a:pt x="17" y="61"/>
                </a:lnTo>
                <a:lnTo>
                  <a:pt x="17" y="56"/>
                </a:lnTo>
                <a:lnTo>
                  <a:pt x="15" y="56"/>
                </a:lnTo>
                <a:lnTo>
                  <a:pt x="13" y="59"/>
                </a:lnTo>
                <a:lnTo>
                  <a:pt x="12" y="59"/>
                </a:lnTo>
                <a:lnTo>
                  <a:pt x="11" y="60"/>
                </a:lnTo>
                <a:lnTo>
                  <a:pt x="8" y="59"/>
                </a:lnTo>
                <a:lnTo>
                  <a:pt x="4" y="56"/>
                </a:lnTo>
                <a:lnTo>
                  <a:pt x="2" y="55"/>
                </a:lnTo>
                <a:lnTo>
                  <a:pt x="1" y="53"/>
                </a:lnTo>
                <a:lnTo>
                  <a:pt x="0" y="52"/>
                </a:lnTo>
                <a:lnTo>
                  <a:pt x="0" y="41"/>
                </a:lnTo>
                <a:lnTo>
                  <a:pt x="0" y="39"/>
                </a:lnTo>
                <a:lnTo>
                  <a:pt x="1" y="37"/>
                </a:lnTo>
                <a:lnTo>
                  <a:pt x="2" y="37"/>
                </a:lnTo>
                <a:lnTo>
                  <a:pt x="3" y="37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97" name="Freeform 96">
            <a:extLst>
              <a:ext uri="{FF2B5EF4-FFF2-40B4-BE49-F238E27FC236}">
                <a16:creationId xmlns:a16="http://schemas.microsoft.com/office/drawing/2014/main" id="{32A17EED-D5B7-6ACD-6019-DE14B0A9AFB1}"/>
              </a:ext>
            </a:extLst>
          </p:cNvPr>
          <p:cNvSpPr>
            <a:spLocks/>
          </p:cNvSpPr>
          <p:nvPr/>
        </p:nvSpPr>
        <p:spPr bwMode="auto">
          <a:xfrm>
            <a:off x="9765675" y="4697259"/>
            <a:ext cx="47625" cy="66675"/>
          </a:xfrm>
          <a:custGeom>
            <a:avLst/>
            <a:gdLst>
              <a:gd name="T0" fmla="*/ 19 w 23"/>
              <a:gd name="T1" fmla="*/ 24 h 36"/>
              <a:gd name="T2" fmla="*/ 12 w 23"/>
              <a:gd name="T3" fmla="*/ 24 h 36"/>
              <a:gd name="T4" fmla="*/ 13 w 23"/>
              <a:gd name="T5" fmla="*/ 26 h 36"/>
              <a:gd name="T6" fmla="*/ 13 w 23"/>
              <a:gd name="T7" fmla="*/ 29 h 36"/>
              <a:gd name="T8" fmla="*/ 16 w 23"/>
              <a:gd name="T9" fmla="*/ 31 h 36"/>
              <a:gd name="T10" fmla="*/ 16 w 23"/>
              <a:gd name="T11" fmla="*/ 32 h 36"/>
              <a:gd name="T12" fmla="*/ 16 w 23"/>
              <a:gd name="T13" fmla="*/ 35 h 36"/>
              <a:gd name="T14" fmla="*/ 12 w 23"/>
              <a:gd name="T15" fmla="*/ 35 h 36"/>
              <a:gd name="T16" fmla="*/ 11 w 23"/>
              <a:gd name="T17" fmla="*/ 35 h 36"/>
              <a:gd name="T18" fmla="*/ 10 w 23"/>
              <a:gd name="T19" fmla="*/ 35 h 36"/>
              <a:gd name="T20" fmla="*/ 9 w 23"/>
              <a:gd name="T21" fmla="*/ 33 h 36"/>
              <a:gd name="T22" fmla="*/ 9 w 23"/>
              <a:gd name="T23" fmla="*/ 31 h 36"/>
              <a:gd name="T24" fmla="*/ 10 w 23"/>
              <a:gd name="T25" fmla="*/ 28 h 36"/>
              <a:gd name="T26" fmla="*/ 10 w 23"/>
              <a:gd name="T27" fmla="*/ 26 h 36"/>
              <a:gd name="T28" fmla="*/ 8 w 23"/>
              <a:gd name="T29" fmla="*/ 25 h 36"/>
              <a:gd name="T30" fmla="*/ 5 w 23"/>
              <a:gd name="T31" fmla="*/ 24 h 36"/>
              <a:gd name="T32" fmla="*/ 3 w 23"/>
              <a:gd name="T33" fmla="*/ 22 h 36"/>
              <a:gd name="T34" fmla="*/ 2 w 23"/>
              <a:gd name="T35" fmla="*/ 20 h 36"/>
              <a:gd name="T36" fmla="*/ 2 w 23"/>
              <a:gd name="T37" fmla="*/ 17 h 36"/>
              <a:gd name="T38" fmla="*/ 8 w 23"/>
              <a:gd name="T39" fmla="*/ 17 h 36"/>
              <a:gd name="T40" fmla="*/ 10 w 23"/>
              <a:gd name="T41" fmla="*/ 16 h 36"/>
              <a:gd name="T42" fmla="*/ 11 w 23"/>
              <a:gd name="T43" fmla="*/ 15 h 36"/>
              <a:gd name="T44" fmla="*/ 11 w 23"/>
              <a:gd name="T45" fmla="*/ 12 h 36"/>
              <a:gd name="T46" fmla="*/ 9 w 23"/>
              <a:gd name="T47" fmla="*/ 11 h 36"/>
              <a:gd name="T48" fmla="*/ 5 w 23"/>
              <a:gd name="T49" fmla="*/ 7 h 36"/>
              <a:gd name="T50" fmla="*/ 2 w 23"/>
              <a:gd name="T51" fmla="*/ 4 h 36"/>
              <a:gd name="T52" fmla="*/ 0 w 23"/>
              <a:gd name="T53" fmla="*/ 3 h 36"/>
              <a:gd name="T54" fmla="*/ 0 w 23"/>
              <a:gd name="T55" fmla="*/ 2 h 36"/>
              <a:gd name="T56" fmla="*/ 2 w 23"/>
              <a:gd name="T57" fmla="*/ 1 h 36"/>
              <a:gd name="T58" fmla="*/ 4 w 23"/>
              <a:gd name="T59" fmla="*/ 0 h 36"/>
              <a:gd name="T60" fmla="*/ 7 w 23"/>
              <a:gd name="T61" fmla="*/ 1 h 36"/>
              <a:gd name="T62" fmla="*/ 9 w 23"/>
              <a:gd name="T63" fmla="*/ 1 h 36"/>
              <a:gd name="T64" fmla="*/ 12 w 23"/>
              <a:gd name="T65" fmla="*/ 2 h 36"/>
              <a:gd name="T66" fmla="*/ 14 w 23"/>
              <a:gd name="T67" fmla="*/ 2 h 36"/>
              <a:gd name="T68" fmla="*/ 14 w 23"/>
              <a:gd name="T69" fmla="*/ 4 h 36"/>
              <a:gd name="T70" fmla="*/ 14 w 23"/>
              <a:gd name="T71" fmla="*/ 6 h 36"/>
              <a:gd name="T72" fmla="*/ 17 w 23"/>
              <a:gd name="T73" fmla="*/ 6 h 36"/>
              <a:gd name="T74" fmla="*/ 17 w 23"/>
              <a:gd name="T75" fmla="*/ 11 h 36"/>
              <a:gd name="T76" fmla="*/ 17 w 23"/>
              <a:gd name="T77" fmla="*/ 13 h 36"/>
              <a:gd name="T78" fmla="*/ 19 w 23"/>
              <a:gd name="T79" fmla="*/ 15 h 36"/>
              <a:gd name="T80" fmla="*/ 22 w 23"/>
              <a:gd name="T81" fmla="*/ 17 h 36"/>
              <a:gd name="T82" fmla="*/ 20 w 23"/>
              <a:gd name="T83" fmla="*/ 21 h 36"/>
              <a:gd name="T84" fmla="*/ 19 w 23"/>
              <a:gd name="T85" fmla="*/ 24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3" h="36">
                <a:moveTo>
                  <a:pt x="19" y="24"/>
                </a:moveTo>
                <a:lnTo>
                  <a:pt x="12" y="24"/>
                </a:lnTo>
                <a:lnTo>
                  <a:pt x="13" y="26"/>
                </a:lnTo>
                <a:lnTo>
                  <a:pt x="13" y="29"/>
                </a:lnTo>
                <a:lnTo>
                  <a:pt x="16" y="31"/>
                </a:lnTo>
                <a:lnTo>
                  <a:pt x="16" y="32"/>
                </a:lnTo>
                <a:lnTo>
                  <a:pt x="16" y="35"/>
                </a:lnTo>
                <a:lnTo>
                  <a:pt x="12" y="35"/>
                </a:lnTo>
                <a:lnTo>
                  <a:pt x="11" y="35"/>
                </a:lnTo>
                <a:lnTo>
                  <a:pt x="10" y="35"/>
                </a:lnTo>
                <a:lnTo>
                  <a:pt x="9" y="33"/>
                </a:lnTo>
                <a:lnTo>
                  <a:pt x="9" y="31"/>
                </a:lnTo>
                <a:lnTo>
                  <a:pt x="10" y="28"/>
                </a:lnTo>
                <a:lnTo>
                  <a:pt x="10" y="26"/>
                </a:lnTo>
                <a:lnTo>
                  <a:pt x="8" y="25"/>
                </a:lnTo>
                <a:lnTo>
                  <a:pt x="5" y="24"/>
                </a:lnTo>
                <a:lnTo>
                  <a:pt x="3" y="22"/>
                </a:lnTo>
                <a:lnTo>
                  <a:pt x="2" y="20"/>
                </a:lnTo>
                <a:lnTo>
                  <a:pt x="2" y="17"/>
                </a:lnTo>
                <a:lnTo>
                  <a:pt x="8" y="17"/>
                </a:lnTo>
                <a:lnTo>
                  <a:pt x="10" y="16"/>
                </a:lnTo>
                <a:lnTo>
                  <a:pt x="11" y="15"/>
                </a:lnTo>
                <a:lnTo>
                  <a:pt x="11" y="12"/>
                </a:lnTo>
                <a:lnTo>
                  <a:pt x="9" y="11"/>
                </a:lnTo>
                <a:lnTo>
                  <a:pt x="5" y="7"/>
                </a:lnTo>
                <a:lnTo>
                  <a:pt x="2" y="4"/>
                </a:lnTo>
                <a:lnTo>
                  <a:pt x="0" y="3"/>
                </a:lnTo>
                <a:lnTo>
                  <a:pt x="0" y="2"/>
                </a:lnTo>
                <a:lnTo>
                  <a:pt x="2" y="1"/>
                </a:lnTo>
                <a:lnTo>
                  <a:pt x="4" y="0"/>
                </a:lnTo>
                <a:lnTo>
                  <a:pt x="7" y="1"/>
                </a:lnTo>
                <a:lnTo>
                  <a:pt x="9" y="1"/>
                </a:lnTo>
                <a:lnTo>
                  <a:pt x="12" y="2"/>
                </a:lnTo>
                <a:lnTo>
                  <a:pt x="14" y="2"/>
                </a:lnTo>
                <a:lnTo>
                  <a:pt x="14" y="4"/>
                </a:lnTo>
                <a:lnTo>
                  <a:pt x="14" y="6"/>
                </a:lnTo>
                <a:lnTo>
                  <a:pt x="17" y="6"/>
                </a:lnTo>
                <a:lnTo>
                  <a:pt x="17" y="11"/>
                </a:lnTo>
                <a:lnTo>
                  <a:pt x="17" y="13"/>
                </a:lnTo>
                <a:lnTo>
                  <a:pt x="19" y="15"/>
                </a:lnTo>
                <a:lnTo>
                  <a:pt x="22" y="17"/>
                </a:lnTo>
                <a:lnTo>
                  <a:pt x="20" y="21"/>
                </a:lnTo>
                <a:lnTo>
                  <a:pt x="19" y="24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98" name="Freeform 97">
            <a:extLst>
              <a:ext uri="{FF2B5EF4-FFF2-40B4-BE49-F238E27FC236}">
                <a16:creationId xmlns:a16="http://schemas.microsoft.com/office/drawing/2014/main" id="{C00343A1-4819-FC9A-A0D4-C6298EA1D1D8}"/>
              </a:ext>
            </a:extLst>
          </p:cNvPr>
          <p:cNvSpPr>
            <a:spLocks/>
          </p:cNvSpPr>
          <p:nvPr/>
        </p:nvSpPr>
        <p:spPr bwMode="auto">
          <a:xfrm>
            <a:off x="9699000" y="4716309"/>
            <a:ext cx="39688" cy="46038"/>
          </a:xfrm>
          <a:custGeom>
            <a:avLst/>
            <a:gdLst>
              <a:gd name="T0" fmla="*/ 3 w 19"/>
              <a:gd name="T1" fmla="*/ 0 h 24"/>
              <a:gd name="T2" fmla="*/ 6 w 19"/>
              <a:gd name="T3" fmla="*/ 1 h 24"/>
              <a:gd name="T4" fmla="*/ 10 w 19"/>
              <a:gd name="T5" fmla="*/ 3 h 24"/>
              <a:gd name="T6" fmla="*/ 15 w 19"/>
              <a:gd name="T7" fmla="*/ 5 h 24"/>
              <a:gd name="T8" fmla="*/ 18 w 19"/>
              <a:gd name="T9" fmla="*/ 6 h 24"/>
              <a:gd name="T10" fmla="*/ 18 w 19"/>
              <a:gd name="T11" fmla="*/ 7 h 24"/>
              <a:gd name="T12" fmla="*/ 18 w 19"/>
              <a:gd name="T13" fmla="*/ 11 h 24"/>
              <a:gd name="T14" fmla="*/ 16 w 19"/>
              <a:gd name="T15" fmla="*/ 11 h 24"/>
              <a:gd name="T16" fmla="*/ 15 w 19"/>
              <a:gd name="T17" fmla="*/ 12 h 24"/>
              <a:gd name="T18" fmla="*/ 14 w 19"/>
              <a:gd name="T19" fmla="*/ 15 h 24"/>
              <a:gd name="T20" fmla="*/ 11 w 19"/>
              <a:gd name="T21" fmla="*/ 18 h 24"/>
              <a:gd name="T22" fmla="*/ 6 w 19"/>
              <a:gd name="T23" fmla="*/ 20 h 24"/>
              <a:gd name="T24" fmla="*/ 1 w 19"/>
              <a:gd name="T25" fmla="*/ 23 h 24"/>
              <a:gd name="T26" fmla="*/ 1 w 19"/>
              <a:gd name="T27" fmla="*/ 16 h 24"/>
              <a:gd name="T28" fmla="*/ 0 w 19"/>
              <a:gd name="T29" fmla="*/ 11 h 24"/>
              <a:gd name="T30" fmla="*/ 0 w 19"/>
              <a:gd name="T31" fmla="*/ 1 h 24"/>
              <a:gd name="T32" fmla="*/ 0 w 19"/>
              <a:gd name="T33" fmla="*/ 0 h 24"/>
              <a:gd name="T34" fmla="*/ 2 w 19"/>
              <a:gd name="T35" fmla="*/ 0 h 24"/>
              <a:gd name="T36" fmla="*/ 4 w 19"/>
              <a:gd name="T37" fmla="*/ 0 h 24"/>
              <a:gd name="T38" fmla="*/ 5 w 19"/>
              <a:gd name="T39" fmla="*/ 1 h 24"/>
              <a:gd name="T40" fmla="*/ 3 w 19"/>
              <a:gd name="T41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9" h="24">
                <a:moveTo>
                  <a:pt x="3" y="0"/>
                </a:moveTo>
                <a:lnTo>
                  <a:pt x="6" y="1"/>
                </a:lnTo>
                <a:lnTo>
                  <a:pt x="10" y="3"/>
                </a:lnTo>
                <a:lnTo>
                  <a:pt x="15" y="5"/>
                </a:lnTo>
                <a:lnTo>
                  <a:pt x="18" y="6"/>
                </a:lnTo>
                <a:lnTo>
                  <a:pt x="18" y="7"/>
                </a:lnTo>
                <a:lnTo>
                  <a:pt x="18" y="11"/>
                </a:lnTo>
                <a:lnTo>
                  <a:pt x="16" y="11"/>
                </a:lnTo>
                <a:lnTo>
                  <a:pt x="15" y="12"/>
                </a:lnTo>
                <a:lnTo>
                  <a:pt x="14" y="15"/>
                </a:lnTo>
                <a:lnTo>
                  <a:pt x="11" y="18"/>
                </a:lnTo>
                <a:lnTo>
                  <a:pt x="6" y="20"/>
                </a:lnTo>
                <a:lnTo>
                  <a:pt x="1" y="23"/>
                </a:lnTo>
                <a:lnTo>
                  <a:pt x="1" y="16"/>
                </a:lnTo>
                <a:lnTo>
                  <a:pt x="0" y="11"/>
                </a:lnTo>
                <a:lnTo>
                  <a:pt x="0" y="1"/>
                </a:lnTo>
                <a:lnTo>
                  <a:pt x="0" y="0"/>
                </a:lnTo>
                <a:lnTo>
                  <a:pt x="2" y="0"/>
                </a:lnTo>
                <a:lnTo>
                  <a:pt x="4" y="0"/>
                </a:lnTo>
                <a:lnTo>
                  <a:pt x="5" y="1"/>
                </a:lnTo>
                <a:lnTo>
                  <a:pt x="3" y="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99" name="Freeform 98">
            <a:extLst>
              <a:ext uri="{FF2B5EF4-FFF2-40B4-BE49-F238E27FC236}">
                <a16:creationId xmlns:a16="http://schemas.microsoft.com/office/drawing/2014/main" id="{E5369E01-AFAD-A331-C941-E982CC28E2E8}"/>
              </a:ext>
            </a:extLst>
          </p:cNvPr>
          <p:cNvSpPr>
            <a:spLocks/>
          </p:cNvSpPr>
          <p:nvPr/>
        </p:nvSpPr>
        <p:spPr bwMode="auto">
          <a:xfrm>
            <a:off x="9719638" y="4743296"/>
            <a:ext cx="36513" cy="53975"/>
          </a:xfrm>
          <a:custGeom>
            <a:avLst/>
            <a:gdLst>
              <a:gd name="T0" fmla="*/ 17 w 18"/>
              <a:gd name="T1" fmla="*/ 5 h 29"/>
              <a:gd name="T2" fmla="*/ 17 w 18"/>
              <a:gd name="T3" fmla="*/ 7 h 29"/>
              <a:gd name="T4" fmla="*/ 16 w 18"/>
              <a:gd name="T5" fmla="*/ 9 h 29"/>
              <a:gd name="T6" fmla="*/ 13 w 18"/>
              <a:gd name="T7" fmla="*/ 13 h 29"/>
              <a:gd name="T8" fmla="*/ 12 w 18"/>
              <a:gd name="T9" fmla="*/ 15 h 29"/>
              <a:gd name="T10" fmla="*/ 12 w 18"/>
              <a:gd name="T11" fmla="*/ 17 h 29"/>
              <a:gd name="T12" fmla="*/ 11 w 18"/>
              <a:gd name="T13" fmla="*/ 19 h 29"/>
              <a:gd name="T14" fmla="*/ 12 w 18"/>
              <a:gd name="T15" fmla="*/ 22 h 29"/>
              <a:gd name="T16" fmla="*/ 13 w 18"/>
              <a:gd name="T17" fmla="*/ 23 h 29"/>
              <a:gd name="T18" fmla="*/ 13 w 18"/>
              <a:gd name="T19" fmla="*/ 24 h 29"/>
              <a:gd name="T20" fmla="*/ 13 w 18"/>
              <a:gd name="T21" fmla="*/ 25 h 29"/>
              <a:gd name="T22" fmla="*/ 13 w 18"/>
              <a:gd name="T23" fmla="*/ 27 h 29"/>
              <a:gd name="T24" fmla="*/ 11 w 18"/>
              <a:gd name="T25" fmla="*/ 28 h 29"/>
              <a:gd name="T26" fmla="*/ 8 w 18"/>
              <a:gd name="T27" fmla="*/ 27 h 29"/>
              <a:gd name="T28" fmla="*/ 4 w 18"/>
              <a:gd name="T29" fmla="*/ 23 h 29"/>
              <a:gd name="T30" fmla="*/ 3 w 18"/>
              <a:gd name="T31" fmla="*/ 21 h 29"/>
              <a:gd name="T32" fmla="*/ 0 w 18"/>
              <a:gd name="T33" fmla="*/ 19 h 29"/>
              <a:gd name="T34" fmla="*/ 0 w 18"/>
              <a:gd name="T35" fmla="*/ 17 h 29"/>
              <a:gd name="T36" fmla="*/ 0 w 18"/>
              <a:gd name="T37" fmla="*/ 16 h 29"/>
              <a:gd name="T38" fmla="*/ 0 w 18"/>
              <a:gd name="T39" fmla="*/ 15 h 29"/>
              <a:gd name="T40" fmla="*/ 2 w 18"/>
              <a:gd name="T41" fmla="*/ 14 h 29"/>
              <a:gd name="T42" fmla="*/ 4 w 18"/>
              <a:gd name="T43" fmla="*/ 14 h 29"/>
              <a:gd name="T44" fmla="*/ 5 w 18"/>
              <a:gd name="T45" fmla="*/ 6 h 29"/>
              <a:gd name="T46" fmla="*/ 7 w 18"/>
              <a:gd name="T47" fmla="*/ 2 h 29"/>
              <a:gd name="T48" fmla="*/ 8 w 18"/>
              <a:gd name="T49" fmla="*/ 0 h 29"/>
              <a:gd name="T50" fmla="*/ 9 w 18"/>
              <a:gd name="T51" fmla="*/ 0 h 29"/>
              <a:gd name="T52" fmla="*/ 11 w 18"/>
              <a:gd name="T53" fmla="*/ 0 h 29"/>
              <a:gd name="T54" fmla="*/ 13 w 18"/>
              <a:gd name="T55" fmla="*/ 0 h 29"/>
              <a:gd name="T56" fmla="*/ 14 w 18"/>
              <a:gd name="T57" fmla="*/ 1 h 29"/>
              <a:gd name="T58" fmla="*/ 16 w 18"/>
              <a:gd name="T59" fmla="*/ 2 h 29"/>
              <a:gd name="T60" fmla="*/ 17 w 18"/>
              <a:gd name="T61" fmla="*/ 3 h 29"/>
              <a:gd name="T62" fmla="*/ 17 w 18"/>
              <a:gd name="T63" fmla="*/ 5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8" h="29">
                <a:moveTo>
                  <a:pt x="17" y="5"/>
                </a:moveTo>
                <a:lnTo>
                  <a:pt x="17" y="7"/>
                </a:lnTo>
                <a:lnTo>
                  <a:pt x="16" y="9"/>
                </a:lnTo>
                <a:lnTo>
                  <a:pt x="13" y="13"/>
                </a:lnTo>
                <a:lnTo>
                  <a:pt x="12" y="15"/>
                </a:lnTo>
                <a:lnTo>
                  <a:pt x="12" y="17"/>
                </a:lnTo>
                <a:lnTo>
                  <a:pt x="11" y="19"/>
                </a:lnTo>
                <a:lnTo>
                  <a:pt x="12" y="22"/>
                </a:lnTo>
                <a:lnTo>
                  <a:pt x="13" y="23"/>
                </a:lnTo>
                <a:lnTo>
                  <a:pt x="13" y="24"/>
                </a:lnTo>
                <a:lnTo>
                  <a:pt x="13" y="25"/>
                </a:lnTo>
                <a:lnTo>
                  <a:pt x="13" y="27"/>
                </a:lnTo>
                <a:lnTo>
                  <a:pt x="11" y="28"/>
                </a:lnTo>
                <a:lnTo>
                  <a:pt x="8" y="27"/>
                </a:lnTo>
                <a:lnTo>
                  <a:pt x="4" y="23"/>
                </a:lnTo>
                <a:lnTo>
                  <a:pt x="3" y="21"/>
                </a:lnTo>
                <a:lnTo>
                  <a:pt x="0" y="19"/>
                </a:lnTo>
                <a:lnTo>
                  <a:pt x="0" y="17"/>
                </a:lnTo>
                <a:lnTo>
                  <a:pt x="0" y="16"/>
                </a:lnTo>
                <a:lnTo>
                  <a:pt x="0" y="15"/>
                </a:lnTo>
                <a:lnTo>
                  <a:pt x="2" y="14"/>
                </a:lnTo>
                <a:lnTo>
                  <a:pt x="4" y="14"/>
                </a:lnTo>
                <a:lnTo>
                  <a:pt x="5" y="6"/>
                </a:lnTo>
                <a:lnTo>
                  <a:pt x="7" y="2"/>
                </a:lnTo>
                <a:lnTo>
                  <a:pt x="8" y="0"/>
                </a:lnTo>
                <a:lnTo>
                  <a:pt x="9" y="0"/>
                </a:lnTo>
                <a:lnTo>
                  <a:pt x="11" y="0"/>
                </a:lnTo>
                <a:lnTo>
                  <a:pt x="13" y="0"/>
                </a:lnTo>
                <a:lnTo>
                  <a:pt x="14" y="1"/>
                </a:lnTo>
                <a:lnTo>
                  <a:pt x="16" y="2"/>
                </a:lnTo>
                <a:lnTo>
                  <a:pt x="17" y="3"/>
                </a:lnTo>
                <a:lnTo>
                  <a:pt x="17" y="5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00" name="Freeform 99">
            <a:extLst>
              <a:ext uri="{FF2B5EF4-FFF2-40B4-BE49-F238E27FC236}">
                <a16:creationId xmlns:a16="http://schemas.microsoft.com/office/drawing/2014/main" id="{355632C3-4CF5-F37B-BB3D-FCCEB92F9204}"/>
              </a:ext>
            </a:extLst>
          </p:cNvPr>
          <p:cNvSpPr>
            <a:spLocks/>
          </p:cNvSpPr>
          <p:nvPr/>
        </p:nvSpPr>
        <p:spPr bwMode="auto">
          <a:xfrm>
            <a:off x="9749800" y="4744884"/>
            <a:ext cx="34925" cy="33338"/>
          </a:xfrm>
          <a:custGeom>
            <a:avLst/>
            <a:gdLst>
              <a:gd name="T0" fmla="*/ 16 w 17"/>
              <a:gd name="T1" fmla="*/ 0 h 18"/>
              <a:gd name="T2" fmla="*/ 16 w 17"/>
              <a:gd name="T3" fmla="*/ 2 h 18"/>
              <a:gd name="T4" fmla="*/ 14 w 17"/>
              <a:gd name="T5" fmla="*/ 5 h 18"/>
              <a:gd name="T6" fmla="*/ 11 w 17"/>
              <a:gd name="T7" fmla="*/ 8 h 18"/>
              <a:gd name="T8" fmla="*/ 5 w 17"/>
              <a:gd name="T9" fmla="*/ 12 h 18"/>
              <a:gd name="T10" fmla="*/ 5 w 17"/>
              <a:gd name="T11" fmla="*/ 14 h 18"/>
              <a:gd name="T12" fmla="*/ 4 w 17"/>
              <a:gd name="T13" fmla="*/ 17 h 18"/>
              <a:gd name="T14" fmla="*/ 0 w 17"/>
              <a:gd name="T15" fmla="*/ 17 h 18"/>
              <a:gd name="T16" fmla="*/ 2 w 17"/>
              <a:gd name="T17" fmla="*/ 12 h 18"/>
              <a:gd name="T18" fmla="*/ 5 w 17"/>
              <a:gd name="T19" fmla="*/ 8 h 18"/>
              <a:gd name="T20" fmla="*/ 7 w 17"/>
              <a:gd name="T21" fmla="*/ 5 h 18"/>
              <a:gd name="T22" fmla="*/ 7 w 17"/>
              <a:gd name="T23" fmla="*/ 0 h 18"/>
              <a:gd name="T24" fmla="*/ 16 w 17"/>
              <a:gd name="T25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7" h="18">
                <a:moveTo>
                  <a:pt x="16" y="0"/>
                </a:moveTo>
                <a:lnTo>
                  <a:pt x="16" y="2"/>
                </a:lnTo>
                <a:lnTo>
                  <a:pt x="14" y="5"/>
                </a:lnTo>
                <a:lnTo>
                  <a:pt x="11" y="8"/>
                </a:lnTo>
                <a:lnTo>
                  <a:pt x="5" y="12"/>
                </a:lnTo>
                <a:lnTo>
                  <a:pt x="5" y="14"/>
                </a:lnTo>
                <a:lnTo>
                  <a:pt x="4" y="17"/>
                </a:lnTo>
                <a:lnTo>
                  <a:pt x="0" y="17"/>
                </a:lnTo>
                <a:lnTo>
                  <a:pt x="2" y="12"/>
                </a:lnTo>
                <a:lnTo>
                  <a:pt x="5" y="8"/>
                </a:lnTo>
                <a:lnTo>
                  <a:pt x="7" y="5"/>
                </a:lnTo>
                <a:lnTo>
                  <a:pt x="7" y="0"/>
                </a:lnTo>
                <a:lnTo>
                  <a:pt x="16" y="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01" name="Freeform 100">
            <a:extLst>
              <a:ext uri="{FF2B5EF4-FFF2-40B4-BE49-F238E27FC236}">
                <a16:creationId xmlns:a16="http://schemas.microsoft.com/office/drawing/2014/main" id="{B3055B36-01DF-AC80-56F8-83B4C3A76A78}"/>
              </a:ext>
            </a:extLst>
          </p:cNvPr>
          <p:cNvSpPr>
            <a:spLocks/>
          </p:cNvSpPr>
          <p:nvPr/>
        </p:nvSpPr>
        <p:spPr bwMode="auto">
          <a:xfrm>
            <a:off x="9759325" y="4763934"/>
            <a:ext cx="33338" cy="31750"/>
          </a:xfrm>
          <a:custGeom>
            <a:avLst/>
            <a:gdLst>
              <a:gd name="T0" fmla="*/ 16 w 17"/>
              <a:gd name="T1" fmla="*/ 0 h 17"/>
              <a:gd name="T2" fmla="*/ 16 w 17"/>
              <a:gd name="T3" fmla="*/ 6 h 17"/>
              <a:gd name="T4" fmla="*/ 12 w 17"/>
              <a:gd name="T5" fmla="*/ 12 h 17"/>
              <a:gd name="T6" fmla="*/ 11 w 17"/>
              <a:gd name="T7" fmla="*/ 13 h 17"/>
              <a:gd name="T8" fmla="*/ 9 w 17"/>
              <a:gd name="T9" fmla="*/ 14 h 17"/>
              <a:gd name="T10" fmla="*/ 5 w 17"/>
              <a:gd name="T11" fmla="*/ 16 h 17"/>
              <a:gd name="T12" fmla="*/ 3 w 17"/>
              <a:gd name="T13" fmla="*/ 14 h 17"/>
              <a:gd name="T14" fmla="*/ 1 w 17"/>
              <a:gd name="T15" fmla="*/ 13 h 17"/>
              <a:gd name="T16" fmla="*/ 0 w 17"/>
              <a:gd name="T17" fmla="*/ 13 h 17"/>
              <a:gd name="T18" fmla="*/ 1 w 17"/>
              <a:gd name="T19" fmla="*/ 10 h 17"/>
              <a:gd name="T20" fmla="*/ 3 w 17"/>
              <a:gd name="T21" fmla="*/ 6 h 17"/>
              <a:gd name="T22" fmla="*/ 5 w 17"/>
              <a:gd name="T23" fmla="*/ 4 h 17"/>
              <a:gd name="T24" fmla="*/ 6 w 17"/>
              <a:gd name="T25" fmla="*/ 0 h 17"/>
              <a:gd name="T26" fmla="*/ 9 w 17"/>
              <a:gd name="T27" fmla="*/ 2 h 17"/>
              <a:gd name="T28" fmla="*/ 11 w 17"/>
              <a:gd name="T29" fmla="*/ 2 h 17"/>
              <a:gd name="T30" fmla="*/ 14 w 17"/>
              <a:gd name="T31" fmla="*/ 2 h 17"/>
              <a:gd name="T32" fmla="*/ 16 w 17"/>
              <a:gd name="T33" fmla="*/ 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7" h="17">
                <a:moveTo>
                  <a:pt x="16" y="0"/>
                </a:moveTo>
                <a:lnTo>
                  <a:pt x="16" y="6"/>
                </a:lnTo>
                <a:lnTo>
                  <a:pt x="12" y="12"/>
                </a:lnTo>
                <a:lnTo>
                  <a:pt x="11" y="13"/>
                </a:lnTo>
                <a:lnTo>
                  <a:pt x="9" y="14"/>
                </a:lnTo>
                <a:lnTo>
                  <a:pt x="5" y="16"/>
                </a:lnTo>
                <a:lnTo>
                  <a:pt x="3" y="14"/>
                </a:lnTo>
                <a:lnTo>
                  <a:pt x="1" y="13"/>
                </a:lnTo>
                <a:lnTo>
                  <a:pt x="0" y="13"/>
                </a:lnTo>
                <a:lnTo>
                  <a:pt x="1" y="10"/>
                </a:lnTo>
                <a:lnTo>
                  <a:pt x="3" y="6"/>
                </a:lnTo>
                <a:lnTo>
                  <a:pt x="5" y="4"/>
                </a:lnTo>
                <a:lnTo>
                  <a:pt x="6" y="0"/>
                </a:lnTo>
                <a:lnTo>
                  <a:pt x="9" y="2"/>
                </a:lnTo>
                <a:lnTo>
                  <a:pt x="11" y="2"/>
                </a:lnTo>
                <a:lnTo>
                  <a:pt x="14" y="2"/>
                </a:lnTo>
                <a:lnTo>
                  <a:pt x="16" y="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02" name="Freeform 101">
            <a:extLst>
              <a:ext uri="{FF2B5EF4-FFF2-40B4-BE49-F238E27FC236}">
                <a16:creationId xmlns:a16="http://schemas.microsoft.com/office/drawing/2014/main" id="{7E874661-0C3F-8F61-9580-A6E0C7CFC977}"/>
              </a:ext>
            </a:extLst>
          </p:cNvPr>
          <p:cNvSpPr>
            <a:spLocks/>
          </p:cNvSpPr>
          <p:nvPr/>
        </p:nvSpPr>
        <p:spPr bwMode="auto">
          <a:xfrm>
            <a:off x="9735513" y="4697259"/>
            <a:ext cx="33338" cy="30163"/>
          </a:xfrm>
          <a:custGeom>
            <a:avLst/>
            <a:gdLst>
              <a:gd name="T0" fmla="*/ 0 w 17"/>
              <a:gd name="T1" fmla="*/ 10 h 17"/>
              <a:gd name="T2" fmla="*/ 0 w 17"/>
              <a:gd name="T3" fmla="*/ 0 h 17"/>
              <a:gd name="T4" fmla="*/ 6 w 17"/>
              <a:gd name="T5" fmla="*/ 0 h 17"/>
              <a:gd name="T6" fmla="*/ 8 w 17"/>
              <a:gd name="T7" fmla="*/ 4 h 17"/>
              <a:gd name="T8" fmla="*/ 12 w 17"/>
              <a:gd name="T9" fmla="*/ 8 h 17"/>
              <a:gd name="T10" fmla="*/ 13 w 17"/>
              <a:gd name="T11" fmla="*/ 9 h 17"/>
              <a:gd name="T12" fmla="*/ 14 w 17"/>
              <a:gd name="T13" fmla="*/ 11 h 17"/>
              <a:gd name="T14" fmla="*/ 16 w 17"/>
              <a:gd name="T15" fmla="*/ 12 h 17"/>
              <a:gd name="T16" fmla="*/ 16 w 17"/>
              <a:gd name="T17" fmla="*/ 15 h 17"/>
              <a:gd name="T18" fmla="*/ 16 w 17"/>
              <a:gd name="T19" fmla="*/ 16 h 17"/>
              <a:gd name="T20" fmla="*/ 12 w 17"/>
              <a:gd name="T21" fmla="*/ 15 h 17"/>
              <a:gd name="T22" fmla="*/ 10 w 17"/>
              <a:gd name="T23" fmla="*/ 14 h 17"/>
              <a:gd name="T24" fmla="*/ 9 w 17"/>
              <a:gd name="T25" fmla="*/ 12 h 17"/>
              <a:gd name="T26" fmla="*/ 9 w 17"/>
              <a:gd name="T27" fmla="*/ 11 h 17"/>
              <a:gd name="T28" fmla="*/ 8 w 17"/>
              <a:gd name="T29" fmla="*/ 10 h 17"/>
              <a:gd name="T30" fmla="*/ 4 w 17"/>
              <a:gd name="T31" fmla="*/ 9 h 17"/>
              <a:gd name="T32" fmla="*/ 0 w 17"/>
              <a:gd name="T33" fmla="*/ 1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7" h="17">
                <a:moveTo>
                  <a:pt x="0" y="10"/>
                </a:moveTo>
                <a:lnTo>
                  <a:pt x="0" y="0"/>
                </a:lnTo>
                <a:lnTo>
                  <a:pt x="6" y="0"/>
                </a:lnTo>
                <a:lnTo>
                  <a:pt x="8" y="4"/>
                </a:lnTo>
                <a:lnTo>
                  <a:pt x="12" y="8"/>
                </a:lnTo>
                <a:lnTo>
                  <a:pt x="13" y="9"/>
                </a:lnTo>
                <a:lnTo>
                  <a:pt x="14" y="11"/>
                </a:lnTo>
                <a:lnTo>
                  <a:pt x="16" y="12"/>
                </a:lnTo>
                <a:lnTo>
                  <a:pt x="16" y="15"/>
                </a:lnTo>
                <a:lnTo>
                  <a:pt x="16" y="16"/>
                </a:lnTo>
                <a:lnTo>
                  <a:pt x="12" y="15"/>
                </a:lnTo>
                <a:lnTo>
                  <a:pt x="10" y="14"/>
                </a:lnTo>
                <a:lnTo>
                  <a:pt x="9" y="12"/>
                </a:lnTo>
                <a:lnTo>
                  <a:pt x="9" y="11"/>
                </a:lnTo>
                <a:lnTo>
                  <a:pt x="8" y="10"/>
                </a:lnTo>
                <a:lnTo>
                  <a:pt x="4" y="9"/>
                </a:lnTo>
                <a:lnTo>
                  <a:pt x="0" y="1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03" name="Freeform 102">
            <a:extLst>
              <a:ext uri="{FF2B5EF4-FFF2-40B4-BE49-F238E27FC236}">
                <a16:creationId xmlns:a16="http://schemas.microsoft.com/office/drawing/2014/main" id="{B4474D28-EB4E-C3AE-3824-5CE05B1FDD65}"/>
              </a:ext>
            </a:extLst>
          </p:cNvPr>
          <p:cNvSpPr>
            <a:spLocks/>
          </p:cNvSpPr>
          <p:nvPr/>
        </p:nvSpPr>
        <p:spPr bwMode="auto">
          <a:xfrm>
            <a:off x="9646613" y="4673446"/>
            <a:ext cx="41275" cy="34925"/>
          </a:xfrm>
          <a:custGeom>
            <a:avLst/>
            <a:gdLst>
              <a:gd name="T0" fmla="*/ 15 w 20"/>
              <a:gd name="T1" fmla="*/ 17 h 18"/>
              <a:gd name="T2" fmla="*/ 13 w 20"/>
              <a:gd name="T3" fmla="*/ 16 h 18"/>
              <a:gd name="T4" fmla="*/ 11 w 20"/>
              <a:gd name="T5" fmla="*/ 14 h 18"/>
              <a:gd name="T6" fmla="*/ 6 w 20"/>
              <a:gd name="T7" fmla="*/ 8 h 18"/>
              <a:gd name="T8" fmla="*/ 0 w 20"/>
              <a:gd name="T9" fmla="*/ 0 h 18"/>
              <a:gd name="T10" fmla="*/ 5 w 20"/>
              <a:gd name="T11" fmla="*/ 0 h 18"/>
              <a:gd name="T12" fmla="*/ 9 w 20"/>
              <a:gd name="T13" fmla="*/ 2 h 18"/>
              <a:gd name="T14" fmla="*/ 14 w 20"/>
              <a:gd name="T15" fmla="*/ 3 h 18"/>
              <a:gd name="T16" fmla="*/ 17 w 20"/>
              <a:gd name="T17" fmla="*/ 4 h 18"/>
              <a:gd name="T18" fmla="*/ 18 w 20"/>
              <a:gd name="T19" fmla="*/ 6 h 18"/>
              <a:gd name="T20" fmla="*/ 19 w 20"/>
              <a:gd name="T21" fmla="*/ 7 h 18"/>
              <a:gd name="T22" fmla="*/ 19 w 20"/>
              <a:gd name="T23" fmla="*/ 11 h 18"/>
              <a:gd name="T24" fmla="*/ 18 w 20"/>
              <a:gd name="T25" fmla="*/ 14 h 18"/>
              <a:gd name="T26" fmla="*/ 17 w 20"/>
              <a:gd name="T27" fmla="*/ 16 h 18"/>
              <a:gd name="T28" fmla="*/ 16 w 20"/>
              <a:gd name="T29" fmla="*/ 17 h 18"/>
              <a:gd name="T30" fmla="*/ 15 w 20"/>
              <a:gd name="T31" fmla="*/ 17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0" h="18">
                <a:moveTo>
                  <a:pt x="15" y="17"/>
                </a:moveTo>
                <a:lnTo>
                  <a:pt x="13" y="16"/>
                </a:lnTo>
                <a:lnTo>
                  <a:pt x="11" y="14"/>
                </a:lnTo>
                <a:lnTo>
                  <a:pt x="6" y="8"/>
                </a:lnTo>
                <a:lnTo>
                  <a:pt x="0" y="0"/>
                </a:lnTo>
                <a:lnTo>
                  <a:pt x="5" y="0"/>
                </a:lnTo>
                <a:lnTo>
                  <a:pt x="9" y="2"/>
                </a:lnTo>
                <a:lnTo>
                  <a:pt x="14" y="3"/>
                </a:lnTo>
                <a:lnTo>
                  <a:pt x="17" y="4"/>
                </a:lnTo>
                <a:lnTo>
                  <a:pt x="18" y="6"/>
                </a:lnTo>
                <a:lnTo>
                  <a:pt x="19" y="7"/>
                </a:lnTo>
                <a:lnTo>
                  <a:pt x="19" y="11"/>
                </a:lnTo>
                <a:lnTo>
                  <a:pt x="18" y="14"/>
                </a:lnTo>
                <a:lnTo>
                  <a:pt x="17" y="16"/>
                </a:lnTo>
                <a:lnTo>
                  <a:pt x="16" y="17"/>
                </a:lnTo>
                <a:lnTo>
                  <a:pt x="15" y="17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04" name="Freeform 103">
            <a:extLst>
              <a:ext uri="{FF2B5EF4-FFF2-40B4-BE49-F238E27FC236}">
                <a16:creationId xmlns:a16="http://schemas.microsoft.com/office/drawing/2014/main" id="{1CE333FA-B572-63DE-7C56-C9A9CAD0B608}"/>
              </a:ext>
            </a:extLst>
          </p:cNvPr>
          <p:cNvSpPr>
            <a:spLocks/>
          </p:cNvSpPr>
          <p:nvPr/>
        </p:nvSpPr>
        <p:spPr bwMode="auto">
          <a:xfrm>
            <a:off x="9687888" y="4676621"/>
            <a:ext cx="33338" cy="33338"/>
          </a:xfrm>
          <a:custGeom>
            <a:avLst/>
            <a:gdLst>
              <a:gd name="T0" fmla="*/ 0 w 17"/>
              <a:gd name="T1" fmla="*/ 16 h 17"/>
              <a:gd name="T2" fmla="*/ 6 w 17"/>
              <a:gd name="T3" fmla="*/ 16 h 17"/>
              <a:gd name="T4" fmla="*/ 8 w 17"/>
              <a:gd name="T5" fmla="*/ 16 h 17"/>
              <a:gd name="T6" fmla="*/ 16 w 17"/>
              <a:gd name="T7" fmla="*/ 16 h 17"/>
              <a:gd name="T8" fmla="*/ 12 w 17"/>
              <a:gd name="T9" fmla="*/ 0 h 17"/>
              <a:gd name="T10" fmla="*/ 8 w 17"/>
              <a:gd name="T11" fmla="*/ 0 h 17"/>
              <a:gd name="T12" fmla="*/ 0 w 17"/>
              <a:gd name="T13" fmla="*/ 16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" h="17">
                <a:moveTo>
                  <a:pt x="0" y="16"/>
                </a:moveTo>
                <a:lnTo>
                  <a:pt x="6" y="16"/>
                </a:lnTo>
                <a:lnTo>
                  <a:pt x="8" y="16"/>
                </a:lnTo>
                <a:lnTo>
                  <a:pt x="16" y="16"/>
                </a:lnTo>
                <a:lnTo>
                  <a:pt x="12" y="0"/>
                </a:lnTo>
                <a:lnTo>
                  <a:pt x="8" y="0"/>
                </a:lnTo>
                <a:lnTo>
                  <a:pt x="0" y="16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05" name="Freeform 104">
            <a:extLst>
              <a:ext uri="{FF2B5EF4-FFF2-40B4-BE49-F238E27FC236}">
                <a16:creationId xmlns:a16="http://schemas.microsoft.com/office/drawing/2014/main" id="{4E1A7C8D-6553-CF8F-F4E6-ABB529E4DE2A}"/>
              </a:ext>
            </a:extLst>
          </p:cNvPr>
          <p:cNvSpPr>
            <a:spLocks/>
          </p:cNvSpPr>
          <p:nvPr/>
        </p:nvSpPr>
        <p:spPr bwMode="auto">
          <a:xfrm>
            <a:off x="10670550" y="5189384"/>
            <a:ext cx="33338" cy="49213"/>
          </a:xfrm>
          <a:custGeom>
            <a:avLst/>
            <a:gdLst>
              <a:gd name="T0" fmla="*/ 16 w 17"/>
              <a:gd name="T1" fmla="*/ 16 h 26"/>
              <a:gd name="T2" fmla="*/ 16 w 17"/>
              <a:gd name="T3" fmla="*/ 20 h 26"/>
              <a:gd name="T4" fmla="*/ 16 w 17"/>
              <a:gd name="T5" fmla="*/ 21 h 26"/>
              <a:gd name="T6" fmla="*/ 14 w 17"/>
              <a:gd name="T7" fmla="*/ 22 h 26"/>
              <a:gd name="T8" fmla="*/ 12 w 17"/>
              <a:gd name="T9" fmla="*/ 25 h 26"/>
              <a:gd name="T10" fmla="*/ 10 w 17"/>
              <a:gd name="T11" fmla="*/ 25 h 26"/>
              <a:gd name="T12" fmla="*/ 8 w 17"/>
              <a:gd name="T13" fmla="*/ 25 h 26"/>
              <a:gd name="T14" fmla="*/ 7 w 17"/>
              <a:gd name="T15" fmla="*/ 23 h 26"/>
              <a:gd name="T16" fmla="*/ 5 w 17"/>
              <a:gd name="T17" fmla="*/ 21 h 26"/>
              <a:gd name="T18" fmla="*/ 3 w 17"/>
              <a:gd name="T19" fmla="*/ 16 h 26"/>
              <a:gd name="T20" fmla="*/ 1 w 17"/>
              <a:gd name="T21" fmla="*/ 9 h 26"/>
              <a:gd name="T22" fmla="*/ 0 w 17"/>
              <a:gd name="T23" fmla="*/ 7 h 26"/>
              <a:gd name="T24" fmla="*/ 0 w 17"/>
              <a:gd name="T25" fmla="*/ 6 h 26"/>
              <a:gd name="T26" fmla="*/ 0 w 17"/>
              <a:gd name="T27" fmla="*/ 0 h 26"/>
              <a:gd name="T28" fmla="*/ 2 w 17"/>
              <a:gd name="T29" fmla="*/ 4 h 26"/>
              <a:gd name="T30" fmla="*/ 6 w 17"/>
              <a:gd name="T31" fmla="*/ 9 h 26"/>
              <a:gd name="T32" fmla="*/ 8 w 17"/>
              <a:gd name="T33" fmla="*/ 12 h 26"/>
              <a:gd name="T34" fmla="*/ 11 w 17"/>
              <a:gd name="T35" fmla="*/ 14 h 26"/>
              <a:gd name="T36" fmla="*/ 12 w 17"/>
              <a:gd name="T37" fmla="*/ 15 h 26"/>
              <a:gd name="T38" fmla="*/ 16 w 17"/>
              <a:gd name="T39" fmla="*/ 1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7" h="26">
                <a:moveTo>
                  <a:pt x="16" y="16"/>
                </a:moveTo>
                <a:lnTo>
                  <a:pt x="16" y="20"/>
                </a:lnTo>
                <a:lnTo>
                  <a:pt x="16" y="21"/>
                </a:lnTo>
                <a:lnTo>
                  <a:pt x="14" y="22"/>
                </a:lnTo>
                <a:lnTo>
                  <a:pt x="12" y="25"/>
                </a:lnTo>
                <a:lnTo>
                  <a:pt x="10" y="25"/>
                </a:lnTo>
                <a:lnTo>
                  <a:pt x="8" y="25"/>
                </a:lnTo>
                <a:lnTo>
                  <a:pt x="7" y="23"/>
                </a:lnTo>
                <a:lnTo>
                  <a:pt x="5" y="21"/>
                </a:lnTo>
                <a:lnTo>
                  <a:pt x="3" y="16"/>
                </a:lnTo>
                <a:lnTo>
                  <a:pt x="1" y="9"/>
                </a:lnTo>
                <a:lnTo>
                  <a:pt x="0" y="7"/>
                </a:lnTo>
                <a:lnTo>
                  <a:pt x="0" y="6"/>
                </a:lnTo>
                <a:lnTo>
                  <a:pt x="0" y="0"/>
                </a:lnTo>
                <a:lnTo>
                  <a:pt x="2" y="4"/>
                </a:lnTo>
                <a:lnTo>
                  <a:pt x="6" y="9"/>
                </a:lnTo>
                <a:lnTo>
                  <a:pt x="8" y="12"/>
                </a:lnTo>
                <a:lnTo>
                  <a:pt x="11" y="14"/>
                </a:lnTo>
                <a:lnTo>
                  <a:pt x="12" y="15"/>
                </a:lnTo>
                <a:lnTo>
                  <a:pt x="16" y="16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06" name="Freeform 105">
            <a:extLst>
              <a:ext uri="{FF2B5EF4-FFF2-40B4-BE49-F238E27FC236}">
                <a16:creationId xmlns:a16="http://schemas.microsoft.com/office/drawing/2014/main" id="{0EBDD7AB-A4DB-766F-7EA8-4BCFA17CF258}"/>
              </a:ext>
            </a:extLst>
          </p:cNvPr>
          <p:cNvSpPr>
            <a:spLocks/>
          </p:cNvSpPr>
          <p:nvPr/>
        </p:nvSpPr>
        <p:spPr bwMode="auto">
          <a:xfrm>
            <a:off x="10718175" y="5227484"/>
            <a:ext cx="34925" cy="31750"/>
          </a:xfrm>
          <a:custGeom>
            <a:avLst/>
            <a:gdLst>
              <a:gd name="T0" fmla="*/ 16 w 17"/>
              <a:gd name="T1" fmla="*/ 12 h 17"/>
              <a:gd name="T2" fmla="*/ 16 w 17"/>
              <a:gd name="T3" fmla="*/ 13 h 17"/>
              <a:gd name="T4" fmla="*/ 15 w 17"/>
              <a:gd name="T5" fmla="*/ 14 h 17"/>
              <a:gd name="T6" fmla="*/ 12 w 17"/>
              <a:gd name="T7" fmla="*/ 16 h 17"/>
              <a:gd name="T8" fmla="*/ 10 w 17"/>
              <a:gd name="T9" fmla="*/ 16 h 17"/>
              <a:gd name="T10" fmla="*/ 7 w 17"/>
              <a:gd name="T11" fmla="*/ 14 h 17"/>
              <a:gd name="T12" fmla="*/ 5 w 17"/>
              <a:gd name="T13" fmla="*/ 13 h 17"/>
              <a:gd name="T14" fmla="*/ 4 w 17"/>
              <a:gd name="T15" fmla="*/ 12 h 17"/>
              <a:gd name="T16" fmla="*/ 0 w 17"/>
              <a:gd name="T17" fmla="*/ 8 h 17"/>
              <a:gd name="T18" fmla="*/ 0 w 17"/>
              <a:gd name="T19" fmla="*/ 4 h 17"/>
              <a:gd name="T20" fmla="*/ 0 w 17"/>
              <a:gd name="T21" fmla="*/ 0 h 17"/>
              <a:gd name="T22" fmla="*/ 3 w 17"/>
              <a:gd name="T23" fmla="*/ 1 h 17"/>
              <a:gd name="T24" fmla="*/ 9 w 17"/>
              <a:gd name="T25" fmla="*/ 4 h 17"/>
              <a:gd name="T26" fmla="*/ 11 w 17"/>
              <a:gd name="T27" fmla="*/ 6 h 17"/>
              <a:gd name="T28" fmla="*/ 13 w 17"/>
              <a:gd name="T29" fmla="*/ 8 h 17"/>
              <a:gd name="T30" fmla="*/ 15 w 17"/>
              <a:gd name="T31" fmla="*/ 10 h 17"/>
              <a:gd name="T32" fmla="*/ 16 w 17"/>
              <a:gd name="T33" fmla="*/ 12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7" h="17">
                <a:moveTo>
                  <a:pt x="16" y="12"/>
                </a:moveTo>
                <a:lnTo>
                  <a:pt x="16" y="13"/>
                </a:lnTo>
                <a:lnTo>
                  <a:pt x="15" y="14"/>
                </a:lnTo>
                <a:lnTo>
                  <a:pt x="12" y="16"/>
                </a:lnTo>
                <a:lnTo>
                  <a:pt x="10" y="16"/>
                </a:lnTo>
                <a:lnTo>
                  <a:pt x="7" y="14"/>
                </a:lnTo>
                <a:lnTo>
                  <a:pt x="5" y="13"/>
                </a:lnTo>
                <a:lnTo>
                  <a:pt x="4" y="12"/>
                </a:lnTo>
                <a:lnTo>
                  <a:pt x="0" y="8"/>
                </a:lnTo>
                <a:lnTo>
                  <a:pt x="0" y="4"/>
                </a:lnTo>
                <a:lnTo>
                  <a:pt x="0" y="0"/>
                </a:lnTo>
                <a:lnTo>
                  <a:pt x="3" y="1"/>
                </a:lnTo>
                <a:lnTo>
                  <a:pt x="9" y="4"/>
                </a:lnTo>
                <a:lnTo>
                  <a:pt x="11" y="6"/>
                </a:lnTo>
                <a:lnTo>
                  <a:pt x="13" y="8"/>
                </a:lnTo>
                <a:lnTo>
                  <a:pt x="15" y="10"/>
                </a:lnTo>
                <a:lnTo>
                  <a:pt x="16" y="12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07" name="Freeform 106">
            <a:extLst>
              <a:ext uri="{FF2B5EF4-FFF2-40B4-BE49-F238E27FC236}">
                <a16:creationId xmlns:a16="http://schemas.microsoft.com/office/drawing/2014/main" id="{2D34E745-4BC1-1034-E81C-3C4ACA801BBC}"/>
              </a:ext>
            </a:extLst>
          </p:cNvPr>
          <p:cNvSpPr>
            <a:spLocks/>
          </p:cNvSpPr>
          <p:nvPr/>
        </p:nvSpPr>
        <p:spPr bwMode="auto">
          <a:xfrm>
            <a:off x="10775325" y="5252884"/>
            <a:ext cx="39688" cy="31750"/>
          </a:xfrm>
          <a:custGeom>
            <a:avLst/>
            <a:gdLst>
              <a:gd name="T0" fmla="*/ 19 w 20"/>
              <a:gd name="T1" fmla="*/ 12 h 17"/>
              <a:gd name="T2" fmla="*/ 17 w 20"/>
              <a:gd name="T3" fmla="*/ 13 h 17"/>
              <a:gd name="T4" fmla="*/ 16 w 20"/>
              <a:gd name="T5" fmla="*/ 15 h 17"/>
              <a:gd name="T6" fmla="*/ 13 w 20"/>
              <a:gd name="T7" fmla="*/ 16 h 17"/>
              <a:gd name="T8" fmla="*/ 13 w 20"/>
              <a:gd name="T9" fmla="*/ 15 h 17"/>
              <a:gd name="T10" fmla="*/ 11 w 20"/>
              <a:gd name="T11" fmla="*/ 13 h 17"/>
              <a:gd name="T12" fmla="*/ 6 w 20"/>
              <a:gd name="T13" fmla="*/ 9 h 17"/>
              <a:gd name="T14" fmla="*/ 2 w 20"/>
              <a:gd name="T15" fmla="*/ 5 h 17"/>
              <a:gd name="T16" fmla="*/ 0 w 20"/>
              <a:gd name="T17" fmla="*/ 2 h 17"/>
              <a:gd name="T18" fmla="*/ 0 w 20"/>
              <a:gd name="T19" fmla="*/ 0 h 17"/>
              <a:gd name="T20" fmla="*/ 2 w 20"/>
              <a:gd name="T21" fmla="*/ 0 h 17"/>
              <a:gd name="T22" fmla="*/ 4 w 20"/>
              <a:gd name="T23" fmla="*/ 0 h 17"/>
              <a:gd name="T24" fmla="*/ 10 w 20"/>
              <a:gd name="T25" fmla="*/ 3 h 17"/>
              <a:gd name="T26" fmla="*/ 16 w 20"/>
              <a:gd name="T27" fmla="*/ 8 h 17"/>
              <a:gd name="T28" fmla="*/ 17 w 20"/>
              <a:gd name="T29" fmla="*/ 10 h 17"/>
              <a:gd name="T30" fmla="*/ 19 w 20"/>
              <a:gd name="T31" fmla="*/ 12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0" h="17">
                <a:moveTo>
                  <a:pt x="19" y="12"/>
                </a:moveTo>
                <a:lnTo>
                  <a:pt x="17" y="13"/>
                </a:lnTo>
                <a:lnTo>
                  <a:pt x="16" y="15"/>
                </a:lnTo>
                <a:lnTo>
                  <a:pt x="13" y="16"/>
                </a:lnTo>
                <a:lnTo>
                  <a:pt x="13" y="15"/>
                </a:lnTo>
                <a:lnTo>
                  <a:pt x="11" y="13"/>
                </a:lnTo>
                <a:lnTo>
                  <a:pt x="6" y="9"/>
                </a:lnTo>
                <a:lnTo>
                  <a:pt x="2" y="5"/>
                </a:lnTo>
                <a:lnTo>
                  <a:pt x="0" y="2"/>
                </a:lnTo>
                <a:lnTo>
                  <a:pt x="0" y="0"/>
                </a:lnTo>
                <a:lnTo>
                  <a:pt x="2" y="0"/>
                </a:lnTo>
                <a:lnTo>
                  <a:pt x="4" y="0"/>
                </a:lnTo>
                <a:lnTo>
                  <a:pt x="10" y="3"/>
                </a:lnTo>
                <a:lnTo>
                  <a:pt x="16" y="8"/>
                </a:lnTo>
                <a:lnTo>
                  <a:pt x="17" y="10"/>
                </a:lnTo>
                <a:lnTo>
                  <a:pt x="19" y="12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08" name="Freeform 107">
            <a:extLst>
              <a:ext uri="{FF2B5EF4-FFF2-40B4-BE49-F238E27FC236}">
                <a16:creationId xmlns:a16="http://schemas.microsoft.com/office/drawing/2014/main" id="{BEB6073A-B946-B3E1-452B-2D86CD526EC5}"/>
              </a:ext>
            </a:extLst>
          </p:cNvPr>
          <p:cNvSpPr>
            <a:spLocks/>
          </p:cNvSpPr>
          <p:nvPr/>
        </p:nvSpPr>
        <p:spPr bwMode="auto">
          <a:xfrm>
            <a:off x="10837238" y="5276696"/>
            <a:ext cx="34925" cy="38100"/>
          </a:xfrm>
          <a:custGeom>
            <a:avLst/>
            <a:gdLst>
              <a:gd name="T0" fmla="*/ 2 w 17"/>
              <a:gd name="T1" fmla="*/ 0 h 21"/>
              <a:gd name="T2" fmla="*/ 5 w 17"/>
              <a:gd name="T3" fmla="*/ 2 h 21"/>
              <a:gd name="T4" fmla="*/ 7 w 17"/>
              <a:gd name="T5" fmla="*/ 3 h 21"/>
              <a:gd name="T6" fmla="*/ 10 w 17"/>
              <a:gd name="T7" fmla="*/ 6 h 21"/>
              <a:gd name="T8" fmla="*/ 12 w 17"/>
              <a:gd name="T9" fmla="*/ 9 h 21"/>
              <a:gd name="T10" fmla="*/ 15 w 17"/>
              <a:gd name="T11" fmla="*/ 13 h 21"/>
              <a:gd name="T12" fmla="*/ 16 w 17"/>
              <a:gd name="T13" fmla="*/ 18 h 21"/>
              <a:gd name="T14" fmla="*/ 15 w 17"/>
              <a:gd name="T15" fmla="*/ 20 h 21"/>
              <a:gd name="T16" fmla="*/ 13 w 17"/>
              <a:gd name="T17" fmla="*/ 20 h 21"/>
              <a:gd name="T18" fmla="*/ 10 w 17"/>
              <a:gd name="T19" fmla="*/ 18 h 21"/>
              <a:gd name="T20" fmla="*/ 7 w 17"/>
              <a:gd name="T21" fmla="*/ 16 h 21"/>
              <a:gd name="T22" fmla="*/ 4 w 17"/>
              <a:gd name="T23" fmla="*/ 13 h 21"/>
              <a:gd name="T24" fmla="*/ 2 w 17"/>
              <a:gd name="T25" fmla="*/ 11 h 21"/>
              <a:gd name="T26" fmla="*/ 1 w 17"/>
              <a:gd name="T27" fmla="*/ 9 h 21"/>
              <a:gd name="T28" fmla="*/ 0 w 17"/>
              <a:gd name="T29" fmla="*/ 7 h 21"/>
              <a:gd name="T30" fmla="*/ 0 w 17"/>
              <a:gd name="T31" fmla="*/ 6 h 21"/>
              <a:gd name="T32" fmla="*/ 0 w 17"/>
              <a:gd name="T33" fmla="*/ 3 h 21"/>
              <a:gd name="T34" fmla="*/ 1 w 17"/>
              <a:gd name="T35" fmla="*/ 2 h 21"/>
              <a:gd name="T36" fmla="*/ 4 w 17"/>
              <a:gd name="T37" fmla="*/ 1 h 21"/>
              <a:gd name="T38" fmla="*/ 5 w 17"/>
              <a:gd name="T39" fmla="*/ 1 h 21"/>
              <a:gd name="T40" fmla="*/ 2 w 17"/>
              <a:gd name="T41" fmla="*/ 0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7" h="21">
                <a:moveTo>
                  <a:pt x="2" y="0"/>
                </a:moveTo>
                <a:lnTo>
                  <a:pt x="5" y="2"/>
                </a:lnTo>
                <a:lnTo>
                  <a:pt x="7" y="3"/>
                </a:lnTo>
                <a:lnTo>
                  <a:pt x="10" y="6"/>
                </a:lnTo>
                <a:lnTo>
                  <a:pt x="12" y="9"/>
                </a:lnTo>
                <a:lnTo>
                  <a:pt x="15" y="13"/>
                </a:lnTo>
                <a:lnTo>
                  <a:pt x="16" y="18"/>
                </a:lnTo>
                <a:lnTo>
                  <a:pt x="15" y="20"/>
                </a:lnTo>
                <a:lnTo>
                  <a:pt x="13" y="20"/>
                </a:lnTo>
                <a:lnTo>
                  <a:pt x="10" y="18"/>
                </a:lnTo>
                <a:lnTo>
                  <a:pt x="7" y="16"/>
                </a:lnTo>
                <a:lnTo>
                  <a:pt x="4" y="13"/>
                </a:lnTo>
                <a:lnTo>
                  <a:pt x="2" y="11"/>
                </a:lnTo>
                <a:lnTo>
                  <a:pt x="1" y="9"/>
                </a:lnTo>
                <a:lnTo>
                  <a:pt x="0" y="7"/>
                </a:lnTo>
                <a:lnTo>
                  <a:pt x="0" y="6"/>
                </a:lnTo>
                <a:lnTo>
                  <a:pt x="0" y="3"/>
                </a:lnTo>
                <a:lnTo>
                  <a:pt x="1" y="2"/>
                </a:lnTo>
                <a:lnTo>
                  <a:pt x="4" y="1"/>
                </a:lnTo>
                <a:lnTo>
                  <a:pt x="5" y="1"/>
                </a:lnTo>
                <a:lnTo>
                  <a:pt x="2" y="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09" name="Freeform 108">
            <a:extLst>
              <a:ext uri="{FF2B5EF4-FFF2-40B4-BE49-F238E27FC236}">
                <a16:creationId xmlns:a16="http://schemas.microsoft.com/office/drawing/2014/main" id="{487DB868-61E2-E34B-CCE8-A620ABF0D75E}"/>
              </a:ext>
            </a:extLst>
          </p:cNvPr>
          <p:cNvSpPr>
            <a:spLocks/>
          </p:cNvSpPr>
          <p:nvPr/>
        </p:nvSpPr>
        <p:spPr bwMode="auto">
          <a:xfrm>
            <a:off x="10851525" y="5329084"/>
            <a:ext cx="34925" cy="30163"/>
          </a:xfrm>
          <a:custGeom>
            <a:avLst/>
            <a:gdLst>
              <a:gd name="T0" fmla="*/ 16 w 17"/>
              <a:gd name="T1" fmla="*/ 16 h 17"/>
              <a:gd name="T2" fmla="*/ 10 w 17"/>
              <a:gd name="T3" fmla="*/ 16 h 17"/>
              <a:gd name="T4" fmla="*/ 7 w 17"/>
              <a:gd name="T5" fmla="*/ 16 h 17"/>
              <a:gd name="T6" fmla="*/ 6 w 17"/>
              <a:gd name="T7" fmla="*/ 13 h 17"/>
              <a:gd name="T8" fmla="*/ 4 w 17"/>
              <a:gd name="T9" fmla="*/ 10 h 17"/>
              <a:gd name="T10" fmla="*/ 0 w 17"/>
              <a:gd name="T11" fmla="*/ 4 h 17"/>
              <a:gd name="T12" fmla="*/ 0 w 17"/>
              <a:gd name="T13" fmla="*/ 0 h 17"/>
              <a:gd name="T14" fmla="*/ 5 w 17"/>
              <a:gd name="T15" fmla="*/ 1 h 17"/>
              <a:gd name="T16" fmla="*/ 10 w 17"/>
              <a:gd name="T17" fmla="*/ 4 h 17"/>
              <a:gd name="T18" fmla="*/ 11 w 17"/>
              <a:gd name="T19" fmla="*/ 8 h 17"/>
              <a:gd name="T20" fmla="*/ 14 w 17"/>
              <a:gd name="T21" fmla="*/ 9 h 17"/>
              <a:gd name="T22" fmla="*/ 15 w 17"/>
              <a:gd name="T23" fmla="*/ 12 h 17"/>
              <a:gd name="T24" fmla="*/ 16 w 17"/>
              <a:gd name="T25" fmla="*/ 16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7" h="17">
                <a:moveTo>
                  <a:pt x="16" y="16"/>
                </a:moveTo>
                <a:lnTo>
                  <a:pt x="10" y="16"/>
                </a:lnTo>
                <a:lnTo>
                  <a:pt x="7" y="16"/>
                </a:lnTo>
                <a:lnTo>
                  <a:pt x="6" y="13"/>
                </a:lnTo>
                <a:lnTo>
                  <a:pt x="4" y="10"/>
                </a:lnTo>
                <a:lnTo>
                  <a:pt x="0" y="4"/>
                </a:lnTo>
                <a:lnTo>
                  <a:pt x="0" y="0"/>
                </a:lnTo>
                <a:lnTo>
                  <a:pt x="5" y="1"/>
                </a:lnTo>
                <a:lnTo>
                  <a:pt x="10" y="4"/>
                </a:lnTo>
                <a:lnTo>
                  <a:pt x="11" y="8"/>
                </a:lnTo>
                <a:lnTo>
                  <a:pt x="14" y="9"/>
                </a:lnTo>
                <a:lnTo>
                  <a:pt x="15" y="12"/>
                </a:lnTo>
                <a:lnTo>
                  <a:pt x="16" y="16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10" name="Freeform 109">
            <a:extLst>
              <a:ext uri="{FF2B5EF4-FFF2-40B4-BE49-F238E27FC236}">
                <a16:creationId xmlns:a16="http://schemas.microsoft.com/office/drawing/2014/main" id="{7E77045A-E906-4F83-F482-F77116A94D7D}"/>
              </a:ext>
            </a:extLst>
          </p:cNvPr>
          <p:cNvSpPr>
            <a:spLocks/>
          </p:cNvSpPr>
          <p:nvPr/>
        </p:nvSpPr>
        <p:spPr bwMode="auto">
          <a:xfrm>
            <a:off x="10800725" y="5303684"/>
            <a:ext cx="39688" cy="33338"/>
          </a:xfrm>
          <a:custGeom>
            <a:avLst/>
            <a:gdLst>
              <a:gd name="T0" fmla="*/ 19 w 20"/>
              <a:gd name="T1" fmla="*/ 10 h 17"/>
              <a:gd name="T2" fmla="*/ 18 w 20"/>
              <a:gd name="T3" fmla="*/ 12 h 17"/>
              <a:gd name="T4" fmla="*/ 17 w 20"/>
              <a:gd name="T5" fmla="*/ 13 h 17"/>
              <a:gd name="T6" fmla="*/ 14 w 20"/>
              <a:gd name="T7" fmla="*/ 16 h 17"/>
              <a:gd name="T8" fmla="*/ 10 w 20"/>
              <a:gd name="T9" fmla="*/ 13 h 17"/>
              <a:gd name="T10" fmla="*/ 5 w 20"/>
              <a:gd name="T11" fmla="*/ 10 h 17"/>
              <a:gd name="T12" fmla="*/ 1 w 20"/>
              <a:gd name="T13" fmla="*/ 8 h 17"/>
              <a:gd name="T14" fmla="*/ 0 w 20"/>
              <a:gd name="T15" fmla="*/ 5 h 17"/>
              <a:gd name="T16" fmla="*/ 0 w 20"/>
              <a:gd name="T17" fmla="*/ 2 h 17"/>
              <a:gd name="T18" fmla="*/ 0 w 20"/>
              <a:gd name="T19" fmla="*/ 1 h 17"/>
              <a:gd name="T20" fmla="*/ 2 w 20"/>
              <a:gd name="T21" fmla="*/ 0 h 17"/>
              <a:gd name="T22" fmla="*/ 9 w 20"/>
              <a:gd name="T23" fmla="*/ 1 h 17"/>
              <a:gd name="T24" fmla="*/ 12 w 20"/>
              <a:gd name="T25" fmla="*/ 2 h 17"/>
              <a:gd name="T26" fmla="*/ 15 w 20"/>
              <a:gd name="T27" fmla="*/ 5 h 17"/>
              <a:gd name="T28" fmla="*/ 18 w 20"/>
              <a:gd name="T29" fmla="*/ 8 h 17"/>
              <a:gd name="T30" fmla="*/ 19 w 20"/>
              <a:gd name="T31" fmla="*/ 9 h 17"/>
              <a:gd name="T32" fmla="*/ 19 w 20"/>
              <a:gd name="T33" fmla="*/ 1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0" h="17">
                <a:moveTo>
                  <a:pt x="19" y="10"/>
                </a:moveTo>
                <a:lnTo>
                  <a:pt x="18" y="12"/>
                </a:lnTo>
                <a:lnTo>
                  <a:pt x="17" y="13"/>
                </a:lnTo>
                <a:lnTo>
                  <a:pt x="14" y="16"/>
                </a:lnTo>
                <a:lnTo>
                  <a:pt x="10" y="13"/>
                </a:lnTo>
                <a:lnTo>
                  <a:pt x="5" y="10"/>
                </a:lnTo>
                <a:lnTo>
                  <a:pt x="1" y="8"/>
                </a:lnTo>
                <a:lnTo>
                  <a:pt x="0" y="5"/>
                </a:lnTo>
                <a:lnTo>
                  <a:pt x="0" y="2"/>
                </a:lnTo>
                <a:lnTo>
                  <a:pt x="0" y="1"/>
                </a:lnTo>
                <a:lnTo>
                  <a:pt x="2" y="0"/>
                </a:lnTo>
                <a:lnTo>
                  <a:pt x="9" y="1"/>
                </a:lnTo>
                <a:lnTo>
                  <a:pt x="12" y="2"/>
                </a:lnTo>
                <a:lnTo>
                  <a:pt x="15" y="5"/>
                </a:lnTo>
                <a:lnTo>
                  <a:pt x="18" y="8"/>
                </a:lnTo>
                <a:lnTo>
                  <a:pt x="19" y="9"/>
                </a:lnTo>
                <a:lnTo>
                  <a:pt x="19" y="1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11" name="Freeform 110">
            <a:extLst>
              <a:ext uri="{FF2B5EF4-FFF2-40B4-BE49-F238E27FC236}">
                <a16:creationId xmlns:a16="http://schemas.microsoft.com/office/drawing/2014/main" id="{6E1FFB42-C03E-FADF-1A79-7ECBF942ACCB}"/>
              </a:ext>
            </a:extLst>
          </p:cNvPr>
          <p:cNvSpPr>
            <a:spLocks/>
          </p:cNvSpPr>
          <p:nvPr/>
        </p:nvSpPr>
        <p:spPr bwMode="auto">
          <a:xfrm>
            <a:off x="10716588" y="5252884"/>
            <a:ext cx="47625" cy="34925"/>
          </a:xfrm>
          <a:custGeom>
            <a:avLst/>
            <a:gdLst>
              <a:gd name="T0" fmla="*/ 5 w 24"/>
              <a:gd name="T1" fmla="*/ 0 h 19"/>
              <a:gd name="T2" fmla="*/ 5 w 24"/>
              <a:gd name="T3" fmla="*/ 1 h 19"/>
              <a:gd name="T4" fmla="*/ 6 w 24"/>
              <a:gd name="T5" fmla="*/ 3 h 19"/>
              <a:gd name="T6" fmla="*/ 6 w 24"/>
              <a:gd name="T7" fmla="*/ 4 h 19"/>
              <a:gd name="T8" fmla="*/ 8 w 24"/>
              <a:gd name="T9" fmla="*/ 5 h 19"/>
              <a:gd name="T10" fmla="*/ 10 w 24"/>
              <a:gd name="T11" fmla="*/ 7 h 19"/>
              <a:gd name="T12" fmla="*/ 13 w 24"/>
              <a:gd name="T13" fmla="*/ 8 h 19"/>
              <a:gd name="T14" fmla="*/ 17 w 24"/>
              <a:gd name="T15" fmla="*/ 9 h 19"/>
              <a:gd name="T16" fmla="*/ 19 w 24"/>
              <a:gd name="T17" fmla="*/ 10 h 19"/>
              <a:gd name="T18" fmla="*/ 20 w 24"/>
              <a:gd name="T19" fmla="*/ 10 h 19"/>
              <a:gd name="T20" fmla="*/ 22 w 24"/>
              <a:gd name="T21" fmla="*/ 12 h 19"/>
              <a:gd name="T22" fmla="*/ 22 w 24"/>
              <a:gd name="T23" fmla="*/ 13 h 19"/>
              <a:gd name="T24" fmla="*/ 23 w 24"/>
              <a:gd name="T25" fmla="*/ 14 h 19"/>
              <a:gd name="T26" fmla="*/ 22 w 24"/>
              <a:gd name="T27" fmla="*/ 15 h 19"/>
              <a:gd name="T28" fmla="*/ 20 w 24"/>
              <a:gd name="T29" fmla="*/ 17 h 19"/>
              <a:gd name="T30" fmla="*/ 18 w 24"/>
              <a:gd name="T31" fmla="*/ 18 h 19"/>
              <a:gd name="T32" fmla="*/ 16 w 24"/>
              <a:gd name="T33" fmla="*/ 17 h 19"/>
              <a:gd name="T34" fmla="*/ 15 w 24"/>
              <a:gd name="T35" fmla="*/ 15 h 19"/>
              <a:gd name="T36" fmla="*/ 14 w 24"/>
              <a:gd name="T37" fmla="*/ 14 h 19"/>
              <a:gd name="T38" fmla="*/ 13 w 24"/>
              <a:gd name="T39" fmla="*/ 13 h 19"/>
              <a:gd name="T40" fmla="*/ 11 w 24"/>
              <a:gd name="T41" fmla="*/ 12 h 19"/>
              <a:gd name="T42" fmla="*/ 9 w 24"/>
              <a:gd name="T43" fmla="*/ 10 h 19"/>
              <a:gd name="T44" fmla="*/ 9 w 24"/>
              <a:gd name="T45" fmla="*/ 8 h 19"/>
              <a:gd name="T46" fmla="*/ 8 w 24"/>
              <a:gd name="T47" fmla="*/ 8 h 19"/>
              <a:gd name="T48" fmla="*/ 6 w 24"/>
              <a:gd name="T49" fmla="*/ 7 h 19"/>
              <a:gd name="T50" fmla="*/ 5 w 24"/>
              <a:gd name="T51" fmla="*/ 6 h 19"/>
              <a:gd name="T52" fmla="*/ 5 w 24"/>
              <a:gd name="T53" fmla="*/ 5 h 19"/>
              <a:gd name="T54" fmla="*/ 2 w 24"/>
              <a:gd name="T55" fmla="*/ 4 h 19"/>
              <a:gd name="T56" fmla="*/ 1 w 24"/>
              <a:gd name="T57" fmla="*/ 4 h 19"/>
              <a:gd name="T58" fmla="*/ 0 w 24"/>
              <a:gd name="T59" fmla="*/ 3 h 19"/>
              <a:gd name="T60" fmla="*/ 0 w 24"/>
              <a:gd name="T61" fmla="*/ 2 h 19"/>
              <a:gd name="T62" fmla="*/ 0 w 24"/>
              <a:gd name="T63" fmla="*/ 0 h 19"/>
              <a:gd name="T64" fmla="*/ 5 w 24"/>
              <a:gd name="T65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4" h="19">
                <a:moveTo>
                  <a:pt x="5" y="0"/>
                </a:moveTo>
                <a:lnTo>
                  <a:pt x="5" y="1"/>
                </a:lnTo>
                <a:lnTo>
                  <a:pt x="6" y="3"/>
                </a:lnTo>
                <a:lnTo>
                  <a:pt x="6" y="4"/>
                </a:lnTo>
                <a:lnTo>
                  <a:pt x="8" y="5"/>
                </a:lnTo>
                <a:lnTo>
                  <a:pt x="10" y="7"/>
                </a:lnTo>
                <a:lnTo>
                  <a:pt x="13" y="8"/>
                </a:lnTo>
                <a:lnTo>
                  <a:pt x="17" y="9"/>
                </a:lnTo>
                <a:lnTo>
                  <a:pt x="19" y="10"/>
                </a:lnTo>
                <a:lnTo>
                  <a:pt x="20" y="10"/>
                </a:lnTo>
                <a:lnTo>
                  <a:pt x="22" y="12"/>
                </a:lnTo>
                <a:lnTo>
                  <a:pt x="22" y="13"/>
                </a:lnTo>
                <a:lnTo>
                  <a:pt x="23" y="14"/>
                </a:lnTo>
                <a:lnTo>
                  <a:pt x="22" y="15"/>
                </a:lnTo>
                <a:lnTo>
                  <a:pt x="20" y="17"/>
                </a:lnTo>
                <a:lnTo>
                  <a:pt x="18" y="18"/>
                </a:lnTo>
                <a:lnTo>
                  <a:pt x="16" y="17"/>
                </a:lnTo>
                <a:lnTo>
                  <a:pt x="15" y="15"/>
                </a:lnTo>
                <a:lnTo>
                  <a:pt x="14" y="14"/>
                </a:lnTo>
                <a:lnTo>
                  <a:pt x="13" y="13"/>
                </a:lnTo>
                <a:lnTo>
                  <a:pt x="11" y="12"/>
                </a:lnTo>
                <a:lnTo>
                  <a:pt x="9" y="10"/>
                </a:lnTo>
                <a:lnTo>
                  <a:pt x="9" y="8"/>
                </a:lnTo>
                <a:lnTo>
                  <a:pt x="8" y="8"/>
                </a:lnTo>
                <a:lnTo>
                  <a:pt x="6" y="7"/>
                </a:lnTo>
                <a:lnTo>
                  <a:pt x="5" y="6"/>
                </a:lnTo>
                <a:lnTo>
                  <a:pt x="5" y="5"/>
                </a:lnTo>
                <a:lnTo>
                  <a:pt x="2" y="4"/>
                </a:lnTo>
                <a:lnTo>
                  <a:pt x="1" y="4"/>
                </a:lnTo>
                <a:lnTo>
                  <a:pt x="0" y="3"/>
                </a:lnTo>
                <a:lnTo>
                  <a:pt x="0" y="2"/>
                </a:lnTo>
                <a:lnTo>
                  <a:pt x="0" y="0"/>
                </a:lnTo>
                <a:lnTo>
                  <a:pt x="5" y="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12" name="Freeform 111">
            <a:extLst>
              <a:ext uri="{FF2B5EF4-FFF2-40B4-BE49-F238E27FC236}">
                <a16:creationId xmlns:a16="http://schemas.microsoft.com/office/drawing/2014/main" id="{92B7B7F3-86F9-02D6-CA4C-3AB7ECDDB836}"/>
              </a:ext>
            </a:extLst>
          </p:cNvPr>
          <p:cNvSpPr>
            <a:spLocks/>
          </p:cNvSpPr>
          <p:nvPr/>
        </p:nvSpPr>
        <p:spPr bwMode="auto">
          <a:xfrm>
            <a:off x="10478463" y="6335559"/>
            <a:ext cx="33338" cy="31750"/>
          </a:xfrm>
          <a:custGeom>
            <a:avLst/>
            <a:gdLst>
              <a:gd name="T0" fmla="*/ 16 w 17"/>
              <a:gd name="T1" fmla="*/ 0 h 17"/>
              <a:gd name="T2" fmla="*/ 16 w 17"/>
              <a:gd name="T3" fmla="*/ 4 h 17"/>
              <a:gd name="T4" fmla="*/ 12 w 17"/>
              <a:gd name="T5" fmla="*/ 6 h 17"/>
              <a:gd name="T6" fmla="*/ 9 w 17"/>
              <a:gd name="T7" fmla="*/ 12 h 17"/>
              <a:gd name="T8" fmla="*/ 7 w 17"/>
              <a:gd name="T9" fmla="*/ 14 h 17"/>
              <a:gd name="T10" fmla="*/ 4 w 17"/>
              <a:gd name="T11" fmla="*/ 16 h 17"/>
              <a:gd name="T12" fmla="*/ 0 w 17"/>
              <a:gd name="T13" fmla="*/ 16 h 17"/>
              <a:gd name="T14" fmla="*/ 0 w 17"/>
              <a:gd name="T15" fmla="*/ 10 h 17"/>
              <a:gd name="T16" fmla="*/ 2 w 17"/>
              <a:gd name="T17" fmla="*/ 4 h 17"/>
              <a:gd name="T18" fmla="*/ 3 w 17"/>
              <a:gd name="T19" fmla="*/ 2 h 17"/>
              <a:gd name="T20" fmla="*/ 5 w 17"/>
              <a:gd name="T21" fmla="*/ 0 h 17"/>
              <a:gd name="T22" fmla="*/ 8 w 17"/>
              <a:gd name="T23" fmla="*/ 0 h 17"/>
              <a:gd name="T24" fmla="*/ 16 w 17"/>
              <a:gd name="T25" fmla="*/ 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7" h="17">
                <a:moveTo>
                  <a:pt x="16" y="0"/>
                </a:moveTo>
                <a:lnTo>
                  <a:pt x="16" y="4"/>
                </a:lnTo>
                <a:lnTo>
                  <a:pt x="12" y="6"/>
                </a:lnTo>
                <a:lnTo>
                  <a:pt x="9" y="12"/>
                </a:lnTo>
                <a:lnTo>
                  <a:pt x="7" y="14"/>
                </a:lnTo>
                <a:lnTo>
                  <a:pt x="4" y="16"/>
                </a:lnTo>
                <a:lnTo>
                  <a:pt x="0" y="16"/>
                </a:lnTo>
                <a:lnTo>
                  <a:pt x="0" y="10"/>
                </a:lnTo>
                <a:lnTo>
                  <a:pt x="2" y="4"/>
                </a:lnTo>
                <a:lnTo>
                  <a:pt x="3" y="2"/>
                </a:lnTo>
                <a:lnTo>
                  <a:pt x="5" y="0"/>
                </a:lnTo>
                <a:lnTo>
                  <a:pt x="8" y="0"/>
                </a:lnTo>
                <a:lnTo>
                  <a:pt x="16" y="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13" name="Freeform 112">
            <a:extLst>
              <a:ext uri="{FF2B5EF4-FFF2-40B4-BE49-F238E27FC236}">
                <a16:creationId xmlns:a16="http://schemas.microsoft.com/office/drawing/2014/main" id="{A35F4ADD-FAD9-4841-D4C8-063B964E6F3A}"/>
              </a:ext>
            </a:extLst>
          </p:cNvPr>
          <p:cNvSpPr>
            <a:spLocks/>
          </p:cNvSpPr>
          <p:nvPr/>
        </p:nvSpPr>
        <p:spPr bwMode="auto">
          <a:xfrm>
            <a:off x="6841500" y="3551084"/>
            <a:ext cx="63500" cy="47625"/>
          </a:xfrm>
          <a:custGeom>
            <a:avLst/>
            <a:gdLst>
              <a:gd name="T0" fmla="*/ 24 w 31"/>
              <a:gd name="T1" fmla="*/ 0 h 26"/>
              <a:gd name="T2" fmla="*/ 21 w 31"/>
              <a:gd name="T3" fmla="*/ 1 h 26"/>
              <a:gd name="T4" fmla="*/ 17 w 31"/>
              <a:gd name="T5" fmla="*/ 1 h 26"/>
              <a:gd name="T6" fmla="*/ 9 w 31"/>
              <a:gd name="T7" fmla="*/ 2 h 26"/>
              <a:gd name="T8" fmla="*/ 5 w 31"/>
              <a:gd name="T9" fmla="*/ 3 h 26"/>
              <a:gd name="T10" fmla="*/ 3 w 31"/>
              <a:gd name="T11" fmla="*/ 3 h 26"/>
              <a:gd name="T12" fmla="*/ 1 w 31"/>
              <a:gd name="T13" fmla="*/ 4 h 26"/>
              <a:gd name="T14" fmla="*/ 0 w 31"/>
              <a:gd name="T15" fmla="*/ 6 h 26"/>
              <a:gd name="T16" fmla="*/ 0 w 31"/>
              <a:gd name="T17" fmla="*/ 8 h 26"/>
              <a:gd name="T18" fmla="*/ 0 w 31"/>
              <a:gd name="T19" fmla="*/ 11 h 26"/>
              <a:gd name="T20" fmla="*/ 0 w 31"/>
              <a:gd name="T21" fmla="*/ 12 h 26"/>
              <a:gd name="T22" fmla="*/ 1 w 31"/>
              <a:gd name="T23" fmla="*/ 13 h 26"/>
              <a:gd name="T24" fmla="*/ 5 w 31"/>
              <a:gd name="T25" fmla="*/ 15 h 26"/>
              <a:gd name="T26" fmla="*/ 5 w 31"/>
              <a:gd name="T27" fmla="*/ 25 h 26"/>
              <a:gd name="T28" fmla="*/ 8 w 31"/>
              <a:gd name="T29" fmla="*/ 24 h 26"/>
              <a:gd name="T30" fmla="*/ 12 w 31"/>
              <a:gd name="T31" fmla="*/ 23 h 26"/>
              <a:gd name="T32" fmla="*/ 14 w 31"/>
              <a:gd name="T33" fmla="*/ 21 h 26"/>
              <a:gd name="T34" fmla="*/ 17 w 31"/>
              <a:gd name="T35" fmla="*/ 19 h 26"/>
              <a:gd name="T36" fmla="*/ 23 w 31"/>
              <a:gd name="T37" fmla="*/ 13 h 26"/>
              <a:gd name="T38" fmla="*/ 26 w 31"/>
              <a:gd name="T39" fmla="*/ 11 h 26"/>
              <a:gd name="T40" fmla="*/ 30 w 31"/>
              <a:gd name="T41" fmla="*/ 9 h 26"/>
              <a:gd name="T42" fmla="*/ 27 w 31"/>
              <a:gd name="T43" fmla="*/ 7 h 26"/>
              <a:gd name="T44" fmla="*/ 26 w 31"/>
              <a:gd name="T45" fmla="*/ 6 h 26"/>
              <a:gd name="T46" fmla="*/ 22 w 31"/>
              <a:gd name="T47" fmla="*/ 0 h 26"/>
              <a:gd name="T48" fmla="*/ 24 w 31"/>
              <a:gd name="T49" fmla="*/ 0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1" h="26">
                <a:moveTo>
                  <a:pt x="24" y="0"/>
                </a:moveTo>
                <a:lnTo>
                  <a:pt x="21" y="1"/>
                </a:lnTo>
                <a:lnTo>
                  <a:pt x="17" y="1"/>
                </a:lnTo>
                <a:lnTo>
                  <a:pt x="9" y="2"/>
                </a:lnTo>
                <a:lnTo>
                  <a:pt x="5" y="3"/>
                </a:lnTo>
                <a:lnTo>
                  <a:pt x="3" y="3"/>
                </a:lnTo>
                <a:lnTo>
                  <a:pt x="1" y="4"/>
                </a:lnTo>
                <a:lnTo>
                  <a:pt x="0" y="6"/>
                </a:lnTo>
                <a:lnTo>
                  <a:pt x="0" y="8"/>
                </a:lnTo>
                <a:lnTo>
                  <a:pt x="0" y="11"/>
                </a:lnTo>
                <a:lnTo>
                  <a:pt x="0" y="12"/>
                </a:lnTo>
                <a:lnTo>
                  <a:pt x="1" y="13"/>
                </a:lnTo>
                <a:lnTo>
                  <a:pt x="5" y="15"/>
                </a:lnTo>
                <a:lnTo>
                  <a:pt x="5" y="25"/>
                </a:lnTo>
                <a:lnTo>
                  <a:pt x="8" y="24"/>
                </a:lnTo>
                <a:lnTo>
                  <a:pt x="12" y="23"/>
                </a:lnTo>
                <a:lnTo>
                  <a:pt x="14" y="21"/>
                </a:lnTo>
                <a:lnTo>
                  <a:pt x="17" y="19"/>
                </a:lnTo>
                <a:lnTo>
                  <a:pt x="23" y="13"/>
                </a:lnTo>
                <a:lnTo>
                  <a:pt x="26" y="11"/>
                </a:lnTo>
                <a:lnTo>
                  <a:pt x="30" y="9"/>
                </a:lnTo>
                <a:lnTo>
                  <a:pt x="27" y="7"/>
                </a:lnTo>
                <a:lnTo>
                  <a:pt x="26" y="6"/>
                </a:lnTo>
                <a:lnTo>
                  <a:pt x="22" y="0"/>
                </a:lnTo>
                <a:lnTo>
                  <a:pt x="24" y="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14" name="Freeform 113">
            <a:extLst>
              <a:ext uri="{FF2B5EF4-FFF2-40B4-BE49-F238E27FC236}">
                <a16:creationId xmlns:a16="http://schemas.microsoft.com/office/drawing/2014/main" id="{E45BB072-A260-A2FE-51DF-BEFE59D9605F}"/>
              </a:ext>
            </a:extLst>
          </p:cNvPr>
          <p:cNvSpPr>
            <a:spLocks/>
          </p:cNvSpPr>
          <p:nvPr/>
        </p:nvSpPr>
        <p:spPr bwMode="auto">
          <a:xfrm>
            <a:off x="9065588" y="4217834"/>
            <a:ext cx="276225" cy="527050"/>
          </a:xfrm>
          <a:custGeom>
            <a:avLst/>
            <a:gdLst>
              <a:gd name="T0" fmla="*/ 59 w 137"/>
              <a:gd name="T1" fmla="*/ 240 h 282"/>
              <a:gd name="T2" fmla="*/ 80 w 137"/>
              <a:gd name="T3" fmla="*/ 232 h 282"/>
              <a:gd name="T4" fmla="*/ 80 w 137"/>
              <a:gd name="T5" fmla="*/ 224 h 282"/>
              <a:gd name="T6" fmla="*/ 102 w 137"/>
              <a:gd name="T7" fmla="*/ 208 h 282"/>
              <a:gd name="T8" fmla="*/ 104 w 137"/>
              <a:gd name="T9" fmla="*/ 204 h 282"/>
              <a:gd name="T10" fmla="*/ 104 w 137"/>
              <a:gd name="T11" fmla="*/ 198 h 282"/>
              <a:gd name="T12" fmla="*/ 102 w 137"/>
              <a:gd name="T13" fmla="*/ 185 h 282"/>
              <a:gd name="T14" fmla="*/ 99 w 137"/>
              <a:gd name="T15" fmla="*/ 158 h 282"/>
              <a:gd name="T16" fmla="*/ 92 w 137"/>
              <a:gd name="T17" fmla="*/ 142 h 282"/>
              <a:gd name="T18" fmla="*/ 77 w 137"/>
              <a:gd name="T19" fmla="*/ 119 h 282"/>
              <a:gd name="T20" fmla="*/ 69 w 137"/>
              <a:gd name="T21" fmla="*/ 112 h 282"/>
              <a:gd name="T22" fmla="*/ 62 w 137"/>
              <a:gd name="T23" fmla="*/ 103 h 282"/>
              <a:gd name="T24" fmla="*/ 55 w 137"/>
              <a:gd name="T25" fmla="*/ 94 h 282"/>
              <a:gd name="T26" fmla="*/ 34 w 137"/>
              <a:gd name="T27" fmla="*/ 76 h 282"/>
              <a:gd name="T28" fmla="*/ 29 w 137"/>
              <a:gd name="T29" fmla="*/ 66 h 282"/>
              <a:gd name="T30" fmla="*/ 30 w 137"/>
              <a:gd name="T31" fmla="*/ 62 h 282"/>
              <a:gd name="T32" fmla="*/ 38 w 137"/>
              <a:gd name="T33" fmla="*/ 56 h 282"/>
              <a:gd name="T34" fmla="*/ 25 w 137"/>
              <a:gd name="T35" fmla="*/ 45 h 282"/>
              <a:gd name="T36" fmla="*/ 13 w 137"/>
              <a:gd name="T37" fmla="*/ 39 h 282"/>
              <a:gd name="T38" fmla="*/ 3 w 137"/>
              <a:gd name="T39" fmla="*/ 29 h 282"/>
              <a:gd name="T40" fmla="*/ 1 w 137"/>
              <a:gd name="T41" fmla="*/ 21 h 282"/>
              <a:gd name="T42" fmla="*/ 6 w 137"/>
              <a:gd name="T43" fmla="*/ 13 h 282"/>
              <a:gd name="T44" fmla="*/ 19 w 137"/>
              <a:gd name="T45" fmla="*/ 12 h 282"/>
              <a:gd name="T46" fmla="*/ 31 w 137"/>
              <a:gd name="T47" fmla="*/ 6 h 282"/>
              <a:gd name="T48" fmla="*/ 43 w 137"/>
              <a:gd name="T49" fmla="*/ 0 h 282"/>
              <a:gd name="T50" fmla="*/ 49 w 137"/>
              <a:gd name="T51" fmla="*/ 0 h 282"/>
              <a:gd name="T52" fmla="*/ 57 w 137"/>
              <a:gd name="T53" fmla="*/ 4 h 282"/>
              <a:gd name="T54" fmla="*/ 65 w 137"/>
              <a:gd name="T55" fmla="*/ 5 h 282"/>
              <a:gd name="T56" fmla="*/ 68 w 137"/>
              <a:gd name="T57" fmla="*/ 16 h 282"/>
              <a:gd name="T58" fmla="*/ 72 w 137"/>
              <a:gd name="T59" fmla="*/ 22 h 282"/>
              <a:gd name="T60" fmla="*/ 82 w 137"/>
              <a:gd name="T61" fmla="*/ 29 h 282"/>
              <a:gd name="T62" fmla="*/ 87 w 137"/>
              <a:gd name="T63" fmla="*/ 36 h 282"/>
              <a:gd name="T64" fmla="*/ 83 w 137"/>
              <a:gd name="T65" fmla="*/ 42 h 282"/>
              <a:gd name="T66" fmla="*/ 77 w 137"/>
              <a:gd name="T67" fmla="*/ 41 h 282"/>
              <a:gd name="T68" fmla="*/ 75 w 137"/>
              <a:gd name="T69" fmla="*/ 50 h 282"/>
              <a:gd name="T70" fmla="*/ 69 w 137"/>
              <a:gd name="T71" fmla="*/ 62 h 282"/>
              <a:gd name="T72" fmla="*/ 66 w 137"/>
              <a:gd name="T73" fmla="*/ 72 h 282"/>
              <a:gd name="T74" fmla="*/ 68 w 137"/>
              <a:gd name="T75" fmla="*/ 89 h 282"/>
              <a:gd name="T76" fmla="*/ 75 w 137"/>
              <a:gd name="T77" fmla="*/ 96 h 282"/>
              <a:gd name="T78" fmla="*/ 84 w 137"/>
              <a:gd name="T79" fmla="*/ 106 h 282"/>
              <a:gd name="T80" fmla="*/ 106 w 137"/>
              <a:gd name="T81" fmla="*/ 135 h 282"/>
              <a:gd name="T82" fmla="*/ 125 w 137"/>
              <a:gd name="T83" fmla="*/ 155 h 282"/>
              <a:gd name="T84" fmla="*/ 128 w 137"/>
              <a:gd name="T85" fmla="*/ 177 h 282"/>
              <a:gd name="T86" fmla="*/ 133 w 137"/>
              <a:gd name="T87" fmla="*/ 204 h 282"/>
              <a:gd name="T88" fmla="*/ 132 w 137"/>
              <a:gd name="T89" fmla="*/ 211 h 282"/>
              <a:gd name="T90" fmla="*/ 131 w 137"/>
              <a:gd name="T91" fmla="*/ 222 h 282"/>
              <a:gd name="T92" fmla="*/ 122 w 137"/>
              <a:gd name="T93" fmla="*/ 233 h 282"/>
              <a:gd name="T94" fmla="*/ 113 w 137"/>
              <a:gd name="T95" fmla="*/ 240 h 282"/>
              <a:gd name="T96" fmla="*/ 102 w 137"/>
              <a:gd name="T97" fmla="*/ 242 h 282"/>
              <a:gd name="T98" fmla="*/ 96 w 137"/>
              <a:gd name="T99" fmla="*/ 251 h 282"/>
              <a:gd name="T100" fmla="*/ 80 w 137"/>
              <a:gd name="T101" fmla="*/ 276 h 282"/>
              <a:gd name="T102" fmla="*/ 74 w 137"/>
              <a:gd name="T103" fmla="*/ 281 h 282"/>
              <a:gd name="T104" fmla="*/ 69 w 137"/>
              <a:gd name="T105" fmla="*/ 279 h 282"/>
              <a:gd name="T106" fmla="*/ 68 w 137"/>
              <a:gd name="T107" fmla="*/ 274 h 282"/>
              <a:gd name="T108" fmla="*/ 69 w 137"/>
              <a:gd name="T109" fmla="*/ 262 h 282"/>
              <a:gd name="T110" fmla="*/ 69 w 137"/>
              <a:gd name="T111" fmla="*/ 251 h 282"/>
              <a:gd name="T112" fmla="*/ 66 w 137"/>
              <a:gd name="T113" fmla="*/ 245 h 282"/>
              <a:gd name="T114" fmla="*/ 56 w 137"/>
              <a:gd name="T115" fmla="*/ 242 h 2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37" h="282">
                <a:moveTo>
                  <a:pt x="57" y="241"/>
                </a:moveTo>
                <a:lnTo>
                  <a:pt x="57" y="241"/>
                </a:lnTo>
                <a:lnTo>
                  <a:pt x="59" y="240"/>
                </a:lnTo>
                <a:lnTo>
                  <a:pt x="62" y="238"/>
                </a:lnTo>
                <a:lnTo>
                  <a:pt x="71" y="235"/>
                </a:lnTo>
                <a:lnTo>
                  <a:pt x="80" y="232"/>
                </a:lnTo>
                <a:lnTo>
                  <a:pt x="86" y="229"/>
                </a:lnTo>
                <a:lnTo>
                  <a:pt x="83" y="224"/>
                </a:lnTo>
                <a:lnTo>
                  <a:pt x="80" y="224"/>
                </a:lnTo>
                <a:lnTo>
                  <a:pt x="79" y="224"/>
                </a:lnTo>
                <a:lnTo>
                  <a:pt x="79" y="222"/>
                </a:lnTo>
                <a:lnTo>
                  <a:pt x="102" y="208"/>
                </a:lnTo>
                <a:lnTo>
                  <a:pt x="102" y="207"/>
                </a:lnTo>
                <a:lnTo>
                  <a:pt x="102" y="205"/>
                </a:lnTo>
                <a:lnTo>
                  <a:pt x="104" y="204"/>
                </a:lnTo>
                <a:lnTo>
                  <a:pt x="105" y="201"/>
                </a:lnTo>
                <a:lnTo>
                  <a:pt x="104" y="200"/>
                </a:lnTo>
                <a:lnTo>
                  <a:pt x="104" y="198"/>
                </a:lnTo>
                <a:lnTo>
                  <a:pt x="102" y="193"/>
                </a:lnTo>
                <a:lnTo>
                  <a:pt x="102" y="188"/>
                </a:lnTo>
                <a:lnTo>
                  <a:pt x="102" y="185"/>
                </a:lnTo>
                <a:lnTo>
                  <a:pt x="101" y="182"/>
                </a:lnTo>
                <a:lnTo>
                  <a:pt x="101" y="165"/>
                </a:lnTo>
                <a:lnTo>
                  <a:pt x="99" y="158"/>
                </a:lnTo>
                <a:lnTo>
                  <a:pt x="96" y="152"/>
                </a:lnTo>
                <a:lnTo>
                  <a:pt x="95" y="147"/>
                </a:lnTo>
                <a:lnTo>
                  <a:pt x="92" y="142"/>
                </a:lnTo>
                <a:lnTo>
                  <a:pt x="86" y="133"/>
                </a:lnTo>
                <a:lnTo>
                  <a:pt x="79" y="121"/>
                </a:lnTo>
                <a:lnTo>
                  <a:pt x="77" y="119"/>
                </a:lnTo>
                <a:lnTo>
                  <a:pt x="75" y="116"/>
                </a:lnTo>
                <a:lnTo>
                  <a:pt x="72" y="114"/>
                </a:lnTo>
                <a:lnTo>
                  <a:pt x="69" y="112"/>
                </a:lnTo>
                <a:lnTo>
                  <a:pt x="66" y="110"/>
                </a:lnTo>
                <a:lnTo>
                  <a:pt x="65" y="108"/>
                </a:lnTo>
                <a:lnTo>
                  <a:pt x="62" y="103"/>
                </a:lnTo>
                <a:lnTo>
                  <a:pt x="59" y="99"/>
                </a:lnTo>
                <a:lnTo>
                  <a:pt x="57" y="96"/>
                </a:lnTo>
                <a:lnTo>
                  <a:pt x="55" y="94"/>
                </a:lnTo>
                <a:lnTo>
                  <a:pt x="47" y="89"/>
                </a:lnTo>
                <a:lnTo>
                  <a:pt x="39" y="80"/>
                </a:lnTo>
                <a:lnTo>
                  <a:pt x="34" y="76"/>
                </a:lnTo>
                <a:lnTo>
                  <a:pt x="31" y="71"/>
                </a:lnTo>
                <a:lnTo>
                  <a:pt x="29" y="69"/>
                </a:lnTo>
                <a:lnTo>
                  <a:pt x="29" y="66"/>
                </a:lnTo>
                <a:lnTo>
                  <a:pt x="28" y="65"/>
                </a:lnTo>
                <a:lnTo>
                  <a:pt x="28" y="62"/>
                </a:lnTo>
                <a:lnTo>
                  <a:pt x="30" y="62"/>
                </a:lnTo>
                <a:lnTo>
                  <a:pt x="34" y="60"/>
                </a:lnTo>
                <a:lnTo>
                  <a:pt x="36" y="58"/>
                </a:lnTo>
                <a:lnTo>
                  <a:pt x="38" y="56"/>
                </a:lnTo>
                <a:lnTo>
                  <a:pt x="38" y="47"/>
                </a:lnTo>
                <a:lnTo>
                  <a:pt x="31" y="47"/>
                </a:lnTo>
                <a:lnTo>
                  <a:pt x="25" y="45"/>
                </a:lnTo>
                <a:lnTo>
                  <a:pt x="19" y="42"/>
                </a:lnTo>
                <a:lnTo>
                  <a:pt x="16" y="40"/>
                </a:lnTo>
                <a:lnTo>
                  <a:pt x="13" y="39"/>
                </a:lnTo>
                <a:lnTo>
                  <a:pt x="7" y="35"/>
                </a:lnTo>
                <a:lnTo>
                  <a:pt x="6" y="32"/>
                </a:lnTo>
                <a:lnTo>
                  <a:pt x="3" y="29"/>
                </a:lnTo>
                <a:lnTo>
                  <a:pt x="3" y="26"/>
                </a:lnTo>
                <a:lnTo>
                  <a:pt x="1" y="23"/>
                </a:lnTo>
                <a:lnTo>
                  <a:pt x="1" y="21"/>
                </a:lnTo>
                <a:lnTo>
                  <a:pt x="0" y="17"/>
                </a:lnTo>
                <a:lnTo>
                  <a:pt x="1" y="13"/>
                </a:lnTo>
                <a:lnTo>
                  <a:pt x="6" y="13"/>
                </a:lnTo>
                <a:lnTo>
                  <a:pt x="9" y="13"/>
                </a:lnTo>
                <a:lnTo>
                  <a:pt x="15" y="13"/>
                </a:lnTo>
                <a:lnTo>
                  <a:pt x="19" y="12"/>
                </a:lnTo>
                <a:lnTo>
                  <a:pt x="23" y="9"/>
                </a:lnTo>
                <a:lnTo>
                  <a:pt x="28" y="8"/>
                </a:lnTo>
                <a:lnTo>
                  <a:pt x="31" y="6"/>
                </a:lnTo>
                <a:lnTo>
                  <a:pt x="35" y="3"/>
                </a:lnTo>
                <a:lnTo>
                  <a:pt x="39" y="2"/>
                </a:lnTo>
                <a:lnTo>
                  <a:pt x="43" y="0"/>
                </a:lnTo>
                <a:lnTo>
                  <a:pt x="44" y="0"/>
                </a:lnTo>
                <a:lnTo>
                  <a:pt x="46" y="0"/>
                </a:lnTo>
                <a:lnTo>
                  <a:pt x="49" y="0"/>
                </a:lnTo>
                <a:lnTo>
                  <a:pt x="51" y="0"/>
                </a:lnTo>
                <a:lnTo>
                  <a:pt x="56" y="3"/>
                </a:lnTo>
                <a:lnTo>
                  <a:pt x="57" y="4"/>
                </a:lnTo>
                <a:lnTo>
                  <a:pt x="59" y="5"/>
                </a:lnTo>
                <a:lnTo>
                  <a:pt x="62" y="5"/>
                </a:lnTo>
                <a:lnTo>
                  <a:pt x="65" y="5"/>
                </a:lnTo>
                <a:lnTo>
                  <a:pt x="65" y="8"/>
                </a:lnTo>
                <a:lnTo>
                  <a:pt x="66" y="11"/>
                </a:lnTo>
                <a:lnTo>
                  <a:pt x="68" y="16"/>
                </a:lnTo>
                <a:lnTo>
                  <a:pt x="69" y="17"/>
                </a:lnTo>
                <a:lnTo>
                  <a:pt x="70" y="20"/>
                </a:lnTo>
                <a:lnTo>
                  <a:pt x="72" y="22"/>
                </a:lnTo>
                <a:lnTo>
                  <a:pt x="74" y="23"/>
                </a:lnTo>
                <a:lnTo>
                  <a:pt x="78" y="26"/>
                </a:lnTo>
                <a:lnTo>
                  <a:pt x="82" y="29"/>
                </a:lnTo>
                <a:lnTo>
                  <a:pt x="84" y="29"/>
                </a:lnTo>
                <a:lnTo>
                  <a:pt x="88" y="29"/>
                </a:lnTo>
                <a:lnTo>
                  <a:pt x="87" y="36"/>
                </a:lnTo>
                <a:lnTo>
                  <a:pt x="86" y="39"/>
                </a:lnTo>
                <a:lnTo>
                  <a:pt x="86" y="41"/>
                </a:lnTo>
                <a:lnTo>
                  <a:pt x="83" y="42"/>
                </a:lnTo>
                <a:lnTo>
                  <a:pt x="82" y="43"/>
                </a:lnTo>
                <a:lnTo>
                  <a:pt x="79" y="42"/>
                </a:lnTo>
                <a:lnTo>
                  <a:pt x="77" y="41"/>
                </a:lnTo>
                <a:lnTo>
                  <a:pt x="75" y="41"/>
                </a:lnTo>
                <a:lnTo>
                  <a:pt x="75" y="47"/>
                </a:lnTo>
                <a:lnTo>
                  <a:pt x="75" y="50"/>
                </a:lnTo>
                <a:lnTo>
                  <a:pt x="74" y="53"/>
                </a:lnTo>
                <a:lnTo>
                  <a:pt x="70" y="58"/>
                </a:lnTo>
                <a:lnTo>
                  <a:pt x="69" y="62"/>
                </a:lnTo>
                <a:lnTo>
                  <a:pt x="66" y="65"/>
                </a:lnTo>
                <a:lnTo>
                  <a:pt x="66" y="68"/>
                </a:lnTo>
                <a:lnTo>
                  <a:pt x="66" y="72"/>
                </a:lnTo>
                <a:lnTo>
                  <a:pt x="66" y="80"/>
                </a:lnTo>
                <a:lnTo>
                  <a:pt x="66" y="87"/>
                </a:lnTo>
                <a:lnTo>
                  <a:pt x="68" y="89"/>
                </a:lnTo>
                <a:lnTo>
                  <a:pt x="69" y="92"/>
                </a:lnTo>
                <a:lnTo>
                  <a:pt x="72" y="94"/>
                </a:lnTo>
                <a:lnTo>
                  <a:pt x="75" y="96"/>
                </a:lnTo>
                <a:lnTo>
                  <a:pt x="77" y="97"/>
                </a:lnTo>
                <a:lnTo>
                  <a:pt x="78" y="99"/>
                </a:lnTo>
                <a:lnTo>
                  <a:pt x="84" y="106"/>
                </a:lnTo>
                <a:lnTo>
                  <a:pt x="90" y="114"/>
                </a:lnTo>
                <a:lnTo>
                  <a:pt x="100" y="128"/>
                </a:lnTo>
                <a:lnTo>
                  <a:pt x="106" y="135"/>
                </a:lnTo>
                <a:lnTo>
                  <a:pt x="111" y="142"/>
                </a:lnTo>
                <a:lnTo>
                  <a:pt x="118" y="148"/>
                </a:lnTo>
                <a:lnTo>
                  <a:pt x="125" y="155"/>
                </a:lnTo>
                <a:lnTo>
                  <a:pt x="125" y="156"/>
                </a:lnTo>
                <a:lnTo>
                  <a:pt x="125" y="161"/>
                </a:lnTo>
                <a:lnTo>
                  <a:pt x="128" y="177"/>
                </a:lnTo>
                <a:lnTo>
                  <a:pt x="132" y="191"/>
                </a:lnTo>
                <a:lnTo>
                  <a:pt x="136" y="201"/>
                </a:lnTo>
                <a:lnTo>
                  <a:pt x="133" y="204"/>
                </a:lnTo>
                <a:lnTo>
                  <a:pt x="132" y="206"/>
                </a:lnTo>
                <a:lnTo>
                  <a:pt x="132" y="209"/>
                </a:lnTo>
                <a:lnTo>
                  <a:pt x="132" y="211"/>
                </a:lnTo>
                <a:lnTo>
                  <a:pt x="132" y="218"/>
                </a:lnTo>
                <a:lnTo>
                  <a:pt x="132" y="220"/>
                </a:lnTo>
                <a:lnTo>
                  <a:pt x="131" y="222"/>
                </a:lnTo>
                <a:lnTo>
                  <a:pt x="129" y="226"/>
                </a:lnTo>
                <a:lnTo>
                  <a:pt x="125" y="229"/>
                </a:lnTo>
                <a:lnTo>
                  <a:pt x="122" y="233"/>
                </a:lnTo>
                <a:lnTo>
                  <a:pt x="118" y="237"/>
                </a:lnTo>
                <a:lnTo>
                  <a:pt x="115" y="238"/>
                </a:lnTo>
                <a:lnTo>
                  <a:pt x="113" y="240"/>
                </a:lnTo>
                <a:lnTo>
                  <a:pt x="109" y="241"/>
                </a:lnTo>
                <a:lnTo>
                  <a:pt x="106" y="242"/>
                </a:lnTo>
                <a:lnTo>
                  <a:pt x="102" y="242"/>
                </a:lnTo>
                <a:lnTo>
                  <a:pt x="101" y="244"/>
                </a:lnTo>
                <a:lnTo>
                  <a:pt x="99" y="246"/>
                </a:lnTo>
                <a:lnTo>
                  <a:pt x="96" y="251"/>
                </a:lnTo>
                <a:lnTo>
                  <a:pt x="89" y="264"/>
                </a:lnTo>
                <a:lnTo>
                  <a:pt x="84" y="270"/>
                </a:lnTo>
                <a:lnTo>
                  <a:pt x="80" y="276"/>
                </a:lnTo>
                <a:lnTo>
                  <a:pt x="79" y="277"/>
                </a:lnTo>
                <a:lnTo>
                  <a:pt x="76" y="279"/>
                </a:lnTo>
                <a:lnTo>
                  <a:pt x="74" y="281"/>
                </a:lnTo>
                <a:lnTo>
                  <a:pt x="72" y="281"/>
                </a:lnTo>
                <a:lnTo>
                  <a:pt x="70" y="281"/>
                </a:lnTo>
                <a:lnTo>
                  <a:pt x="69" y="279"/>
                </a:lnTo>
                <a:lnTo>
                  <a:pt x="69" y="278"/>
                </a:lnTo>
                <a:lnTo>
                  <a:pt x="68" y="277"/>
                </a:lnTo>
                <a:lnTo>
                  <a:pt x="68" y="274"/>
                </a:lnTo>
                <a:lnTo>
                  <a:pt x="68" y="271"/>
                </a:lnTo>
                <a:lnTo>
                  <a:pt x="68" y="265"/>
                </a:lnTo>
                <a:lnTo>
                  <a:pt x="69" y="262"/>
                </a:lnTo>
                <a:lnTo>
                  <a:pt x="69" y="256"/>
                </a:lnTo>
                <a:lnTo>
                  <a:pt x="69" y="254"/>
                </a:lnTo>
                <a:lnTo>
                  <a:pt x="69" y="251"/>
                </a:lnTo>
                <a:lnTo>
                  <a:pt x="69" y="249"/>
                </a:lnTo>
                <a:lnTo>
                  <a:pt x="68" y="246"/>
                </a:lnTo>
                <a:lnTo>
                  <a:pt x="66" y="245"/>
                </a:lnTo>
                <a:lnTo>
                  <a:pt x="63" y="245"/>
                </a:lnTo>
                <a:lnTo>
                  <a:pt x="59" y="243"/>
                </a:lnTo>
                <a:lnTo>
                  <a:pt x="56" y="242"/>
                </a:lnTo>
                <a:lnTo>
                  <a:pt x="53" y="242"/>
                </a:lnTo>
                <a:lnTo>
                  <a:pt x="57" y="241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15" name="Freeform 114">
            <a:extLst>
              <a:ext uri="{FF2B5EF4-FFF2-40B4-BE49-F238E27FC236}">
                <a16:creationId xmlns:a16="http://schemas.microsoft.com/office/drawing/2014/main" id="{7CD18AD3-4165-5C65-A7DF-6D3C4826AD06}"/>
              </a:ext>
            </a:extLst>
          </p:cNvPr>
          <p:cNvSpPr>
            <a:spLocks/>
          </p:cNvSpPr>
          <p:nvPr/>
        </p:nvSpPr>
        <p:spPr bwMode="auto">
          <a:xfrm>
            <a:off x="9124325" y="4530571"/>
            <a:ext cx="155575" cy="150813"/>
          </a:xfrm>
          <a:custGeom>
            <a:avLst/>
            <a:gdLst>
              <a:gd name="T0" fmla="*/ 69 w 77"/>
              <a:gd name="T1" fmla="*/ 1 h 81"/>
              <a:gd name="T2" fmla="*/ 66 w 77"/>
              <a:gd name="T3" fmla="*/ 3 h 81"/>
              <a:gd name="T4" fmla="*/ 63 w 77"/>
              <a:gd name="T5" fmla="*/ 1 h 81"/>
              <a:gd name="T6" fmla="*/ 58 w 77"/>
              <a:gd name="T7" fmla="*/ 0 h 81"/>
              <a:gd name="T8" fmla="*/ 54 w 77"/>
              <a:gd name="T9" fmla="*/ 1 h 81"/>
              <a:gd name="T10" fmla="*/ 53 w 77"/>
              <a:gd name="T11" fmla="*/ 4 h 81"/>
              <a:gd name="T12" fmla="*/ 50 w 77"/>
              <a:gd name="T13" fmla="*/ 12 h 81"/>
              <a:gd name="T14" fmla="*/ 46 w 77"/>
              <a:gd name="T15" fmla="*/ 8 h 81"/>
              <a:gd name="T16" fmla="*/ 41 w 77"/>
              <a:gd name="T17" fmla="*/ 5 h 81"/>
              <a:gd name="T18" fmla="*/ 26 w 77"/>
              <a:gd name="T19" fmla="*/ 3 h 81"/>
              <a:gd name="T20" fmla="*/ 15 w 77"/>
              <a:gd name="T21" fmla="*/ 4 h 81"/>
              <a:gd name="T22" fmla="*/ 6 w 77"/>
              <a:gd name="T23" fmla="*/ 8 h 81"/>
              <a:gd name="T24" fmla="*/ 1 w 77"/>
              <a:gd name="T25" fmla="*/ 16 h 81"/>
              <a:gd name="T26" fmla="*/ 0 w 77"/>
              <a:gd name="T27" fmla="*/ 21 h 81"/>
              <a:gd name="T28" fmla="*/ 0 w 77"/>
              <a:gd name="T29" fmla="*/ 30 h 81"/>
              <a:gd name="T30" fmla="*/ 0 w 77"/>
              <a:gd name="T31" fmla="*/ 33 h 81"/>
              <a:gd name="T32" fmla="*/ 4 w 77"/>
              <a:gd name="T33" fmla="*/ 42 h 81"/>
              <a:gd name="T34" fmla="*/ 6 w 77"/>
              <a:gd name="T35" fmla="*/ 48 h 81"/>
              <a:gd name="T36" fmla="*/ 6 w 77"/>
              <a:gd name="T37" fmla="*/ 53 h 81"/>
              <a:gd name="T38" fmla="*/ 9 w 77"/>
              <a:gd name="T39" fmla="*/ 57 h 81"/>
              <a:gd name="T40" fmla="*/ 13 w 77"/>
              <a:gd name="T41" fmla="*/ 65 h 81"/>
              <a:gd name="T42" fmla="*/ 18 w 77"/>
              <a:gd name="T43" fmla="*/ 70 h 81"/>
              <a:gd name="T44" fmla="*/ 20 w 77"/>
              <a:gd name="T45" fmla="*/ 70 h 81"/>
              <a:gd name="T46" fmla="*/ 23 w 77"/>
              <a:gd name="T47" fmla="*/ 76 h 81"/>
              <a:gd name="T48" fmla="*/ 25 w 77"/>
              <a:gd name="T49" fmla="*/ 76 h 81"/>
              <a:gd name="T50" fmla="*/ 28 w 77"/>
              <a:gd name="T51" fmla="*/ 74 h 81"/>
              <a:gd name="T52" fmla="*/ 33 w 77"/>
              <a:gd name="T53" fmla="*/ 71 h 81"/>
              <a:gd name="T54" fmla="*/ 51 w 77"/>
              <a:gd name="T55" fmla="*/ 66 h 81"/>
              <a:gd name="T56" fmla="*/ 54 w 77"/>
              <a:gd name="T57" fmla="*/ 58 h 81"/>
              <a:gd name="T58" fmla="*/ 50 w 77"/>
              <a:gd name="T59" fmla="*/ 57 h 81"/>
              <a:gd name="T60" fmla="*/ 72 w 77"/>
              <a:gd name="T61" fmla="*/ 42 h 81"/>
              <a:gd name="T62" fmla="*/ 73 w 77"/>
              <a:gd name="T63" fmla="*/ 39 h 81"/>
              <a:gd name="T64" fmla="*/ 76 w 77"/>
              <a:gd name="T65" fmla="*/ 35 h 81"/>
              <a:gd name="T66" fmla="*/ 75 w 77"/>
              <a:gd name="T67" fmla="*/ 32 h 81"/>
              <a:gd name="T68" fmla="*/ 73 w 77"/>
              <a:gd name="T69" fmla="*/ 22 h 81"/>
              <a:gd name="T70" fmla="*/ 72 w 77"/>
              <a:gd name="T71" fmla="*/ 16 h 81"/>
              <a:gd name="T72" fmla="*/ 71 w 77"/>
              <a:gd name="T73" fmla="*/ 0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77" h="81">
                <a:moveTo>
                  <a:pt x="71" y="0"/>
                </a:moveTo>
                <a:lnTo>
                  <a:pt x="69" y="1"/>
                </a:lnTo>
                <a:lnTo>
                  <a:pt x="67" y="3"/>
                </a:lnTo>
                <a:lnTo>
                  <a:pt x="66" y="3"/>
                </a:lnTo>
                <a:lnTo>
                  <a:pt x="64" y="3"/>
                </a:lnTo>
                <a:lnTo>
                  <a:pt x="63" y="1"/>
                </a:lnTo>
                <a:lnTo>
                  <a:pt x="61" y="0"/>
                </a:lnTo>
                <a:lnTo>
                  <a:pt x="58" y="0"/>
                </a:lnTo>
                <a:lnTo>
                  <a:pt x="57" y="0"/>
                </a:lnTo>
                <a:lnTo>
                  <a:pt x="54" y="1"/>
                </a:lnTo>
                <a:lnTo>
                  <a:pt x="53" y="3"/>
                </a:lnTo>
                <a:lnTo>
                  <a:pt x="53" y="4"/>
                </a:lnTo>
                <a:lnTo>
                  <a:pt x="51" y="8"/>
                </a:lnTo>
                <a:lnTo>
                  <a:pt x="50" y="12"/>
                </a:lnTo>
                <a:lnTo>
                  <a:pt x="48" y="9"/>
                </a:lnTo>
                <a:lnTo>
                  <a:pt x="46" y="8"/>
                </a:lnTo>
                <a:lnTo>
                  <a:pt x="44" y="6"/>
                </a:lnTo>
                <a:lnTo>
                  <a:pt x="41" y="5"/>
                </a:lnTo>
                <a:lnTo>
                  <a:pt x="33" y="3"/>
                </a:lnTo>
                <a:lnTo>
                  <a:pt x="26" y="3"/>
                </a:lnTo>
                <a:lnTo>
                  <a:pt x="20" y="3"/>
                </a:lnTo>
                <a:lnTo>
                  <a:pt x="15" y="4"/>
                </a:lnTo>
                <a:lnTo>
                  <a:pt x="10" y="5"/>
                </a:lnTo>
                <a:lnTo>
                  <a:pt x="6" y="8"/>
                </a:lnTo>
                <a:lnTo>
                  <a:pt x="4" y="11"/>
                </a:lnTo>
                <a:lnTo>
                  <a:pt x="1" y="16"/>
                </a:lnTo>
                <a:lnTo>
                  <a:pt x="0" y="18"/>
                </a:lnTo>
                <a:lnTo>
                  <a:pt x="0" y="21"/>
                </a:lnTo>
                <a:lnTo>
                  <a:pt x="0" y="27"/>
                </a:lnTo>
                <a:lnTo>
                  <a:pt x="0" y="30"/>
                </a:lnTo>
                <a:lnTo>
                  <a:pt x="0" y="31"/>
                </a:lnTo>
                <a:lnTo>
                  <a:pt x="0" y="33"/>
                </a:lnTo>
                <a:lnTo>
                  <a:pt x="2" y="38"/>
                </a:lnTo>
                <a:lnTo>
                  <a:pt x="4" y="42"/>
                </a:lnTo>
                <a:lnTo>
                  <a:pt x="5" y="44"/>
                </a:lnTo>
                <a:lnTo>
                  <a:pt x="6" y="48"/>
                </a:lnTo>
                <a:lnTo>
                  <a:pt x="6" y="50"/>
                </a:lnTo>
                <a:lnTo>
                  <a:pt x="6" y="53"/>
                </a:lnTo>
                <a:lnTo>
                  <a:pt x="7" y="56"/>
                </a:lnTo>
                <a:lnTo>
                  <a:pt x="9" y="57"/>
                </a:lnTo>
                <a:lnTo>
                  <a:pt x="11" y="60"/>
                </a:lnTo>
                <a:lnTo>
                  <a:pt x="13" y="65"/>
                </a:lnTo>
                <a:lnTo>
                  <a:pt x="15" y="69"/>
                </a:lnTo>
                <a:lnTo>
                  <a:pt x="18" y="70"/>
                </a:lnTo>
                <a:lnTo>
                  <a:pt x="19" y="70"/>
                </a:lnTo>
                <a:lnTo>
                  <a:pt x="20" y="70"/>
                </a:lnTo>
                <a:lnTo>
                  <a:pt x="22" y="80"/>
                </a:lnTo>
                <a:lnTo>
                  <a:pt x="23" y="76"/>
                </a:lnTo>
                <a:lnTo>
                  <a:pt x="24" y="76"/>
                </a:lnTo>
                <a:lnTo>
                  <a:pt x="25" y="76"/>
                </a:lnTo>
                <a:lnTo>
                  <a:pt x="28" y="75"/>
                </a:lnTo>
                <a:lnTo>
                  <a:pt x="28" y="74"/>
                </a:lnTo>
                <a:lnTo>
                  <a:pt x="31" y="73"/>
                </a:lnTo>
                <a:lnTo>
                  <a:pt x="33" y="71"/>
                </a:lnTo>
                <a:lnTo>
                  <a:pt x="42" y="69"/>
                </a:lnTo>
                <a:lnTo>
                  <a:pt x="51" y="66"/>
                </a:lnTo>
                <a:lnTo>
                  <a:pt x="57" y="63"/>
                </a:lnTo>
                <a:lnTo>
                  <a:pt x="54" y="58"/>
                </a:lnTo>
                <a:lnTo>
                  <a:pt x="51" y="58"/>
                </a:lnTo>
                <a:lnTo>
                  <a:pt x="50" y="57"/>
                </a:lnTo>
                <a:lnTo>
                  <a:pt x="50" y="56"/>
                </a:lnTo>
                <a:lnTo>
                  <a:pt x="72" y="42"/>
                </a:lnTo>
                <a:lnTo>
                  <a:pt x="73" y="41"/>
                </a:lnTo>
                <a:lnTo>
                  <a:pt x="73" y="39"/>
                </a:lnTo>
                <a:lnTo>
                  <a:pt x="75" y="38"/>
                </a:lnTo>
                <a:lnTo>
                  <a:pt x="76" y="35"/>
                </a:lnTo>
                <a:lnTo>
                  <a:pt x="75" y="34"/>
                </a:lnTo>
                <a:lnTo>
                  <a:pt x="75" y="32"/>
                </a:lnTo>
                <a:lnTo>
                  <a:pt x="73" y="27"/>
                </a:lnTo>
                <a:lnTo>
                  <a:pt x="73" y="22"/>
                </a:lnTo>
                <a:lnTo>
                  <a:pt x="72" y="19"/>
                </a:lnTo>
                <a:lnTo>
                  <a:pt x="72" y="16"/>
                </a:lnTo>
                <a:lnTo>
                  <a:pt x="72" y="0"/>
                </a:lnTo>
                <a:lnTo>
                  <a:pt x="71" y="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16" name="Freeform 115">
            <a:extLst>
              <a:ext uri="{FF2B5EF4-FFF2-40B4-BE49-F238E27FC236}">
                <a16:creationId xmlns:a16="http://schemas.microsoft.com/office/drawing/2014/main" id="{0D38EF79-F618-A2F7-B0D9-E07799EAC9C9}"/>
              </a:ext>
            </a:extLst>
          </p:cNvPr>
          <p:cNvSpPr>
            <a:spLocks/>
          </p:cNvSpPr>
          <p:nvPr/>
        </p:nvSpPr>
        <p:spPr bwMode="auto">
          <a:xfrm>
            <a:off x="9019550" y="4243234"/>
            <a:ext cx="254000" cy="309563"/>
          </a:xfrm>
          <a:custGeom>
            <a:avLst/>
            <a:gdLst>
              <a:gd name="T0" fmla="*/ 92 w 126"/>
              <a:gd name="T1" fmla="*/ 130 h 166"/>
              <a:gd name="T2" fmla="*/ 85 w 126"/>
              <a:gd name="T3" fmla="*/ 125 h 166"/>
              <a:gd name="T4" fmla="*/ 79 w 126"/>
              <a:gd name="T5" fmla="*/ 113 h 166"/>
              <a:gd name="T6" fmla="*/ 77 w 126"/>
              <a:gd name="T7" fmla="*/ 102 h 166"/>
              <a:gd name="T8" fmla="*/ 71 w 126"/>
              <a:gd name="T9" fmla="*/ 93 h 166"/>
              <a:gd name="T10" fmla="*/ 63 w 126"/>
              <a:gd name="T11" fmla="*/ 82 h 166"/>
              <a:gd name="T12" fmla="*/ 56 w 126"/>
              <a:gd name="T13" fmla="*/ 81 h 166"/>
              <a:gd name="T14" fmla="*/ 49 w 126"/>
              <a:gd name="T15" fmla="*/ 89 h 166"/>
              <a:gd name="T16" fmla="*/ 45 w 126"/>
              <a:gd name="T17" fmla="*/ 90 h 166"/>
              <a:gd name="T18" fmla="*/ 40 w 126"/>
              <a:gd name="T19" fmla="*/ 85 h 166"/>
              <a:gd name="T20" fmla="*/ 34 w 126"/>
              <a:gd name="T21" fmla="*/ 85 h 166"/>
              <a:gd name="T22" fmla="*/ 23 w 126"/>
              <a:gd name="T23" fmla="*/ 94 h 166"/>
              <a:gd name="T24" fmla="*/ 23 w 126"/>
              <a:gd name="T25" fmla="*/ 70 h 166"/>
              <a:gd name="T26" fmla="*/ 22 w 126"/>
              <a:gd name="T27" fmla="*/ 59 h 166"/>
              <a:gd name="T28" fmla="*/ 16 w 126"/>
              <a:gd name="T29" fmla="*/ 58 h 166"/>
              <a:gd name="T30" fmla="*/ 9 w 126"/>
              <a:gd name="T31" fmla="*/ 58 h 166"/>
              <a:gd name="T32" fmla="*/ 6 w 126"/>
              <a:gd name="T33" fmla="*/ 54 h 166"/>
              <a:gd name="T34" fmla="*/ 3 w 126"/>
              <a:gd name="T35" fmla="*/ 43 h 166"/>
              <a:gd name="T36" fmla="*/ 3 w 126"/>
              <a:gd name="T37" fmla="*/ 36 h 166"/>
              <a:gd name="T38" fmla="*/ 8 w 126"/>
              <a:gd name="T39" fmla="*/ 26 h 166"/>
              <a:gd name="T40" fmla="*/ 10 w 126"/>
              <a:gd name="T41" fmla="*/ 20 h 166"/>
              <a:gd name="T42" fmla="*/ 17 w 126"/>
              <a:gd name="T43" fmla="*/ 23 h 166"/>
              <a:gd name="T44" fmla="*/ 23 w 126"/>
              <a:gd name="T45" fmla="*/ 22 h 166"/>
              <a:gd name="T46" fmla="*/ 17 w 126"/>
              <a:gd name="T47" fmla="*/ 8 h 166"/>
              <a:gd name="T48" fmla="*/ 22 w 126"/>
              <a:gd name="T49" fmla="*/ 0 h 166"/>
              <a:gd name="T50" fmla="*/ 25 w 126"/>
              <a:gd name="T51" fmla="*/ 8 h 166"/>
              <a:gd name="T52" fmla="*/ 27 w 126"/>
              <a:gd name="T53" fmla="*/ 16 h 166"/>
              <a:gd name="T54" fmla="*/ 39 w 126"/>
              <a:gd name="T55" fmla="*/ 27 h 166"/>
              <a:gd name="T56" fmla="*/ 55 w 126"/>
              <a:gd name="T57" fmla="*/ 34 h 166"/>
              <a:gd name="T58" fmla="*/ 62 w 126"/>
              <a:gd name="T59" fmla="*/ 43 h 166"/>
              <a:gd name="T60" fmla="*/ 54 w 126"/>
              <a:gd name="T61" fmla="*/ 49 h 166"/>
              <a:gd name="T62" fmla="*/ 52 w 126"/>
              <a:gd name="T63" fmla="*/ 53 h 166"/>
              <a:gd name="T64" fmla="*/ 56 w 126"/>
              <a:gd name="T65" fmla="*/ 61 h 166"/>
              <a:gd name="T66" fmla="*/ 71 w 126"/>
              <a:gd name="T67" fmla="*/ 75 h 166"/>
              <a:gd name="T68" fmla="*/ 83 w 126"/>
              <a:gd name="T69" fmla="*/ 85 h 166"/>
              <a:gd name="T70" fmla="*/ 88 w 126"/>
              <a:gd name="T71" fmla="*/ 95 h 166"/>
              <a:gd name="T72" fmla="*/ 96 w 126"/>
              <a:gd name="T73" fmla="*/ 101 h 166"/>
              <a:gd name="T74" fmla="*/ 102 w 126"/>
              <a:gd name="T75" fmla="*/ 108 h 166"/>
              <a:gd name="T76" fmla="*/ 115 w 126"/>
              <a:gd name="T77" fmla="*/ 129 h 166"/>
              <a:gd name="T78" fmla="*/ 123 w 126"/>
              <a:gd name="T79" fmla="*/ 145 h 166"/>
              <a:gd name="T80" fmla="*/ 121 w 126"/>
              <a:gd name="T81" fmla="*/ 154 h 166"/>
              <a:gd name="T82" fmla="*/ 117 w 126"/>
              <a:gd name="T83" fmla="*/ 155 h 166"/>
              <a:gd name="T84" fmla="*/ 111 w 126"/>
              <a:gd name="T85" fmla="*/ 153 h 166"/>
              <a:gd name="T86" fmla="*/ 106 w 126"/>
              <a:gd name="T87" fmla="*/ 155 h 166"/>
              <a:gd name="T88" fmla="*/ 102 w 126"/>
              <a:gd name="T89" fmla="*/ 165 h 166"/>
              <a:gd name="T90" fmla="*/ 94 w 126"/>
              <a:gd name="T91" fmla="*/ 158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6" h="166">
                <a:moveTo>
                  <a:pt x="94" y="158"/>
                </a:moveTo>
                <a:lnTo>
                  <a:pt x="92" y="144"/>
                </a:lnTo>
                <a:lnTo>
                  <a:pt x="92" y="130"/>
                </a:lnTo>
                <a:lnTo>
                  <a:pt x="89" y="129"/>
                </a:lnTo>
                <a:lnTo>
                  <a:pt x="88" y="128"/>
                </a:lnTo>
                <a:lnTo>
                  <a:pt x="85" y="125"/>
                </a:lnTo>
                <a:lnTo>
                  <a:pt x="83" y="121"/>
                </a:lnTo>
                <a:lnTo>
                  <a:pt x="81" y="117"/>
                </a:lnTo>
                <a:lnTo>
                  <a:pt x="79" y="113"/>
                </a:lnTo>
                <a:lnTo>
                  <a:pt x="78" y="110"/>
                </a:lnTo>
                <a:lnTo>
                  <a:pt x="78" y="106"/>
                </a:lnTo>
                <a:lnTo>
                  <a:pt x="77" y="102"/>
                </a:lnTo>
                <a:lnTo>
                  <a:pt x="75" y="99"/>
                </a:lnTo>
                <a:lnTo>
                  <a:pt x="74" y="95"/>
                </a:lnTo>
                <a:lnTo>
                  <a:pt x="71" y="93"/>
                </a:lnTo>
                <a:lnTo>
                  <a:pt x="66" y="88"/>
                </a:lnTo>
                <a:lnTo>
                  <a:pt x="65" y="84"/>
                </a:lnTo>
                <a:lnTo>
                  <a:pt x="63" y="82"/>
                </a:lnTo>
                <a:lnTo>
                  <a:pt x="62" y="80"/>
                </a:lnTo>
                <a:lnTo>
                  <a:pt x="58" y="80"/>
                </a:lnTo>
                <a:lnTo>
                  <a:pt x="56" y="81"/>
                </a:lnTo>
                <a:lnTo>
                  <a:pt x="54" y="82"/>
                </a:lnTo>
                <a:lnTo>
                  <a:pt x="52" y="85"/>
                </a:lnTo>
                <a:lnTo>
                  <a:pt x="49" y="89"/>
                </a:lnTo>
                <a:lnTo>
                  <a:pt x="48" y="90"/>
                </a:lnTo>
                <a:lnTo>
                  <a:pt x="47" y="90"/>
                </a:lnTo>
                <a:lnTo>
                  <a:pt x="45" y="90"/>
                </a:lnTo>
                <a:lnTo>
                  <a:pt x="44" y="89"/>
                </a:lnTo>
                <a:lnTo>
                  <a:pt x="42" y="88"/>
                </a:lnTo>
                <a:lnTo>
                  <a:pt x="40" y="85"/>
                </a:lnTo>
                <a:lnTo>
                  <a:pt x="39" y="84"/>
                </a:lnTo>
                <a:lnTo>
                  <a:pt x="36" y="84"/>
                </a:lnTo>
                <a:lnTo>
                  <a:pt x="34" y="85"/>
                </a:lnTo>
                <a:lnTo>
                  <a:pt x="30" y="86"/>
                </a:lnTo>
                <a:lnTo>
                  <a:pt x="27" y="90"/>
                </a:lnTo>
                <a:lnTo>
                  <a:pt x="23" y="94"/>
                </a:lnTo>
                <a:lnTo>
                  <a:pt x="23" y="86"/>
                </a:lnTo>
                <a:lnTo>
                  <a:pt x="23" y="74"/>
                </a:lnTo>
                <a:lnTo>
                  <a:pt x="23" y="70"/>
                </a:lnTo>
                <a:lnTo>
                  <a:pt x="23" y="66"/>
                </a:lnTo>
                <a:lnTo>
                  <a:pt x="23" y="62"/>
                </a:lnTo>
                <a:lnTo>
                  <a:pt x="22" y="59"/>
                </a:lnTo>
                <a:lnTo>
                  <a:pt x="20" y="59"/>
                </a:lnTo>
                <a:lnTo>
                  <a:pt x="18" y="58"/>
                </a:lnTo>
                <a:lnTo>
                  <a:pt x="16" y="58"/>
                </a:lnTo>
                <a:lnTo>
                  <a:pt x="12" y="59"/>
                </a:lnTo>
                <a:lnTo>
                  <a:pt x="9" y="59"/>
                </a:lnTo>
                <a:lnTo>
                  <a:pt x="9" y="58"/>
                </a:lnTo>
                <a:lnTo>
                  <a:pt x="8" y="58"/>
                </a:lnTo>
                <a:lnTo>
                  <a:pt x="7" y="57"/>
                </a:lnTo>
                <a:lnTo>
                  <a:pt x="6" y="54"/>
                </a:lnTo>
                <a:lnTo>
                  <a:pt x="4" y="46"/>
                </a:lnTo>
                <a:lnTo>
                  <a:pt x="4" y="44"/>
                </a:lnTo>
                <a:lnTo>
                  <a:pt x="3" y="43"/>
                </a:lnTo>
                <a:lnTo>
                  <a:pt x="1" y="41"/>
                </a:lnTo>
                <a:lnTo>
                  <a:pt x="0" y="39"/>
                </a:lnTo>
                <a:lnTo>
                  <a:pt x="3" y="36"/>
                </a:lnTo>
                <a:lnTo>
                  <a:pt x="6" y="33"/>
                </a:lnTo>
                <a:lnTo>
                  <a:pt x="7" y="29"/>
                </a:lnTo>
                <a:lnTo>
                  <a:pt x="8" y="26"/>
                </a:lnTo>
                <a:lnTo>
                  <a:pt x="9" y="23"/>
                </a:lnTo>
                <a:lnTo>
                  <a:pt x="9" y="22"/>
                </a:lnTo>
                <a:lnTo>
                  <a:pt x="10" y="20"/>
                </a:lnTo>
                <a:lnTo>
                  <a:pt x="13" y="18"/>
                </a:lnTo>
                <a:lnTo>
                  <a:pt x="14" y="21"/>
                </a:lnTo>
                <a:lnTo>
                  <a:pt x="17" y="23"/>
                </a:lnTo>
                <a:lnTo>
                  <a:pt x="20" y="23"/>
                </a:lnTo>
                <a:lnTo>
                  <a:pt x="21" y="23"/>
                </a:lnTo>
                <a:lnTo>
                  <a:pt x="23" y="22"/>
                </a:lnTo>
                <a:lnTo>
                  <a:pt x="20" y="16"/>
                </a:lnTo>
                <a:lnTo>
                  <a:pt x="18" y="12"/>
                </a:lnTo>
                <a:lnTo>
                  <a:pt x="17" y="8"/>
                </a:lnTo>
                <a:lnTo>
                  <a:pt x="18" y="5"/>
                </a:lnTo>
                <a:lnTo>
                  <a:pt x="20" y="3"/>
                </a:lnTo>
                <a:lnTo>
                  <a:pt x="22" y="0"/>
                </a:lnTo>
                <a:lnTo>
                  <a:pt x="25" y="0"/>
                </a:lnTo>
                <a:lnTo>
                  <a:pt x="23" y="4"/>
                </a:lnTo>
                <a:lnTo>
                  <a:pt x="25" y="8"/>
                </a:lnTo>
                <a:lnTo>
                  <a:pt x="25" y="10"/>
                </a:lnTo>
                <a:lnTo>
                  <a:pt x="26" y="13"/>
                </a:lnTo>
                <a:lnTo>
                  <a:pt x="27" y="16"/>
                </a:lnTo>
                <a:lnTo>
                  <a:pt x="31" y="22"/>
                </a:lnTo>
                <a:lnTo>
                  <a:pt x="36" y="26"/>
                </a:lnTo>
                <a:lnTo>
                  <a:pt x="39" y="27"/>
                </a:lnTo>
                <a:lnTo>
                  <a:pt x="42" y="29"/>
                </a:lnTo>
                <a:lnTo>
                  <a:pt x="49" y="32"/>
                </a:lnTo>
                <a:lnTo>
                  <a:pt x="55" y="34"/>
                </a:lnTo>
                <a:lnTo>
                  <a:pt x="58" y="34"/>
                </a:lnTo>
                <a:lnTo>
                  <a:pt x="62" y="34"/>
                </a:lnTo>
                <a:lnTo>
                  <a:pt x="62" y="43"/>
                </a:lnTo>
                <a:lnTo>
                  <a:pt x="59" y="45"/>
                </a:lnTo>
                <a:lnTo>
                  <a:pt x="58" y="47"/>
                </a:lnTo>
                <a:lnTo>
                  <a:pt x="54" y="49"/>
                </a:lnTo>
                <a:lnTo>
                  <a:pt x="52" y="49"/>
                </a:lnTo>
                <a:lnTo>
                  <a:pt x="52" y="52"/>
                </a:lnTo>
                <a:lnTo>
                  <a:pt x="52" y="53"/>
                </a:lnTo>
                <a:lnTo>
                  <a:pt x="53" y="56"/>
                </a:lnTo>
                <a:lnTo>
                  <a:pt x="55" y="58"/>
                </a:lnTo>
                <a:lnTo>
                  <a:pt x="56" y="61"/>
                </a:lnTo>
                <a:lnTo>
                  <a:pt x="58" y="62"/>
                </a:lnTo>
                <a:lnTo>
                  <a:pt x="62" y="67"/>
                </a:lnTo>
                <a:lnTo>
                  <a:pt x="71" y="75"/>
                </a:lnTo>
                <a:lnTo>
                  <a:pt x="78" y="81"/>
                </a:lnTo>
                <a:lnTo>
                  <a:pt x="81" y="83"/>
                </a:lnTo>
                <a:lnTo>
                  <a:pt x="83" y="85"/>
                </a:lnTo>
                <a:lnTo>
                  <a:pt x="85" y="90"/>
                </a:lnTo>
                <a:lnTo>
                  <a:pt x="87" y="93"/>
                </a:lnTo>
                <a:lnTo>
                  <a:pt x="88" y="95"/>
                </a:lnTo>
                <a:lnTo>
                  <a:pt x="90" y="97"/>
                </a:lnTo>
                <a:lnTo>
                  <a:pt x="93" y="99"/>
                </a:lnTo>
                <a:lnTo>
                  <a:pt x="96" y="101"/>
                </a:lnTo>
                <a:lnTo>
                  <a:pt x="98" y="103"/>
                </a:lnTo>
                <a:lnTo>
                  <a:pt x="101" y="106"/>
                </a:lnTo>
                <a:lnTo>
                  <a:pt x="102" y="108"/>
                </a:lnTo>
                <a:lnTo>
                  <a:pt x="106" y="115"/>
                </a:lnTo>
                <a:lnTo>
                  <a:pt x="109" y="120"/>
                </a:lnTo>
                <a:lnTo>
                  <a:pt x="115" y="129"/>
                </a:lnTo>
                <a:lnTo>
                  <a:pt x="118" y="134"/>
                </a:lnTo>
                <a:lnTo>
                  <a:pt x="120" y="138"/>
                </a:lnTo>
                <a:lnTo>
                  <a:pt x="123" y="145"/>
                </a:lnTo>
                <a:lnTo>
                  <a:pt x="125" y="152"/>
                </a:lnTo>
                <a:lnTo>
                  <a:pt x="124" y="152"/>
                </a:lnTo>
                <a:lnTo>
                  <a:pt x="121" y="154"/>
                </a:lnTo>
                <a:lnTo>
                  <a:pt x="120" y="155"/>
                </a:lnTo>
                <a:lnTo>
                  <a:pt x="119" y="155"/>
                </a:lnTo>
                <a:lnTo>
                  <a:pt x="117" y="155"/>
                </a:lnTo>
                <a:lnTo>
                  <a:pt x="115" y="154"/>
                </a:lnTo>
                <a:lnTo>
                  <a:pt x="114" y="153"/>
                </a:lnTo>
                <a:lnTo>
                  <a:pt x="111" y="153"/>
                </a:lnTo>
                <a:lnTo>
                  <a:pt x="109" y="153"/>
                </a:lnTo>
                <a:lnTo>
                  <a:pt x="107" y="154"/>
                </a:lnTo>
                <a:lnTo>
                  <a:pt x="106" y="155"/>
                </a:lnTo>
                <a:lnTo>
                  <a:pt x="105" y="157"/>
                </a:lnTo>
                <a:lnTo>
                  <a:pt x="104" y="161"/>
                </a:lnTo>
                <a:lnTo>
                  <a:pt x="102" y="165"/>
                </a:lnTo>
                <a:lnTo>
                  <a:pt x="98" y="161"/>
                </a:lnTo>
                <a:lnTo>
                  <a:pt x="93" y="158"/>
                </a:lnTo>
                <a:lnTo>
                  <a:pt x="94" y="158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17" name="Freeform 116">
            <a:extLst>
              <a:ext uri="{FF2B5EF4-FFF2-40B4-BE49-F238E27FC236}">
                <a16:creationId xmlns:a16="http://schemas.microsoft.com/office/drawing/2014/main" id="{6D56797A-AFF5-A805-7F20-8D99F686C1A4}"/>
              </a:ext>
            </a:extLst>
          </p:cNvPr>
          <p:cNvSpPr>
            <a:spLocks/>
          </p:cNvSpPr>
          <p:nvPr/>
        </p:nvSpPr>
        <p:spPr bwMode="auto">
          <a:xfrm>
            <a:off x="8962400" y="4319434"/>
            <a:ext cx="247650" cy="504825"/>
          </a:xfrm>
          <a:custGeom>
            <a:avLst/>
            <a:gdLst>
              <a:gd name="T0" fmla="*/ 83 w 123"/>
              <a:gd name="T1" fmla="*/ 269 h 271"/>
              <a:gd name="T2" fmla="*/ 76 w 123"/>
              <a:gd name="T3" fmla="*/ 270 h 271"/>
              <a:gd name="T4" fmla="*/ 69 w 123"/>
              <a:gd name="T5" fmla="*/ 264 h 271"/>
              <a:gd name="T6" fmla="*/ 58 w 123"/>
              <a:gd name="T7" fmla="*/ 251 h 271"/>
              <a:gd name="T8" fmla="*/ 49 w 123"/>
              <a:gd name="T9" fmla="*/ 243 h 271"/>
              <a:gd name="T10" fmla="*/ 32 w 123"/>
              <a:gd name="T11" fmla="*/ 236 h 271"/>
              <a:gd name="T12" fmla="*/ 28 w 123"/>
              <a:gd name="T13" fmla="*/ 237 h 271"/>
              <a:gd name="T14" fmla="*/ 27 w 123"/>
              <a:gd name="T15" fmla="*/ 195 h 271"/>
              <a:gd name="T16" fmla="*/ 34 w 123"/>
              <a:gd name="T17" fmla="*/ 177 h 271"/>
              <a:gd name="T18" fmla="*/ 38 w 123"/>
              <a:gd name="T19" fmla="*/ 165 h 271"/>
              <a:gd name="T20" fmla="*/ 35 w 123"/>
              <a:gd name="T21" fmla="*/ 146 h 271"/>
              <a:gd name="T22" fmla="*/ 28 w 123"/>
              <a:gd name="T23" fmla="*/ 124 h 271"/>
              <a:gd name="T24" fmla="*/ 15 w 123"/>
              <a:gd name="T25" fmla="*/ 104 h 271"/>
              <a:gd name="T26" fmla="*/ 19 w 123"/>
              <a:gd name="T27" fmla="*/ 84 h 271"/>
              <a:gd name="T28" fmla="*/ 16 w 123"/>
              <a:gd name="T29" fmla="*/ 71 h 271"/>
              <a:gd name="T30" fmla="*/ 2 w 123"/>
              <a:gd name="T31" fmla="*/ 51 h 271"/>
              <a:gd name="T32" fmla="*/ 0 w 123"/>
              <a:gd name="T33" fmla="*/ 32 h 271"/>
              <a:gd name="T34" fmla="*/ 5 w 123"/>
              <a:gd name="T35" fmla="*/ 17 h 271"/>
              <a:gd name="T36" fmla="*/ 19 w 123"/>
              <a:gd name="T37" fmla="*/ 6 h 271"/>
              <a:gd name="T38" fmla="*/ 32 w 123"/>
              <a:gd name="T39" fmla="*/ 6 h 271"/>
              <a:gd name="T40" fmla="*/ 38 w 123"/>
              <a:gd name="T41" fmla="*/ 19 h 271"/>
              <a:gd name="T42" fmla="*/ 48 w 123"/>
              <a:gd name="T43" fmla="*/ 19 h 271"/>
              <a:gd name="T44" fmla="*/ 51 w 123"/>
              <a:gd name="T45" fmla="*/ 26 h 271"/>
              <a:gd name="T46" fmla="*/ 51 w 123"/>
              <a:gd name="T47" fmla="*/ 54 h 271"/>
              <a:gd name="T48" fmla="*/ 64 w 123"/>
              <a:gd name="T49" fmla="*/ 44 h 271"/>
              <a:gd name="T50" fmla="*/ 72 w 123"/>
              <a:gd name="T51" fmla="*/ 49 h 271"/>
              <a:gd name="T52" fmla="*/ 77 w 123"/>
              <a:gd name="T53" fmla="*/ 49 h 271"/>
              <a:gd name="T54" fmla="*/ 86 w 123"/>
              <a:gd name="T55" fmla="*/ 40 h 271"/>
              <a:gd name="T56" fmla="*/ 94 w 123"/>
              <a:gd name="T57" fmla="*/ 48 h 271"/>
              <a:gd name="T58" fmla="*/ 105 w 123"/>
              <a:gd name="T59" fmla="*/ 62 h 271"/>
              <a:gd name="T60" fmla="*/ 107 w 123"/>
              <a:gd name="T61" fmla="*/ 73 h 271"/>
              <a:gd name="T62" fmla="*/ 115 w 123"/>
              <a:gd name="T63" fmla="*/ 87 h 271"/>
              <a:gd name="T64" fmla="*/ 122 w 123"/>
              <a:gd name="T65" fmla="*/ 117 h 271"/>
              <a:gd name="T66" fmla="*/ 106 w 123"/>
              <a:gd name="T67" fmla="*/ 115 h 271"/>
              <a:gd name="T68" fmla="*/ 86 w 123"/>
              <a:gd name="T69" fmla="*/ 120 h 271"/>
              <a:gd name="T70" fmla="*/ 80 w 123"/>
              <a:gd name="T71" fmla="*/ 133 h 271"/>
              <a:gd name="T72" fmla="*/ 82 w 123"/>
              <a:gd name="T73" fmla="*/ 150 h 271"/>
              <a:gd name="T74" fmla="*/ 81 w 123"/>
              <a:gd name="T75" fmla="*/ 159 h 271"/>
              <a:gd name="T76" fmla="*/ 72 w 123"/>
              <a:gd name="T77" fmla="*/ 153 h 271"/>
              <a:gd name="T78" fmla="*/ 53 w 123"/>
              <a:gd name="T79" fmla="*/ 134 h 271"/>
              <a:gd name="T80" fmla="*/ 44 w 123"/>
              <a:gd name="T81" fmla="*/ 165 h 271"/>
              <a:gd name="T82" fmla="*/ 38 w 123"/>
              <a:gd name="T83" fmla="*/ 195 h 271"/>
              <a:gd name="T84" fmla="*/ 42 w 123"/>
              <a:gd name="T85" fmla="*/ 208 h 271"/>
              <a:gd name="T86" fmla="*/ 51 w 123"/>
              <a:gd name="T87" fmla="*/ 215 h 271"/>
              <a:gd name="T88" fmla="*/ 57 w 123"/>
              <a:gd name="T89" fmla="*/ 235 h 271"/>
              <a:gd name="T90" fmla="*/ 59 w 123"/>
              <a:gd name="T91" fmla="*/ 247 h 271"/>
              <a:gd name="T92" fmla="*/ 69 w 123"/>
              <a:gd name="T93" fmla="*/ 244 h 271"/>
              <a:gd name="T94" fmla="*/ 82 w 123"/>
              <a:gd name="T95" fmla="*/ 251 h 2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23" h="271">
                <a:moveTo>
                  <a:pt x="93" y="263"/>
                </a:moveTo>
                <a:lnTo>
                  <a:pt x="85" y="263"/>
                </a:lnTo>
                <a:lnTo>
                  <a:pt x="84" y="266"/>
                </a:lnTo>
                <a:lnTo>
                  <a:pt x="83" y="269"/>
                </a:lnTo>
                <a:lnTo>
                  <a:pt x="82" y="270"/>
                </a:lnTo>
                <a:lnTo>
                  <a:pt x="81" y="270"/>
                </a:lnTo>
                <a:lnTo>
                  <a:pt x="77" y="270"/>
                </a:lnTo>
                <a:lnTo>
                  <a:pt x="76" y="270"/>
                </a:lnTo>
                <a:lnTo>
                  <a:pt x="75" y="270"/>
                </a:lnTo>
                <a:lnTo>
                  <a:pt x="73" y="268"/>
                </a:lnTo>
                <a:lnTo>
                  <a:pt x="72" y="267"/>
                </a:lnTo>
                <a:lnTo>
                  <a:pt x="69" y="264"/>
                </a:lnTo>
                <a:lnTo>
                  <a:pt x="67" y="260"/>
                </a:lnTo>
                <a:lnTo>
                  <a:pt x="64" y="257"/>
                </a:lnTo>
                <a:lnTo>
                  <a:pt x="62" y="253"/>
                </a:lnTo>
                <a:lnTo>
                  <a:pt x="58" y="251"/>
                </a:lnTo>
                <a:lnTo>
                  <a:pt x="56" y="250"/>
                </a:lnTo>
                <a:lnTo>
                  <a:pt x="54" y="250"/>
                </a:lnTo>
                <a:lnTo>
                  <a:pt x="51" y="246"/>
                </a:lnTo>
                <a:lnTo>
                  <a:pt x="49" y="243"/>
                </a:lnTo>
                <a:lnTo>
                  <a:pt x="46" y="240"/>
                </a:lnTo>
                <a:lnTo>
                  <a:pt x="44" y="238"/>
                </a:lnTo>
                <a:lnTo>
                  <a:pt x="37" y="237"/>
                </a:lnTo>
                <a:lnTo>
                  <a:pt x="32" y="236"/>
                </a:lnTo>
                <a:lnTo>
                  <a:pt x="32" y="238"/>
                </a:lnTo>
                <a:lnTo>
                  <a:pt x="29" y="241"/>
                </a:lnTo>
                <a:lnTo>
                  <a:pt x="28" y="240"/>
                </a:lnTo>
                <a:lnTo>
                  <a:pt x="28" y="237"/>
                </a:lnTo>
                <a:lnTo>
                  <a:pt x="26" y="230"/>
                </a:lnTo>
                <a:lnTo>
                  <a:pt x="26" y="223"/>
                </a:lnTo>
                <a:lnTo>
                  <a:pt x="26" y="214"/>
                </a:lnTo>
                <a:lnTo>
                  <a:pt x="27" y="195"/>
                </a:lnTo>
                <a:lnTo>
                  <a:pt x="28" y="180"/>
                </a:lnTo>
                <a:lnTo>
                  <a:pt x="31" y="179"/>
                </a:lnTo>
                <a:lnTo>
                  <a:pt x="32" y="178"/>
                </a:lnTo>
                <a:lnTo>
                  <a:pt x="34" y="177"/>
                </a:lnTo>
                <a:lnTo>
                  <a:pt x="36" y="175"/>
                </a:lnTo>
                <a:lnTo>
                  <a:pt x="37" y="172"/>
                </a:lnTo>
                <a:lnTo>
                  <a:pt x="37" y="169"/>
                </a:lnTo>
                <a:lnTo>
                  <a:pt x="38" y="165"/>
                </a:lnTo>
                <a:lnTo>
                  <a:pt x="38" y="162"/>
                </a:lnTo>
                <a:lnTo>
                  <a:pt x="38" y="157"/>
                </a:lnTo>
                <a:lnTo>
                  <a:pt x="37" y="152"/>
                </a:lnTo>
                <a:lnTo>
                  <a:pt x="35" y="146"/>
                </a:lnTo>
                <a:lnTo>
                  <a:pt x="33" y="139"/>
                </a:lnTo>
                <a:lnTo>
                  <a:pt x="32" y="133"/>
                </a:lnTo>
                <a:lnTo>
                  <a:pt x="29" y="129"/>
                </a:lnTo>
                <a:lnTo>
                  <a:pt x="28" y="124"/>
                </a:lnTo>
                <a:lnTo>
                  <a:pt x="26" y="121"/>
                </a:lnTo>
                <a:lnTo>
                  <a:pt x="14" y="110"/>
                </a:lnTo>
                <a:lnTo>
                  <a:pt x="14" y="107"/>
                </a:lnTo>
                <a:lnTo>
                  <a:pt x="15" y="104"/>
                </a:lnTo>
                <a:lnTo>
                  <a:pt x="16" y="97"/>
                </a:lnTo>
                <a:lnTo>
                  <a:pt x="19" y="92"/>
                </a:lnTo>
                <a:lnTo>
                  <a:pt x="19" y="88"/>
                </a:lnTo>
                <a:lnTo>
                  <a:pt x="19" y="84"/>
                </a:lnTo>
                <a:lnTo>
                  <a:pt x="19" y="81"/>
                </a:lnTo>
                <a:lnTo>
                  <a:pt x="18" y="77"/>
                </a:lnTo>
                <a:lnTo>
                  <a:pt x="16" y="74"/>
                </a:lnTo>
                <a:lnTo>
                  <a:pt x="16" y="71"/>
                </a:lnTo>
                <a:lnTo>
                  <a:pt x="13" y="66"/>
                </a:lnTo>
                <a:lnTo>
                  <a:pt x="9" y="61"/>
                </a:lnTo>
                <a:lnTo>
                  <a:pt x="6" y="57"/>
                </a:lnTo>
                <a:lnTo>
                  <a:pt x="2" y="51"/>
                </a:lnTo>
                <a:lnTo>
                  <a:pt x="0" y="45"/>
                </a:lnTo>
                <a:lnTo>
                  <a:pt x="0" y="41"/>
                </a:lnTo>
                <a:lnTo>
                  <a:pt x="0" y="36"/>
                </a:lnTo>
                <a:lnTo>
                  <a:pt x="0" y="32"/>
                </a:lnTo>
                <a:lnTo>
                  <a:pt x="0" y="29"/>
                </a:lnTo>
                <a:lnTo>
                  <a:pt x="1" y="26"/>
                </a:lnTo>
                <a:lnTo>
                  <a:pt x="2" y="22"/>
                </a:lnTo>
                <a:lnTo>
                  <a:pt x="5" y="17"/>
                </a:lnTo>
                <a:lnTo>
                  <a:pt x="6" y="15"/>
                </a:lnTo>
                <a:lnTo>
                  <a:pt x="9" y="13"/>
                </a:lnTo>
                <a:lnTo>
                  <a:pt x="14" y="9"/>
                </a:lnTo>
                <a:lnTo>
                  <a:pt x="19" y="6"/>
                </a:lnTo>
                <a:lnTo>
                  <a:pt x="28" y="0"/>
                </a:lnTo>
                <a:lnTo>
                  <a:pt x="29" y="1"/>
                </a:lnTo>
                <a:lnTo>
                  <a:pt x="32" y="3"/>
                </a:lnTo>
                <a:lnTo>
                  <a:pt x="32" y="6"/>
                </a:lnTo>
                <a:lnTo>
                  <a:pt x="34" y="14"/>
                </a:lnTo>
                <a:lnTo>
                  <a:pt x="35" y="17"/>
                </a:lnTo>
                <a:lnTo>
                  <a:pt x="37" y="18"/>
                </a:lnTo>
                <a:lnTo>
                  <a:pt x="38" y="19"/>
                </a:lnTo>
                <a:lnTo>
                  <a:pt x="40" y="19"/>
                </a:lnTo>
                <a:lnTo>
                  <a:pt x="44" y="18"/>
                </a:lnTo>
                <a:lnTo>
                  <a:pt x="46" y="18"/>
                </a:lnTo>
                <a:lnTo>
                  <a:pt x="48" y="19"/>
                </a:lnTo>
                <a:lnTo>
                  <a:pt x="50" y="19"/>
                </a:lnTo>
                <a:lnTo>
                  <a:pt x="51" y="22"/>
                </a:lnTo>
                <a:lnTo>
                  <a:pt x="51" y="23"/>
                </a:lnTo>
                <a:lnTo>
                  <a:pt x="51" y="26"/>
                </a:lnTo>
                <a:lnTo>
                  <a:pt x="51" y="30"/>
                </a:lnTo>
                <a:lnTo>
                  <a:pt x="51" y="34"/>
                </a:lnTo>
                <a:lnTo>
                  <a:pt x="51" y="46"/>
                </a:lnTo>
                <a:lnTo>
                  <a:pt x="51" y="54"/>
                </a:lnTo>
                <a:lnTo>
                  <a:pt x="55" y="50"/>
                </a:lnTo>
                <a:lnTo>
                  <a:pt x="58" y="46"/>
                </a:lnTo>
                <a:lnTo>
                  <a:pt x="62" y="45"/>
                </a:lnTo>
                <a:lnTo>
                  <a:pt x="64" y="44"/>
                </a:lnTo>
                <a:lnTo>
                  <a:pt x="67" y="44"/>
                </a:lnTo>
                <a:lnTo>
                  <a:pt x="68" y="45"/>
                </a:lnTo>
                <a:lnTo>
                  <a:pt x="70" y="48"/>
                </a:lnTo>
                <a:lnTo>
                  <a:pt x="72" y="49"/>
                </a:lnTo>
                <a:lnTo>
                  <a:pt x="73" y="50"/>
                </a:lnTo>
                <a:lnTo>
                  <a:pt x="75" y="50"/>
                </a:lnTo>
                <a:lnTo>
                  <a:pt x="76" y="50"/>
                </a:lnTo>
                <a:lnTo>
                  <a:pt x="77" y="49"/>
                </a:lnTo>
                <a:lnTo>
                  <a:pt x="80" y="45"/>
                </a:lnTo>
                <a:lnTo>
                  <a:pt x="82" y="42"/>
                </a:lnTo>
                <a:lnTo>
                  <a:pt x="84" y="41"/>
                </a:lnTo>
                <a:lnTo>
                  <a:pt x="86" y="40"/>
                </a:lnTo>
                <a:lnTo>
                  <a:pt x="90" y="40"/>
                </a:lnTo>
                <a:lnTo>
                  <a:pt x="91" y="42"/>
                </a:lnTo>
                <a:lnTo>
                  <a:pt x="93" y="44"/>
                </a:lnTo>
                <a:lnTo>
                  <a:pt x="94" y="48"/>
                </a:lnTo>
                <a:lnTo>
                  <a:pt x="99" y="53"/>
                </a:lnTo>
                <a:lnTo>
                  <a:pt x="102" y="55"/>
                </a:lnTo>
                <a:lnTo>
                  <a:pt x="103" y="58"/>
                </a:lnTo>
                <a:lnTo>
                  <a:pt x="105" y="62"/>
                </a:lnTo>
                <a:lnTo>
                  <a:pt x="105" y="64"/>
                </a:lnTo>
                <a:lnTo>
                  <a:pt x="106" y="66"/>
                </a:lnTo>
                <a:lnTo>
                  <a:pt x="106" y="70"/>
                </a:lnTo>
                <a:lnTo>
                  <a:pt x="107" y="73"/>
                </a:lnTo>
                <a:lnTo>
                  <a:pt x="109" y="77"/>
                </a:lnTo>
                <a:lnTo>
                  <a:pt x="111" y="81"/>
                </a:lnTo>
                <a:lnTo>
                  <a:pt x="113" y="84"/>
                </a:lnTo>
                <a:lnTo>
                  <a:pt x="115" y="87"/>
                </a:lnTo>
                <a:lnTo>
                  <a:pt x="117" y="89"/>
                </a:lnTo>
                <a:lnTo>
                  <a:pt x="119" y="90"/>
                </a:lnTo>
                <a:lnTo>
                  <a:pt x="120" y="104"/>
                </a:lnTo>
                <a:lnTo>
                  <a:pt x="122" y="117"/>
                </a:lnTo>
                <a:lnTo>
                  <a:pt x="121" y="117"/>
                </a:lnTo>
                <a:lnTo>
                  <a:pt x="117" y="117"/>
                </a:lnTo>
                <a:lnTo>
                  <a:pt x="113" y="116"/>
                </a:lnTo>
                <a:lnTo>
                  <a:pt x="106" y="115"/>
                </a:lnTo>
                <a:lnTo>
                  <a:pt x="100" y="116"/>
                </a:lnTo>
                <a:lnTo>
                  <a:pt x="95" y="117"/>
                </a:lnTo>
                <a:lnTo>
                  <a:pt x="90" y="117"/>
                </a:lnTo>
                <a:lnTo>
                  <a:pt x="86" y="120"/>
                </a:lnTo>
                <a:lnTo>
                  <a:pt x="84" y="123"/>
                </a:lnTo>
                <a:lnTo>
                  <a:pt x="81" y="128"/>
                </a:lnTo>
                <a:lnTo>
                  <a:pt x="80" y="130"/>
                </a:lnTo>
                <a:lnTo>
                  <a:pt x="80" y="133"/>
                </a:lnTo>
                <a:lnTo>
                  <a:pt x="80" y="139"/>
                </a:lnTo>
                <a:lnTo>
                  <a:pt x="80" y="143"/>
                </a:lnTo>
                <a:lnTo>
                  <a:pt x="80" y="146"/>
                </a:lnTo>
                <a:lnTo>
                  <a:pt x="82" y="150"/>
                </a:lnTo>
                <a:lnTo>
                  <a:pt x="84" y="155"/>
                </a:lnTo>
                <a:lnTo>
                  <a:pt x="85" y="157"/>
                </a:lnTo>
                <a:lnTo>
                  <a:pt x="86" y="160"/>
                </a:lnTo>
                <a:lnTo>
                  <a:pt x="81" y="159"/>
                </a:lnTo>
                <a:lnTo>
                  <a:pt x="78" y="158"/>
                </a:lnTo>
                <a:lnTo>
                  <a:pt x="77" y="157"/>
                </a:lnTo>
                <a:lnTo>
                  <a:pt x="73" y="156"/>
                </a:lnTo>
                <a:lnTo>
                  <a:pt x="72" y="153"/>
                </a:lnTo>
                <a:lnTo>
                  <a:pt x="67" y="150"/>
                </a:lnTo>
                <a:lnTo>
                  <a:pt x="63" y="146"/>
                </a:lnTo>
                <a:lnTo>
                  <a:pt x="59" y="142"/>
                </a:lnTo>
                <a:lnTo>
                  <a:pt x="53" y="134"/>
                </a:lnTo>
                <a:lnTo>
                  <a:pt x="45" y="134"/>
                </a:lnTo>
                <a:lnTo>
                  <a:pt x="45" y="156"/>
                </a:lnTo>
                <a:lnTo>
                  <a:pt x="45" y="160"/>
                </a:lnTo>
                <a:lnTo>
                  <a:pt x="44" y="165"/>
                </a:lnTo>
                <a:lnTo>
                  <a:pt x="42" y="174"/>
                </a:lnTo>
                <a:lnTo>
                  <a:pt x="40" y="184"/>
                </a:lnTo>
                <a:lnTo>
                  <a:pt x="38" y="189"/>
                </a:lnTo>
                <a:lnTo>
                  <a:pt x="38" y="195"/>
                </a:lnTo>
                <a:lnTo>
                  <a:pt x="38" y="198"/>
                </a:lnTo>
                <a:lnTo>
                  <a:pt x="40" y="201"/>
                </a:lnTo>
                <a:lnTo>
                  <a:pt x="41" y="205"/>
                </a:lnTo>
                <a:lnTo>
                  <a:pt x="42" y="208"/>
                </a:lnTo>
                <a:lnTo>
                  <a:pt x="44" y="211"/>
                </a:lnTo>
                <a:lnTo>
                  <a:pt x="46" y="213"/>
                </a:lnTo>
                <a:lnTo>
                  <a:pt x="49" y="214"/>
                </a:lnTo>
                <a:lnTo>
                  <a:pt x="51" y="215"/>
                </a:lnTo>
                <a:lnTo>
                  <a:pt x="51" y="220"/>
                </a:lnTo>
                <a:lnTo>
                  <a:pt x="53" y="224"/>
                </a:lnTo>
                <a:lnTo>
                  <a:pt x="54" y="229"/>
                </a:lnTo>
                <a:lnTo>
                  <a:pt x="57" y="235"/>
                </a:lnTo>
                <a:lnTo>
                  <a:pt x="58" y="238"/>
                </a:lnTo>
                <a:lnTo>
                  <a:pt x="58" y="243"/>
                </a:lnTo>
                <a:lnTo>
                  <a:pt x="58" y="247"/>
                </a:lnTo>
                <a:lnTo>
                  <a:pt x="59" y="247"/>
                </a:lnTo>
                <a:lnTo>
                  <a:pt x="60" y="247"/>
                </a:lnTo>
                <a:lnTo>
                  <a:pt x="62" y="247"/>
                </a:lnTo>
                <a:lnTo>
                  <a:pt x="64" y="247"/>
                </a:lnTo>
                <a:lnTo>
                  <a:pt x="69" y="244"/>
                </a:lnTo>
                <a:lnTo>
                  <a:pt x="72" y="243"/>
                </a:lnTo>
                <a:lnTo>
                  <a:pt x="73" y="243"/>
                </a:lnTo>
                <a:lnTo>
                  <a:pt x="73" y="244"/>
                </a:lnTo>
                <a:lnTo>
                  <a:pt x="82" y="251"/>
                </a:lnTo>
                <a:lnTo>
                  <a:pt x="93" y="263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18" name="Freeform 117">
            <a:extLst>
              <a:ext uri="{FF2B5EF4-FFF2-40B4-BE49-F238E27FC236}">
                <a16:creationId xmlns:a16="http://schemas.microsoft.com/office/drawing/2014/main" id="{7A961C46-44B6-F259-AF9A-32A7E76DD4B7}"/>
              </a:ext>
            </a:extLst>
          </p:cNvPr>
          <p:cNvSpPr>
            <a:spLocks/>
          </p:cNvSpPr>
          <p:nvPr/>
        </p:nvSpPr>
        <p:spPr bwMode="auto">
          <a:xfrm>
            <a:off x="9075113" y="4787746"/>
            <a:ext cx="133350" cy="201613"/>
          </a:xfrm>
          <a:custGeom>
            <a:avLst/>
            <a:gdLst>
              <a:gd name="T0" fmla="*/ 38 w 66"/>
              <a:gd name="T1" fmla="*/ 12 h 108"/>
              <a:gd name="T2" fmla="*/ 30 w 66"/>
              <a:gd name="T3" fmla="*/ 12 h 108"/>
              <a:gd name="T4" fmla="*/ 29 w 66"/>
              <a:gd name="T5" fmla="*/ 16 h 108"/>
              <a:gd name="T6" fmla="*/ 28 w 66"/>
              <a:gd name="T7" fmla="*/ 18 h 108"/>
              <a:gd name="T8" fmla="*/ 27 w 66"/>
              <a:gd name="T9" fmla="*/ 19 h 108"/>
              <a:gd name="T10" fmla="*/ 26 w 66"/>
              <a:gd name="T11" fmla="*/ 19 h 108"/>
              <a:gd name="T12" fmla="*/ 22 w 66"/>
              <a:gd name="T13" fmla="*/ 19 h 108"/>
              <a:gd name="T14" fmla="*/ 21 w 66"/>
              <a:gd name="T15" fmla="*/ 19 h 108"/>
              <a:gd name="T16" fmla="*/ 20 w 66"/>
              <a:gd name="T17" fmla="*/ 19 h 108"/>
              <a:gd name="T18" fmla="*/ 18 w 66"/>
              <a:gd name="T19" fmla="*/ 17 h 108"/>
              <a:gd name="T20" fmla="*/ 17 w 66"/>
              <a:gd name="T21" fmla="*/ 16 h 108"/>
              <a:gd name="T22" fmla="*/ 14 w 66"/>
              <a:gd name="T23" fmla="*/ 13 h 108"/>
              <a:gd name="T24" fmla="*/ 13 w 66"/>
              <a:gd name="T25" fmla="*/ 9 h 108"/>
              <a:gd name="T26" fmla="*/ 9 w 66"/>
              <a:gd name="T27" fmla="*/ 6 h 108"/>
              <a:gd name="T28" fmla="*/ 7 w 66"/>
              <a:gd name="T29" fmla="*/ 3 h 108"/>
              <a:gd name="T30" fmla="*/ 3 w 66"/>
              <a:gd name="T31" fmla="*/ 0 h 108"/>
              <a:gd name="T32" fmla="*/ 1 w 66"/>
              <a:gd name="T33" fmla="*/ 0 h 108"/>
              <a:gd name="T34" fmla="*/ 0 w 66"/>
              <a:gd name="T35" fmla="*/ 0 h 108"/>
              <a:gd name="T36" fmla="*/ 3 w 66"/>
              <a:gd name="T37" fmla="*/ 7 h 108"/>
              <a:gd name="T38" fmla="*/ 3 w 66"/>
              <a:gd name="T39" fmla="*/ 9 h 108"/>
              <a:gd name="T40" fmla="*/ 3 w 66"/>
              <a:gd name="T41" fmla="*/ 12 h 108"/>
              <a:gd name="T42" fmla="*/ 3 w 66"/>
              <a:gd name="T43" fmla="*/ 19 h 108"/>
              <a:gd name="T44" fmla="*/ 4 w 66"/>
              <a:gd name="T45" fmla="*/ 25 h 108"/>
              <a:gd name="T46" fmla="*/ 5 w 66"/>
              <a:gd name="T47" fmla="*/ 30 h 108"/>
              <a:gd name="T48" fmla="*/ 7 w 66"/>
              <a:gd name="T49" fmla="*/ 35 h 108"/>
              <a:gd name="T50" fmla="*/ 9 w 66"/>
              <a:gd name="T51" fmla="*/ 41 h 108"/>
              <a:gd name="T52" fmla="*/ 12 w 66"/>
              <a:gd name="T53" fmla="*/ 45 h 108"/>
              <a:gd name="T54" fmla="*/ 13 w 66"/>
              <a:gd name="T55" fmla="*/ 51 h 108"/>
              <a:gd name="T56" fmla="*/ 16 w 66"/>
              <a:gd name="T57" fmla="*/ 56 h 108"/>
              <a:gd name="T58" fmla="*/ 22 w 66"/>
              <a:gd name="T59" fmla="*/ 64 h 108"/>
              <a:gd name="T60" fmla="*/ 30 w 66"/>
              <a:gd name="T61" fmla="*/ 72 h 108"/>
              <a:gd name="T62" fmla="*/ 44 w 66"/>
              <a:gd name="T63" fmla="*/ 89 h 108"/>
              <a:gd name="T64" fmla="*/ 52 w 66"/>
              <a:gd name="T65" fmla="*/ 98 h 108"/>
              <a:gd name="T66" fmla="*/ 56 w 66"/>
              <a:gd name="T67" fmla="*/ 103 h 108"/>
              <a:gd name="T68" fmla="*/ 58 w 66"/>
              <a:gd name="T69" fmla="*/ 106 h 108"/>
              <a:gd name="T70" fmla="*/ 58 w 66"/>
              <a:gd name="T71" fmla="*/ 107 h 108"/>
              <a:gd name="T72" fmla="*/ 61 w 66"/>
              <a:gd name="T73" fmla="*/ 103 h 108"/>
              <a:gd name="T74" fmla="*/ 62 w 66"/>
              <a:gd name="T75" fmla="*/ 103 h 108"/>
              <a:gd name="T76" fmla="*/ 63 w 66"/>
              <a:gd name="T77" fmla="*/ 102 h 108"/>
              <a:gd name="T78" fmla="*/ 65 w 66"/>
              <a:gd name="T79" fmla="*/ 99 h 108"/>
              <a:gd name="T80" fmla="*/ 65 w 66"/>
              <a:gd name="T81" fmla="*/ 93 h 108"/>
              <a:gd name="T82" fmla="*/ 63 w 66"/>
              <a:gd name="T83" fmla="*/ 90 h 108"/>
              <a:gd name="T84" fmla="*/ 62 w 66"/>
              <a:gd name="T85" fmla="*/ 87 h 108"/>
              <a:gd name="T86" fmla="*/ 61 w 66"/>
              <a:gd name="T87" fmla="*/ 81 h 108"/>
              <a:gd name="T88" fmla="*/ 58 w 66"/>
              <a:gd name="T89" fmla="*/ 77 h 108"/>
              <a:gd name="T90" fmla="*/ 54 w 66"/>
              <a:gd name="T91" fmla="*/ 70 h 108"/>
              <a:gd name="T92" fmla="*/ 52 w 66"/>
              <a:gd name="T93" fmla="*/ 66 h 108"/>
              <a:gd name="T94" fmla="*/ 52 w 66"/>
              <a:gd name="T95" fmla="*/ 61 h 108"/>
              <a:gd name="T96" fmla="*/ 52 w 66"/>
              <a:gd name="T97" fmla="*/ 39 h 108"/>
              <a:gd name="T98" fmla="*/ 52 w 66"/>
              <a:gd name="T99" fmla="*/ 36 h 108"/>
              <a:gd name="T100" fmla="*/ 50 w 66"/>
              <a:gd name="T101" fmla="*/ 33 h 108"/>
              <a:gd name="T102" fmla="*/ 49 w 66"/>
              <a:gd name="T103" fmla="*/ 29 h 108"/>
              <a:gd name="T104" fmla="*/ 48 w 66"/>
              <a:gd name="T105" fmla="*/ 25 h 108"/>
              <a:gd name="T106" fmla="*/ 43 w 66"/>
              <a:gd name="T107" fmla="*/ 18 h 108"/>
              <a:gd name="T108" fmla="*/ 38 w 66"/>
              <a:gd name="T109" fmla="*/ 11 h 108"/>
              <a:gd name="T110" fmla="*/ 38 w 66"/>
              <a:gd name="T111" fmla="*/ 12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6" h="108">
                <a:moveTo>
                  <a:pt x="38" y="12"/>
                </a:moveTo>
                <a:lnTo>
                  <a:pt x="30" y="12"/>
                </a:lnTo>
                <a:lnTo>
                  <a:pt x="29" y="16"/>
                </a:lnTo>
                <a:lnTo>
                  <a:pt x="28" y="18"/>
                </a:lnTo>
                <a:lnTo>
                  <a:pt x="27" y="19"/>
                </a:lnTo>
                <a:lnTo>
                  <a:pt x="26" y="19"/>
                </a:lnTo>
                <a:lnTo>
                  <a:pt x="22" y="19"/>
                </a:lnTo>
                <a:lnTo>
                  <a:pt x="21" y="19"/>
                </a:lnTo>
                <a:lnTo>
                  <a:pt x="20" y="19"/>
                </a:lnTo>
                <a:lnTo>
                  <a:pt x="18" y="17"/>
                </a:lnTo>
                <a:lnTo>
                  <a:pt x="17" y="16"/>
                </a:lnTo>
                <a:lnTo>
                  <a:pt x="14" y="13"/>
                </a:lnTo>
                <a:lnTo>
                  <a:pt x="13" y="9"/>
                </a:lnTo>
                <a:lnTo>
                  <a:pt x="9" y="6"/>
                </a:lnTo>
                <a:lnTo>
                  <a:pt x="7" y="3"/>
                </a:lnTo>
                <a:lnTo>
                  <a:pt x="3" y="0"/>
                </a:lnTo>
                <a:lnTo>
                  <a:pt x="1" y="0"/>
                </a:lnTo>
                <a:lnTo>
                  <a:pt x="0" y="0"/>
                </a:lnTo>
                <a:lnTo>
                  <a:pt x="3" y="7"/>
                </a:lnTo>
                <a:lnTo>
                  <a:pt x="3" y="9"/>
                </a:lnTo>
                <a:lnTo>
                  <a:pt x="3" y="12"/>
                </a:lnTo>
                <a:lnTo>
                  <a:pt x="3" y="19"/>
                </a:lnTo>
                <a:lnTo>
                  <a:pt x="4" y="25"/>
                </a:lnTo>
                <a:lnTo>
                  <a:pt x="5" y="30"/>
                </a:lnTo>
                <a:lnTo>
                  <a:pt x="7" y="35"/>
                </a:lnTo>
                <a:lnTo>
                  <a:pt x="9" y="41"/>
                </a:lnTo>
                <a:lnTo>
                  <a:pt x="12" y="45"/>
                </a:lnTo>
                <a:lnTo>
                  <a:pt x="13" y="51"/>
                </a:lnTo>
                <a:lnTo>
                  <a:pt x="16" y="56"/>
                </a:lnTo>
                <a:lnTo>
                  <a:pt x="22" y="64"/>
                </a:lnTo>
                <a:lnTo>
                  <a:pt x="30" y="72"/>
                </a:lnTo>
                <a:lnTo>
                  <a:pt x="44" y="89"/>
                </a:lnTo>
                <a:lnTo>
                  <a:pt x="52" y="98"/>
                </a:lnTo>
                <a:lnTo>
                  <a:pt x="56" y="103"/>
                </a:lnTo>
                <a:lnTo>
                  <a:pt x="58" y="106"/>
                </a:lnTo>
                <a:lnTo>
                  <a:pt x="58" y="107"/>
                </a:lnTo>
                <a:lnTo>
                  <a:pt x="61" y="103"/>
                </a:lnTo>
                <a:lnTo>
                  <a:pt x="62" y="103"/>
                </a:lnTo>
                <a:lnTo>
                  <a:pt x="63" y="102"/>
                </a:lnTo>
                <a:lnTo>
                  <a:pt x="65" y="99"/>
                </a:lnTo>
                <a:lnTo>
                  <a:pt x="65" y="93"/>
                </a:lnTo>
                <a:lnTo>
                  <a:pt x="63" y="90"/>
                </a:lnTo>
                <a:lnTo>
                  <a:pt x="62" y="87"/>
                </a:lnTo>
                <a:lnTo>
                  <a:pt x="61" y="81"/>
                </a:lnTo>
                <a:lnTo>
                  <a:pt x="58" y="77"/>
                </a:lnTo>
                <a:lnTo>
                  <a:pt x="54" y="70"/>
                </a:lnTo>
                <a:lnTo>
                  <a:pt x="52" y="66"/>
                </a:lnTo>
                <a:lnTo>
                  <a:pt x="52" y="61"/>
                </a:lnTo>
                <a:lnTo>
                  <a:pt x="52" y="39"/>
                </a:lnTo>
                <a:lnTo>
                  <a:pt x="52" y="36"/>
                </a:lnTo>
                <a:lnTo>
                  <a:pt x="50" y="33"/>
                </a:lnTo>
                <a:lnTo>
                  <a:pt x="49" y="29"/>
                </a:lnTo>
                <a:lnTo>
                  <a:pt x="48" y="25"/>
                </a:lnTo>
                <a:lnTo>
                  <a:pt x="43" y="18"/>
                </a:lnTo>
                <a:lnTo>
                  <a:pt x="38" y="11"/>
                </a:lnTo>
                <a:lnTo>
                  <a:pt x="38" y="12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19" name="Freeform 118">
            <a:extLst>
              <a:ext uri="{FF2B5EF4-FFF2-40B4-BE49-F238E27FC236}">
                <a16:creationId xmlns:a16="http://schemas.microsoft.com/office/drawing/2014/main" id="{E03977F5-33A8-D261-31DA-6CEEF8E18099}"/>
              </a:ext>
            </a:extLst>
          </p:cNvPr>
          <p:cNvSpPr>
            <a:spLocks/>
          </p:cNvSpPr>
          <p:nvPr/>
        </p:nvSpPr>
        <p:spPr bwMode="auto">
          <a:xfrm>
            <a:off x="8792538" y="4033684"/>
            <a:ext cx="246063" cy="623888"/>
          </a:xfrm>
          <a:custGeom>
            <a:avLst/>
            <a:gdLst>
              <a:gd name="T0" fmla="*/ 13 w 122"/>
              <a:gd name="T1" fmla="*/ 158 h 334"/>
              <a:gd name="T2" fmla="*/ 36 w 122"/>
              <a:gd name="T3" fmla="*/ 184 h 334"/>
              <a:gd name="T4" fmla="*/ 43 w 122"/>
              <a:gd name="T5" fmla="*/ 201 h 334"/>
              <a:gd name="T6" fmla="*/ 41 w 122"/>
              <a:gd name="T7" fmla="*/ 220 h 334"/>
              <a:gd name="T8" fmla="*/ 41 w 122"/>
              <a:gd name="T9" fmla="*/ 234 h 334"/>
              <a:gd name="T10" fmla="*/ 50 w 122"/>
              <a:gd name="T11" fmla="*/ 234 h 334"/>
              <a:gd name="T12" fmla="*/ 59 w 122"/>
              <a:gd name="T13" fmla="*/ 240 h 334"/>
              <a:gd name="T14" fmla="*/ 68 w 122"/>
              <a:gd name="T15" fmla="*/ 234 h 334"/>
              <a:gd name="T16" fmla="*/ 76 w 122"/>
              <a:gd name="T17" fmla="*/ 220 h 334"/>
              <a:gd name="T18" fmla="*/ 84 w 122"/>
              <a:gd name="T19" fmla="*/ 224 h 334"/>
              <a:gd name="T20" fmla="*/ 96 w 122"/>
              <a:gd name="T21" fmla="*/ 263 h 334"/>
              <a:gd name="T22" fmla="*/ 103 w 122"/>
              <a:gd name="T23" fmla="*/ 283 h 334"/>
              <a:gd name="T24" fmla="*/ 111 w 122"/>
              <a:gd name="T25" fmla="*/ 296 h 334"/>
              <a:gd name="T26" fmla="*/ 111 w 122"/>
              <a:gd name="T27" fmla="*/ 323 h 334"/>
              <a:gd name="T28" fmla="*/ 115 w 122"/>
              <a:gd name="T29" fmla="*/ 331 h 334"/>
              <a:gd name="T30" fmla="*/ 120 w 122"/>
              <a:gd name="T31" fmla="*/ 321 h 334"/>
              <a:gd name="T32" fmla="*/ 120 w 122"/>
              <a:gd name="T33" fmla="*/ 304 h 334"/>
              <a:gd name="T34" fmla="*/ 112 w 122"/>
              <a:gd name="T35" fmla="*/ 281 h 334"/>
              <a:gd name="T36" fmla="*/ 97 w 122"/>
              <a:gd name="T37" fmla="*/ 259 h 334"/>
              <a:gd name="T38" fmla="*/ 101 w 122"/>
              <a:gd name="T39" fmla="*/ 240 h 334"/>
              <a:gd name="T40" fmla="*/ 99 w 122"/>
              <a:gd name="T41" fmla="*/ 227 h 334"/>
              <a:gd name="T42" fmla="*/ 89 w 122"/>
              <a:gd name="T43" fmla="*/ 209 h 334"/>
              <a:gd name="T44" fmla="*/ 82 w 122"/>
              <a:gd name="T45" fmla="*/ 188 h 334"/>
              <a:gd name="T46" fmla="*/ 85 w 122"/>
              <a:gd name="T47" fmla="*/ 171 h 334"/>
              <a:gd name="T48" fmla="*/ 96 w 122"/>
              <a:gd name="T49" fmla="*/ 161 h 334"/>
              <a:gd name="T50" fmla="*/ 115 w 122"/>
              <a:gd name="T51" fmla="*/ 148 h 334"/>
              <a:gd name="T52" fmla="*/ 120 w 122"/>
              <a:gd name="T53" fmla="*/ 135 h 334"/>
              <a:gd name="T54" fmla="*/ 111 w 122"/>
              <a:gd name="T55" fmla="*/ 131 h 334"/>
              <a:gd name="T56" fmla="*/ 103 w 122"/>
              <a:gd name="T57" fmla="*/ 122 h 334"/>
              <a:gd name="T58" fmla="*/ 98 w 122"/>
              <a:gd name="T59" fmla="*/ 111 h 334"/>
              <a:gd name="T60" fmla="*/ 96 w 122"/>
              <a:gd name="T61" fmla="*/ 102 h 334"/>
              <a:gd name="T62" fmla="*/ 90 w 122"/>
              <a:gd name="T63" fmla="*/ 98 h 334"/>
              <a:gd name="T64" fmla="*/ 85 w 122"/>
              <a:gd name="T65" fmla="*/ 85 h 334"/>
              <a:gd name="T66" fmla="*/ 76 w 122"/>
              <a:gd name="T67" fmla="*/ 84 h 334"/>
              <a:gd name="T68" fmla="*/ 70 w 122"/>
              <a:gd name="T69" fmla="*/ 79 h 334"/>
              <a:gd name="T70" fmla="*/ 70 w 122"/>
              <a:gd name="T71" fmla="*/ 62 h 334"/>
              <a:gd name="T72" fmla="*/ 76 w 122"/>
              <a:gd name="T73" fmla="*/ 52 h 334"/>
              <a:gd name="T74" fmla="*/ 79 w 122"/>
              <a:gd name="T75" fmla="*/ 42 h 334"/>
              <a:gd name="T76" fmla="*/ 73 w 122"/>
              <a:gd name="T77" fmla="*/ 16 h 334"/>
              <a:gd name="T78" fmla="*/ 66 w 122"/>
              <a:gd name="T79" fmla="*/ 13 h 334"/>
              <a:gd name="T80" fmla="*/ 61 w 122"/>
              <a:gd name="T81" fmla="*/ 3 h 334"/>
              <a:gd name="T82" fmla="*/ 53 w 122"/>
              <a:gd name="T83" fmla="*/ 0 h 334"/>
              <a:gd name="T84" fmla="*/ 49 w 122"/>
              <a:gd name="T85" fmla="*/ 16 h 334"/>
              <a:gd name="T86" fmla="*/ 43 w 122"/>
              <a:gd name="T87" fmla="*/ 22 h 334"/>
              <a:gd name="T88" fmla="*/ 31 w 122"/>
              <a:gd name="T89" fmla="*/ 31 h 334"/>
              <a:gd name="T90" fmla="*/ 27 w 122"/>
              <a:gd name="T91" fmla="*/ 39 h 334"/>
              <a:gd name="T92" fmla="*/ 23 w 122"/>
              <a:gd name="T93" fmla="*/ 61 h 334"/>
              <a:gd name="T94" fmla="*/ 27 w 122"/>
              <a:gd name="T95" fmla="*/ 65 h 334"/>
              <a:gd name="T96" fmla="*/ 26 w 122"/>
              <a:gd name="T97" fmla="*/ 72 h 334"/>
              <a:gd name="T98" fmla="*/ 15 w 122"/>
              <a:gd name="T99" fmla="*/ 85 h 334"/>
              <a:gd name="T100" fmla="*/ 10 w 122"/>
              <a:gd name="T101" fmla="*/ 89 h 334"/>
              <a:gd name="T102" fmla="*/ 12 w 122"/>
              <a:gd name="T103" fmla="*/ 102 h 334"/>
              <a:gd name="T104" fmla="*/ 9 w 122"/>
              <a:gd name="T105" fmla="*/ 121 h 334"/>
              <a:gd name="T106" fmla="*/ 3 w 122"/>
              <a:gd name="T107" fmla="*/ 129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22" h="334">
                <a:moveTo>
                  <a:pt x="0" y="142"/>
                </a:moveTo>
                <a:lnTo>
                  <a:pt x="2" y="145"/>
                </a:lnTo>
                <a:lnTo>
                  <a:pt x="6" y="151"/>
                </a:lnTo>
                <a:lnTo>
                  <a:pt x="13" y="158"/>
                </a:lnTo>
                <a:lnTo>
                  <a:pt x="19" y="164"/>
                </a:lnTo>
                <a:lnTo>
                  <a:pt x="26" y="171"/>
                </a:lnTo>
                <a:lnTo>
                  <a:pt x="34" y="179"/>
                </a:lnTo>
                <a:lnTo>
                  <a:pt x="36" y="184"/>
                </a:lnTo>
                <a:lnTo>
                  <a:pt x="38" y="187"/>
                </a:lnTo>
                <a:lnTo>
                  <a:pt x="41" y="192"/>
                </a:lnTo>
                <a:lnTo>
                  <a:pt x="41" y="197"/>
                </a:lnTo>
                <a:lnTo>
                  <a:pt x="43" y="201"/>
                </a:lnTo>
                <a:lnTo>
                  <a:pt x="44" y="206"/>
                </a:lnTo>
                <a:lnTo>
                  <a:pt x="44" y="210"/>
                </a:lnTo>
                <a:lnTo>
                  <a:pt x="43" y="214"/>
                </a:lnTo>
                <a:lnTo>
                  <a:pt x="41" y="220"/>
                </a:lnTo>
                <a:lnTo>
                  <a:pt x="40" y="227"/>
                </a:lnTo>
                <a:lnTo>
                  <a:pt x="39" y="234"/>
                </a:lnTo>
                <a:lnTo>
                  <a:pt x="40" y="234"/>
                </a:lnTo>
                <a:lnTo>
                  <a:pt x="41" y="234"/>
                </a:lnTo>
                <a:lnTo>
                  <a:pt x="44" y="236"/>
                </a:lnTo>
                <a:lnTo>
                  <a:pt x="47" y="234"/>
                </a:lnTo>
                <a:lnTo>
                  <a:pt x="49" y="234"/>
                </a:lnTo>
                <a:lnTo>
                  <a:pt x="50" y="234"/>
                </a:lnTo>
                <a:lnTo>
                  <a:pt x="52" y="236"/>
                </a:lnTo>
                <a:lnTo>
                  <a:pt x="54" y="237"/>
                </a:lnTo>
                <a:lnTo>
                  <a:pt x="56" y="240"/>
                </a:lnTo>
                <a:lnTo>
                  <a:pt x="59" y="240"/>
                </a:lnTo>
                <a:lnTo>
                  <a:pt x="63" y="240"/>
                </a:lnTo>
                <a:lnTo>
                  <a:pt x="63" y="238"/>
                </a:lnTo>
                <a:lnTo>
                  <a:pt x="66" y="237"/>
                </a:lnTo>
                <a:lnTo>
                  <a:pt x="68" y="234"/>
                </a:lnTo>
                <a:lnTo>
                  <a:pt x="71" y="232"/>
                </a:lnTo>
                <a:lnTo>
                  <a:pt x="73" y="228"/>
                </a:lnTo>
                <a:lnTo>
                  <a:pt x="75" y="224"/>
                </a:lnTo>
                <a:lnTo>
                  <a:pt x="76" y="220"/>
                </a:lnTo>
                <a:lnTo>
                  <a:pt x="76" y="216"/>
                </a:lnTo>
                <a:lnTo>
                  <a:pt x="79" y="219"/>
                </a:lnTo>
                <a:lnTo>
                  <a:pt x="82" y="222"/>
                </a:lnTo>
                <a:lnTo>
                  <a:pt x="84" y="224"/>
                </a:lnTo>
                <a:lnTo>
                  <a:pt x="85" y="228"/>
                </a:lnTo>
                <a:lnTo>
                  <a:pt x="89" y="236"/>
                </a:lnTo>
                <a:lnTo>
                  <a:pt x="92" y="244"/>
                </a:lnTo>
                <a:lnTo>
                  <a:pt x="96" y="263"/>
                </a:lnTo>
                <a:lnTo>
                  <a:pt x="98" y="271"/>
                </a:lnTo>
                <a:lnTo>
                  <a:pt x="101" y="279"/>
                </a:lnTo>
                <a:lnTo>
                  <a:pt x="101" y="281"/>
                </a:lnTo>
                <a:lnTo>
                  <a:pt x="103" y="283"/>
                </a:lnTo>
                <a:lnTo>
                  <a:pt x="107" y="288"/>
                </a:lnTo>
                <a:lnTo>
                  <a:pt x="108" y="290"/>
                </a:lnTo>
                <a:lnTo>
                  <a:pt x="110" y="293"/>
                </a:lnTo>
                <a:lnTo>
                  <a:pt x="111" y="296"/>
                </a:lnTo>
                <a:lnTo>
                  <a:pt x="111" y="300"/>
                </a:lnTo>
                <a:lnTo>
                  <a:pt x="111" y="308"/>
                </a:lnTo>
                <a:lnTo>
                  <a:pt x="111" y="316"/>
                </a:lnTo>
                <a:lnTo>
                  <a:pt x="111" y="323"/>
                </a:lnTo>
                <a:lnTo>
                  <a:pt x="111" y="328"/>
                </a:lnTo>
                <a:lnTo>
                  <a:pt x="111" y="333"/>
                </a:lnTo>
                <a:lnTo>
                  <a:pt x="114" y="332"/>
                </a:lnTo>
                <a:lnTo>
                  <a:pt x="115" y="331"/>
                </a:lnTo>
                <a:lnTo>
                  <a:pt x="117" y="329"/>
                </a:lnTo>
                <a:lnTo>
                  <a:pt x="119" y="327"/>
                </a:lnTo>
                <a:lnTo>
                  <a:pt x="120" y="325"/>
                </a:lnTo>
                <a:lnTo>
                  <a:pt x="120" y="321"/>
                </a:lnTo>
                <a:lnTo>
                  <a:pt x="121" y="318"/>
                </a:lnTo>
                <a:lnTo>
                  <a:pt x="121" y="314"/>
                </a:lnTo>
                <a:lnTo>
                  <a:pt x="121" y="309"/>
                </a:lnTo>
                <a:lnTo>
                  <a:pt x="120" y="304"/>
                </a:lnTo>
                <a:lnTo>
                  <a:pt x="118" y="298"/>
                </a:lnTo>
                <a:lnTo>
                  <a:pt x="116" y="292"/>
                </a:lnTo>
                <a:lnTo>
                  <a:pt x="114" y="286"/>
                </a:lnTo>
                <a:lnTo>
                  <a:pt x="112" y="281"/>
                </a:lnTo>
                <a:lnTo>
                  <a:pt x="111" y="276"/>
                </a:lnTo>
                <a:lnTo>
                  <a:pt x="109" y="273"/>
                </a:lnTo>
                <a:lnTo>
                  <a:pt x="97" y="263"/>
                </a:lnTo>
                <a:lnTo>
                  <a:pt x="97" y="259"/>
                </a:lnTo>
                <a:lnTo>
                  <a:pt x="98" y="256"/>
                </a:lnTo>
                <a:lnTo>
                  <a:pt x="99" y="250"/>
                </a:lnTo>
                <a:lnTo>
                  <a:pt x="101" y="244"/>
                </a:lnTo>
                <a:lnTo>
                  <a:pt x="101" y="240"/>
                </a:lnTo>
                <a:lnTo>
                  <a:pt x="101" y="237"/>
                </a:lnTo>
                <a:lnTo>
                  <a:pt x="101" y="233"/>
                </a:lnTo>
                <a:lnTo>
                  <a:pt x="101" y="229"/>
                </a:lnTo>
                <a:lnTo>
                  <a:pt x="99" y="227"/>
                </a:lnTo>
                <a:lnTo>
                  <a:pt x="98" y="224"/>
                </a:lnTo>
                <a:lnTo>
                  <a:pt x="96" y="218"/>
                </a:lnTo>
                <a:lnTo>
                  <a:pt x="92" y="214"/>
                </a:lnTo>
                <a:lnTo>
                  <a:pt x="89" y="209"/>
                </a:lnTo>
                <a:lnTo>
                  <a:pt x="85" y="203"/>
                </a:lnTo>
                <a:lnTo>
                  <a:pt x="83" y="197"/>
                </a:lnTo>
                <a:lnTo>
                  <a:pt x="82" y="193"/>
                </a:lnTo>
                <a:lnTo>
                  <a:pt x="82" y="188"/>
                </a:lnTo>
                <a:lnTo>
                  <a:pt x="82" y="184"/>
                </a:lnTo>
                <a:lnTo>
                  <a:pt x="83" y="179"/>
                </a:lnTo>
                <a:lnTo>
                  <a:pt x="84" y="175"/>
                </a:lnTo>
                <a:lnTo>
                  <a:pt x="85" y="171"/>
                </a:lnTo>
                <a:lnTo>
                  <a:pt x="89" y="169"/>
                </a:lnTo>
                <a:lnTo>
                  <a:pt x="90" y="166"/>
                </a:lnTo>
                <a:lnTo>
                  <a:pt x="93" y="164"/>
                </a:lnTo>
                <a:lnTo>
                  <a:pt x="96" y="161"/>
                </a:lnTo>
                <a:lnTo>
                  <a:pt x="108" y="154"/>
                </a:lnTo>
                <a:lnTo>
                  <a:pt x="111" y="151"/>
                </a:lnTo>
                <a:lnTo>
                  <a:pt x="112" y="149"/>
                </a:lnTo>
                <a:lnTo>
                  <a:pt x="115" y="148"/>
                </a:lnTo>
                <a:lnTo>
                  <a:pt x="117" y="145"/>
                </a:lnTo>
                <a:lnTo>
                  <a:pt x="118" y="142"/>
                </a:lnTo>
                <a:lnTo>
                  <a:pt x="119" y="140"/>
                </a:lnTo>
                <a:lnTo>
                  <a:pt x="120" y="135"/>
                </a:lnTo>
                <a:lnTo>
                  <a:pt x="119" y="134"/>
                </a:lnTo>
                <a:lnTo>
                  <a:pt x="115" y="134"/>
                </a:lnTo>
                <a:lnTo>
                  <a:pt x="112" y="132"/>
                </a:lnTo>
                <a:lnTo>
                  <a:pt x="111" y="131"/>
                </a:lnTo>
                <a:lnTo>
                  <a:pt x="111" y="130"/>
                </a:lnTo>
                <a:lnTo>
                  <a:pt x="108" y="128"/>
                </a:lnTo>
                <a:lnTo>
                  <a:pt x="106" y="125"/>
                </a:lnTo>
                <a:lnTo>
                  <a:pt x="103" y="122"/>
                </a:lnTo>
                <a:lnTo>
                  <a:pt x="101" y="121"/>
                </a:lnTo>
                <a:lnTo>
                  <a:pt x="98" y="119"/>
                </a:lnTo>
                <a:lnTo>
                  <a:pt x="98" y="115"/>
                </a:lnTo>
                <a:lnTo>
                  <a:pt x="98" y="111"/>
                </a:lnTo>
                <a:lnTo>
                  <a:pt x="98" y="106"/>
                </a:lnTo>
                <a:lnTo>
                  <a:pt x="98" y="104"/>
                </a:lnTo>
                <a:lnTo>
                  <a:pt x="97" y="102"/>
                </a:lnTo>
                <a:lnTo>
                  <a:pt x="96" y="102"/>
                </a:lnTo>
                <a:lnTo>
                  <a:pt x="95" y="102"/>
                </a:lnTo>
                <a:lnTo>
                  <a:pt x="92" y="99"/>
                </a:lnTo>
                <a:lnTo>
                  <a:pt x="92" y="98"/>
                </a:lnTo>
                <a:lnTo>
                  <a:pt x="90" y="98"/>
                </a:lnTo>
                <a:lnTo>
                  <a:pt x="89" y="97"/>
                </a:lnTo>
                <a:lnTo>
                  <a:pt x="89" y="95"/>
                </a:lnTo>
                <a:lnTo>
                  <a:pt x="85" y="88"/>
                </a:lnTo>
                <a:lnTo>
                  <a:pt x="85" y="85"/>
                </a:lnTo>
                <a:lnTo>
                  <a:pt x="84" y="85"/>
                </a:lnTo>
                <a:lnTo>
                  <a:pt x="83" y="84"/>
                </a:lnTo>
                <a:lnTo>
                  <a:pt x="81" y="84"/>
                </a:lnTo>
                <a:lnTo>
                  <a:pt x="76" y="84"/>
                </a:lnTo>
                <a:lnTo>
                  <a:pt x="74" y="84"/>
                </a:lnTo>
                <a:lnTo>
                  <a:pt x="72" y="82"/>
                </a:lnTo>
                <a:lnTo>
                  <a:pt x="71" y="81"/>
                </a:lnTo>
                <a:lnTo>
                  <a:pt x="70" y="79"/>
                </a:lnTo>
                <a:lnTo>
                  <a:pt x="68" y="75"/>
                </a:lnTo>
                <a:lnTo>
                  <a:pt x="68" y="70"/>
                </a:lnTo>
                <a:lnTo>
                  <a:pt x="70" y="64"/>
                </a:lnTo>
                <a:lnTo>
                  <a:pt x="70" y="62"/>
                </a:lnTo>
                <a:lnTo>
                  <a:pt x="71" y="59"/>
                </a:lnTo>
                <a:lnTo>
                  <a:pt x="72" y="56"/>
                </a:lnTo>
                <a:lnTo>
                  <a:pt x="74" y="54"/>
                </a:lnTo>
                <a:lnTo>
                  <a:pt x="76" y="52"/>
                </a:lnTo>
                <a:lnTo>
                  <a:pt x="79" y="52"/>
                </a:lnTo>
                <a:lnTo>
                  <a:pt x="79" y="49"/>
                </a:lnTo>
                <a:lnTo>
                  <a:pt x="79" y="45"/>
                </a:lnTo>
                <a:lnTo>
                  <a:pt x="79" y="42"/>
                </a:lnTo>
                <a:lnTo>
                  <a:pt x="79" y="39"/>
                </a:lnTo>
                <a:lnTo>
                  <a:pt x="76" y="28"/>
                </a:lnTo>
                <a:lnTo>
                  <a:pt x="74" y="19"/>
                </a:lnTo>
                <a:lnTo>
                  <a:pt x="73" y="16"/>
                </a:lnTo>
                <a:lnTo>
                  <a:pt x="71" y="14"/>
                </a:lnTo>
                <a:lnTo>
                  <a:pt x="70" y="13"/>
                </a:lnTo>
                <a:lnTo>
                  <a:pt x="67" y="13"/>
                </a:lnTo>
                <a:lnTo>
                  <a:pt x="66" y="13"/>
                </a:lnTo>
                <a:lnTo>
                  <a:pt x="65" y="10"/>
                </a:lnTo>
                <a:lnTo>
                  <a:pt x="63" y="7"/>
                </a:lnTo>
                <a:lnTo>
                  <a:pt x="62" y="3"/>
                </a:lnTo>
                <a:lnTo>
                  <a:pt x="61" y="3"/>
                </a:lnTo>
                <a:lnTo>
                  <a:pt x="60" y="0"/>
                </a:lnTo>
                <a:lnTo>
                  <a:pt x="58" y="0"/>
                </a:lnTo>
                <a:lnTo>
                  <a:pt x="57" y="0"/>
                </a:lnTo>
                <a:lnTo>
                  <a:pt x="53" y="0"/>
                </a:lnTo>
                <a:lnTo>
                  <a:pt x="52" y="4"/>
                </a:lnTo>
                <a:lnTo>
                  <a:pt x="50" y="7"/>
                </a:lnTo>
                <a:lnTo>
                  <a:pt x="49" y="10"/>
                </a:lnTo>
                <a:lnTo>
                  <a:pt x="49" y="16"/>
                </a:lnTo>
                <a:lnTo>
                  <a:pt x="49" y="18"/>
                </a:lnTo>
                <a:lnTo>
                  <a:pt x="50" y="21"/>
                </a:lnTo>
                <a:lnTo>
                  <a:pt x="44" y="21"/>
                </a:lnTo>
                <a:lnTo>
                  <a:pt x="43" y="22"/>
                </a:lnTo>
                <a:lnTo>
                  <a:pt x="40" y="23"/>
                </a:lnTo>
                <a:lnTo>
                  <a:pt x="37" y="26"/>
                </a:lnTo>
                <a:lnTo>
                  <a:pt x="34" y="27"/>
                </a:lnTo>
                <a:lnTo>
                  <a:pt x="31" y="31"/>
                </a:lnTo>
                <a:lnTo>
                  <a:pt x="28" y="34"/>
                </a:lnTo>
                <a:lnTo>
                  <a:pt x="27" y="36"/>
                </a:lnTo>
                <a:lnTo>
                  <a:pt x="27" y="37"/>
                </a:lnTo>
                <a:lnTo>
                  <a:pt x="27" y="39"/>
                </a:lnTo>
                <a:lnTo>
                  <a:pt x="28" y="41"/>
                </a:lnTo>
                <a:lnTo>
                  <a:pt x="28" y="43"/>
                </a:lnTo>
                <a:lnTo>
                  <a:pt x="30" y="43"/>
                </a:lnTo>
                <a:lnTo>
                  <a:pt x="23" y="61"/>
                </a:lnTo>
                <a:lnTo>
                  <a:pt x="23" y="62"/>
                </a:lnTo>
                <a:lnTo>
                  <a:pt x="24" y="62"/>
                </a:lnTo>
                <a:lnTo>
                  <a:pt x="25" y="64"/>
                </a:lnTo>
                <a:lnTo>
                  <a:pt x="27" y="65"/>
                </a:lnTo>
                <a:lnTo>
                  <a:pt x="27" y="66"/>
                </a:lnTo>
                <a:lnTo>
                  <a:pt x="27" y="67"/>
                </a:lnTo>
                <a:lnTo>
                  <a:pt x="27" y="70"/>
                </a:lnTo>
                <a:lnTo>
                  <a:pt x="26" y="72"/>
                </a:lnTo>
                <a:lnTo>
                  <a:pt x="24" y="77"/>
                </a:lnTo>
                <a:lnTo>
                  <a:pt x="19" y="86"/>
                </a:lnTo>
                <a:lnTo>
                  <a:pt x="16" y="86"/>
                </a:lnTo>
                <a:lnTo>
                  <a:pt x="15" y="85"/>
                </a:lnTo>
                <a:lnTo>
                  <a:pt x="14" y="85"/>
                </a:lnTo>
                <a:lnTo>
                  <a:pt x="13" y="85"/>
                </a:lnTo>
                <a:lnTo>
                  <a:pt x="12" y="88"/>
                </a:lnTo>
                <a:lnTo>
                  <a:pt x="10" y="89"/>
                </a:lnTo>
                <a:lnTo>
                  <a:pt x="9" y="89"/>
                </a:lnTo>
                <a:lnTo>
                  <a:pt x="12" y="93"/>
                </a:lnTo>
                <a:lnTo>
                  <a:pt x="12" y="97"/>
                </a:lnTo>
                <a:lnTo>
                  <a:pt x="12" y="102"/>
                </a:lnTo>
                <a:lnTo>
                  <a:pt x="12" y="105"/>
                </a:lnTo>
                <a:lnTo>
                  <a:pt x="10" y="112"/>
                </a:lnTo>
                <a:lnTo>
                  <a:pt x="9" y="117"/>
                </a:lnTo>
                <a:lnTo>
                  <a:pt x="9" y="121"/>
                </a:lnTo>
                <a:lnTo>
                  <a:pt x="6" y="122"/>
                </a:lnTo>
                <a:lnTo>
                  <a:pt x="5" y="125"/>
                </a:lnTo>
                <a:lnTo>
                  <a:pt x="4" y="126"/>
                </a:lnTo>
                <a:lnTo>
                  <a:pt x="3" y="129"/>
                </a:lnTo>
                <a:lnTo>
                  <a:pt x="1" y="135"/>
                </a:lnTo>
                <a:lnTo>
                  <a:pt x="0" y="140"/>
                </a:lnTo>
                <a:lnTo>
                  <a:pt x="0" y="142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20" name="Freeform 119">
            <a:extLst>
              <a:ext uri="{FF2B5EF4-FFF2-40B4-BE49-F238E27FC236}">
                <a16:creationId xmlns:a16="http://schemas.microsoft.com/office/drawing/2014/main" id="{D7794794-9B98-3D7A-140B-EDA674741B36}"/>
              </a:ext>
            </a:extLst>
          </p:cNvPr>
          <p:cNvSpPr>
            <a:spLocks/>
          </p:cNvSpPr>
          <p:nvPr/>
        </p:nvSpPr>
        <p:spPr bwMode="auto">
          <a:xfrm>
            <a:off x="8654425" y="4109884"/>
            <a:ext cx="158750" cy="188913"/>
          </a:xfrm>
          <a:custGeom>
            <a:avLst/>
            <a:gdLst>
              <a:gd name="T0" fmla="*/ 76 w 79"/>
              <a:gd name="T1" fmla="*/ 82 h 101"/>
              <a:gd name="T2" fmla="*/ 72 w 79"/>
              <a:gd name="T3" fmla="*/ 86 h 101"/>
              <a:gd name="T4" fmla="*/ 69 w 79"/>
              <a:gd name="T5" fmla="*/ 94 h 101"/>
              <a:gd name="T6" fmla="*/ 65 w 79"/>
              <a:gd name="T7" fmla="*/ 95 h 101"/>
              <a:gd name="T8" fmla="*/ 63 w 79"/>
              <a:gd name="T9" fmla="*/ 85 h 101"/>
              <a:gd name="T10" fmla="*/ 59 w 79"/>
              <a:gd name="T11" fmla="*/ 75 h 101"/>
              <a:gd name="T12" fmla="*/ 53 w 79"/>
              <a:gd name="T13" fmla="*/ 72 h 101"/>
              <a:gd name="T14" fmla="*/ 45 w 79"/>
              <a:gd name="T15" fmla="*/ 72 h 101"/>
              <a:gd name="T16" fmla="*/ 42 w 79"/>
              <a:gd name="T17" fmla="*/ 72 h 101"/>
              <a:gd name="T18" fmla="*/ 40 w 79"/>
              <a:gd name="T19" fmla="*/ 70 h 101"/>
              <a:gd name="T20" fmla="*/ 40 w 79"/>
              <a:gd name="T21" fmla="*/ 72 h 101"/>
              <a:gd name="T22" fmla="*/ 37 w 79"/>
              <a:gd name="T23" fmla="*/ 78 h 101"/>
              <a:gd name="T24" fmla="*/ 32 w 79"/>
              <a:gd name="T25" fmla="*/ 84 h 101"/>
              <a:gd name="T26" fmla="*/ 25 w 79"/>
              <a:gd name="T27" fmla="*/ 88 h 101"/>
              <a:gd name="T28" fmla="*/ 21 w 79"/>
              <a:gd name="T29" fmla="*/ 82 h 101"/>
              <a:gd name="T30" fmla="*/ 18 w 79"/>
              <a:gd name="T31" fmla="*/ 71 h 101"/>
              <a:gd name="T32" fmla="*/ 18 w 79"/>
              <a:gd name="T33" fmla="*/ 64 h 101"/>
              <a:gd name="T34" fmla="*/ 16 w 79"/>
              <a:gd name="T35" fmla="*/ 59 h 101"/>
              <a:gd name="T36" fmla="*/ 12 w 79"/>
              <a:gd name="T37" fmla="*/ 53 h 101"/>
              <a:gd name="T38" fmla="*/ 11 w 79"/>
              <a:gd name="T39" fmla="*/ 49 h 101"/>
              <a:gd name="T40" fmla="*/ 11 w 79"/>
              <a:gd name="T41" fmla="*/ 40 h 101"/>
              <a:gd name="T42" fmla="*/ 7 w 79"/>
              <a:gd name="T43" fmla="*/ 36 h 101"/>
              <a:gd name="T44" fmla="*/ 6 w 79"/>
              <a:gd name="T45" fmla="*/ 32 h 101"/>
              <a:gd name="T46" fmla="*/ 6 w 79"/>
              <a:gd name="T47" fmla="*/ 28 h 101"/>
              <a:gd name="T48" fmla="*/ 9 w 79"/>
              <a:gd name="T49" fmla="*/ 24 h 101"/>
              <a:gd name="T50" fmla="*/ 9 w 79"/>
              <a:gd name="T51" fmla="*/ 21 h 101"/>
              <a:gd name="T52" fmla="*/ 8 w 79"/>
              <a:gd name="T53" fmla="*/ 17 h 101"/>
              <a:gd name="T54" fmla="*/ 3 w 79"/>
              <a:gd name="T55" fmla="*/ 12 h 101"/>
              <a:gd name="T56" fmla="*/ 0 w 79"/>
              <a:gd name="T57" fmla="*/ 8 h 101"/>
              <a:gd name="T58" fmla="*/ 0 w 79"/>
              <a:gd name="T59" fmla="*/ 3 h 101"/>
              <a:gd name="T60" fmla="*/ 3 w 79"/>
              <a:gd name="T61" fmla="*/ 0 h 101"/>
              <a:gd name="T62" fmla="*/ 9 w 79"/>
              <a:gd name="T63" fmla="*/ 0 h 101"/>
              <a:gd name="T64" fmla="*/ 21 w 79"/>
              <a:gd name="T65" fmla="*/ 9 h 101"/>
              <a:gd name="T66" fmla="*/ 24 w 79"/>
              <a:gd name="T67" fmla="*/ 12 h 101"/>
              <a:gd name="T68" fmla="*/ 25 w 79"/>
              <a:gd name="T69" fmla="*/ 18 h 101"/>
              <a:gd name="T70" fmla="*/ 25 w 79"/>
              <a:gd name="T71" fmla="*/ 22 h 101"/>
              <a:gd name="T72" fmla="*/ 29 w 79"/>
              <a:gd name="T73" fmla="*/ 24 h 101"/>
              <a:gd name="T74" fmla="*/ 37 w 79"/>
              <a:gd name="T75" fmla="*/ 24 h 101"/>
              <a:gd name="T76" fmla="*/ 61 w 79"/>
              <a:gd name="T77" fmla="*/ 24 h 101"/>
              <a:gd name="T78" fmla="*/ 59 w 79"/>
              <a:gd name="T79" fmla="*/ 34 h 101"/>
              <a:gd name="T80" fmla="*/ 49 w 79"/>
              <a:gd name="T81" fmla="*/ 48 h 101"/>
              <a:gd name="T82" fmla="*/ 48 w 79"/>
              <a:gd name="T83" fmla="*/ 53 h 101"/>
              <a:gd name="T84" fmla="*/ 53 w 79"/>
              <a:gd name="T85" fmla="*/ 62 h 101"/>
              <a:gd name="T86" fmla="*/ 55 w 79"/>
              <a:gd name="T87" fmla="*/ 63 h 101"/>
              <a:gd name="T88" fmla="*/ 58 w 79"/>
              <a:gd name="T89" fmla="*/ 62 h 101"/>
              <a:gd name="T90" fmla="*/ 59 w 79"/>
              <a:gd name="T91" fmla="*/ 58 h 101"/>
              <a:gd name="T92" fmla="*/ 60 w 79"/>
              <a:gd name="T93" fmla="*/ 51 h 101"/>
              <a:gd name="T94" fmla="*/ 63 w 79"/>
              <a:gd name="T95" fmla="*/ 54 h 101"/>
              <a:gd name="T96" fmla="*/ 68 w 79"/>
              <a:gd name="T97" fmla="*/ 68 h 101"/>
              <a:gd name="T98" fmla="*/ 71 w 79"/>
              <a:gd name="T99" fmla="*/ 81 h 101"/>
              <a:gd name="T100" fmla="*/ 78 w 79"/>
              <a:gd name="T101" fmla="*/ 82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79" h="101">
                <a:moveTo>
                  <a:pt x="78" y="82"/>
                </a:moveTo>
                <a:lnTo>
                  <a:pt x="76" y="82"/>
                </a:lnTo>
                <a:lnTo>
                  <a:pt x="74" y="85"/>
                </a:lnTo>
                <a:lnTo>
                  <a:pt x="72" y="86"/>
                </a:lnTo>
                <a:lnTo>
                  <a:pt x="71" y="89"/>
                </a:lnTo>
                <a:lnTo>
                  <a:pt x="69" y="94"/>
                </a:lnTo>
                <a:lnTo>
                  <a:pt x="68" y="100"/>
                </a:lnTo>
                <a:lnTo>
                  <a:pt x="65" y="95"/>
                </a:lnTo>
                <a:lnTo>
                  <a:pt x="65" y="91"/>
                </a:lnTo>
                <a:lnTo>
                  <a:pt x="63" y="85"/>
                </a:lnTo>
                <a:lnTo>
                  <a:pt x="60" y="77"/>
                </a:lnTo>
                <a:lnTo>
                  <a:pt x="59" y="75"/>
                </a:lnTo>
                <a:lnTo>
                  <a:pt x="56" y="72"/>
                </a:lnTo>
                <a:lnTo>
                  <a:pt x="53" y="72"/>
                </a:lnTo>
                <a:lnTo>
                  <a:pt x="50" y="73"/>
                </a:lnTo>
                <a:lnTo>
                  <a:pt x="45" y="72"/>
                </a:lnTo>
                <a:lnTo>
                  <a:pt x="43" y="72"/>
                </a:lnTo>
                <a:lnTo>
                  <a:pt x="42" y="72"/>
                </a:lnTo>
                <a:lnTo>
                  <a:pt x="41" y="71"/>
                </a:lnTo>
                <a:lnTo>
                  <a:pt x="40" y="70"/>
                </a:lnTo>
                <a:lnTo>
                  <a:pt x="40" y="68"/>
                </a:lnTo>
                <a:lnTo>
                  <a:pt x="40" y="72"/>
                </a:lnTo>
                <a:lnTo>
                  <a:pt x="38" y="75"/>
                </a:lnTo>
                <a:lnTo>
                  <a:pt x="37" y="78"/>
                </a:lnTo>
                <a:lnTo>
                  <a:pt x="34" y="81"/>
                </a:lnTo>
                <a:lnTo>
                  <a:pt x="32" y="84"/>
                </a:lnTo>
                <a:lnTo>
                  <a:pt x="29" y="86"/>
                </a:lnTo>
                <a:lnTo>
                  <a:pt x="25" y="88"/>
                </a:lnTo>
                <a:lnTo>
                  <a:pt x="23" y="89"/>
                </a:lnTo>
                <a:lnTo>
                  <a:pt x="21" y="82"/>
                </a:lnTo>
                <a:lnTo>
                  <a:pt x="20" y="77"/>
                </a:lnTo>
                <a:lnTo>
                  <a:pt x="18" y="71"/>
                </a:lnTo>
                <a:lnTo>
                  <a:pt x="18" y="68"/>
                </a:lnTo>
                <a:lnTo>
                  <a:pt x="18" y="64"/>
                </a:lnTo>
                <a:lnTo>
                  <a:pt x="17" y="62"/>
                </a:lnTo>
                <a:lnTo>
                  <a:pt x="16" y="59"/>
                </a:lnTo>
                <a:lnTo>
                  <a:pt x="15" y="57"/>
                </a:lnTo>
                <a:lnTo>
                  <a:pt x="12" y="53"/>
                </a:lnTo>
                <a:lnTo>
                  <a:pt x="11" y="51"/>
                </a:lnTo>
                <a:lnTo>
                  <a:pt x="11" y="49"/>
                </a:lnTo>
                <a:lnTo>
                  <a:pt x="14" y="41"/>
                </a:lnTo>
                <a:lnTo>
                  <a:pt x="11" y="40"/>
                </a:lnTo>
                <a:lnTo>
                  <a:pt x="8" y="37"/>
                </a:lnTo>
                <a:lnTo>
                  <a:pt x="7" y="36"/>
                </a:lnTo>
                <a:lnTo>
                  <a:pt x="6" y="34"/>
                </a:lnTo>
                <a:lnTo>
                  <a:pt x="6" y="32"/>
                </a:lnTo>
                <a:lnTo>
                  <a:pt x="4" y="31"/>
                </a:lnTo>
                <a:lnTo>
                  <a:pt x="6" y="28"/>
                </a:lnTo>
                <a:lnTo>
                  <a:pt x="7" y="26"/>
                </a:lnTo>
                <a:lnTo>
                  <a:pt x="9" y="24"/>
                </a:lnTo>
                <a:lnTo>
                  <a:pt x="9" y="23"/>
                </a:lnTo>
                <a:lnTo>
                  <a:pt x="9" y="21"/>
                </a:lnTo>
                <a:lnTo>
                  <a:pt x="9" y="18"/>
                </a:lnTo>
                <a:lnTo>
                  <a:pt x="8" y="17"/>
                </a:lnTo>
                <a:lnTo>
                  <a:pt x="4" y="13"/>
                </a:lnTo>
                <a:lnTo>
                  <a:pt x="3" y="12"/>
                </a:lnTo>
                <a:lnTo>
                  <a:pt x="2" y="10"/>
                </a:lnTo>
                <a:lnTo>
                  <a:pt x="0" y="8"/>
                </a:lnTo>
                <a:lnTo>
                  <a:pt x="0" y="5"/>
                </a:lnTo>
                <a:lnTo>
                  <a:pt x="0" y="3"/>
                </a:lnTo>
                <a:lnTo>
                  <a:pt x="2" y="0"/>
                </a:lnTo>
                <a:lnTo>
                  <a:pt x="3" y="0"/>
                </a:lnTo>
                <a:lnTo>
                  <a:pt x="4" y="0"/>
                </a:lnTo>
                <a:lnTo>
                  <a:pt x="9" y="0"/>
                </a:lnTo>
                <a:lnTo>
                  <a:pt x="15" y="4"/>
                </a:lnTo>
                <a:lnTo>
                  <a:pt x="21" y="9"/>
                </a:lnTo>
                <a:lnTo>
                  <a:pt x="24" y="10"/>
                </a:lnTo>
                <a:lnTo>
                  <a:pt x="24" y="12"/>
                </a:lnTo>
                <a:lnTo>
                  <a:pt x="25" y="14"/>
                </a:lnTo>
                <a:lnTo>
                  <a:pt x="25" y="18"/>
                </a:lnTo>
                <a:lnTo>
                  <a:pt x="24" y="20"/>
                </a:lnTo>
                <a:lnTo>
                  <a:pt x="25" y="22"/>
                </a:lnTo>
                <a:lnTo>
                  <a:pt x="28" y="23"/>
                </a:lnTo>
                <a:lnTo>
                  <a:pt x="29" y="24"/>
                </a:lnTo>
                <a:lnTo>
                  <a:pt x="33" y="24"/>
                </a:lnTo>
                <a:lnTo>
                  <a:pt x="37" y="24"/>
                </a:lnTo>
                <a:lnTo>
                  <a:pt x="40" y="24"/>
                </a:lnTo>
                <a:lnTo>
                  <a:pt x="61" y="24"/>
                </a:lnTo>
                <a:lnTo>
                  <a:pt x="61" y="30"/>
                </a:lnTo>
                <a:lnTo>
                  <a:pt x="59" y="34"/>
                </a:lnTo>
                <a:lnTo>
                  <a:pt x="54" y="41"/>
                </a:lnTo>
                <a:lnTo>
                  <a:pt x="49" y="48"/>
                </a:lnTo>
                <a:lnTo>
                  <a:pt x="47" y="50"/>
                </a:lnTo>
                <a:lnTo>
                  <a:pt x="48" y="53"/>
                </a:lnTo>
                <a:lnTo>
                  <a:pt x="50" y="58"/>
                </a:lnTo>
                <a:lnTo>
                  <a:pt x="53" y="62"/>
                </a:lnTo>
                <a:lnTo>
                  <a:pt x="54" y="63"/>
                </a:lnTo>
                <a:lnTo>
                  <a:pt x="55" y="63"/>
                </a:lnTo>
                <a:lnTo>
                  <a:pt x="56" y="63"/>
                </a:lnTo>
                <a:lnTo>
                  <a:pt x="58" y="62"/>
                </a:lnTo>
                <a:lnTo>
                  <a:pt x="59" y="59"/>
                </a:lnTo>
                <a:lnTo>
                  <a:pt x="59" y="58"/>
                </a:lnTo>
                <a:lnTo>
                  <a:pt x="60" y="53"/>
                </a:lnTo>
                <a:lnTo>
                  <a:pt x="60" y="51"/>
                </a:lnTo>
                <a:lnTo>
                  <a:pt x="61" y="50"/>
                </a:lnTo>
                <a:lnTo>
                  <a:pt x="63" y="54"/>
                </a:lnTo>
                <a:lnTo>
                  <a:pt x="65" y="58"/>
                </a:lnTo>
                <a:lnTo>
                  <a:pt x="68" y="68"/>
                </a:lnTo>
                <a:lnTo>
                  <a:pt x="69" y="77"/>
                </a:lnTo>
                <a:lnTo>
                  <a:pt x="71" y="81"/>
                </a:lnTo>
                <a:lnTo>
                  <a:pt x="73" y="84"/>
                </a:lnTo>
                <a:lnTo>
                  <a:pt x="78" y="82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21" name="Freeform 120">
            <a:extLst>
              <a:ext uri="{FF2B5EF4-FFF2-40B4-BE49-F238E27FC236}">
                <a16:creationId xmlns:a16="http://schemas.microsoft.com/office/drawing/2014/main" id="{6CBFA54E-5E48-DF3F-C374-54CD22DF3997}"/>
              </a:ext>
            </a:extLst>
          </p:cNvPr>
          <p:cNvSpPr>
            <a:spLocks/>
          </p:cNvSpPr>
          <p:nvPr/>
        </p:nvSpPr>
        <p:spPr bwMode="auto">
          <a:xfrm>
            <a:off x="8105150" y="3773334"/>
            <a:ext cx="798513" cy="847725"/>
          </a:xfrm>
          <a:custGeom>
            <a:avLst/>
            <a:gdLst>
              <a:gd name="T0" fmla="*/ 384 w 396"/>
              <a:gd name="T1" fmla="*/ 161 h 454"/>
              <a:gd name="T2" fmla="*/ 369 w 396"/>
              <a:gd name="T3" fmla="*/ 180 h 454"/>
              <a:gd name="T4" fmla="*/ 368 w 396"/>
              <a:gd name="T5" fmla="*/ 210 h 454"/>
              <a:gd name="T6" fmla="*/ 351 w 396"/>
              <a:gd name="T7" fmla="*/ 228 h 454"/>
              <a:gd name="T8" fmla="*/ 347 w 396"/>
              <a:gd name="T9" fmla="*/ 263 h 454"/>
              <a:gd name="T10" fmla="*/ 332 w 396"/>
              <a:gd name="T11" fmla="*/ 237 h 454"/>
              <a:gd name="T12" fmla="*/ 320 w 396"/>
              <a:gd name="T13" fmla="*/ 229 h 454"/>
              <a:gd name="T14" fmla="*/ 300 w 396"/>
              <a:gd name="T15" fmla="*/ 203 h 454"/>
              <a:gd name="T16" fmla="*/ 287 w 396"/>
              <a:gd name="T17" fmla="*/ 184 h 454"/>
              <a:gd name="T18" fmla="*/ 271 w 396"/>
              <a:gd name="T19" fmla="*/ 188 h 454"/>
              <a:gd name="T20" fmla="*/ 277 w 396"/>
              <a:gd name="T21" fmla="*/ 208 h 454"/>
              <a:gd name="T22" fmla="*/ 283 w 396"/>
              <a:gd name="T23" fmla="*/ 230 h 454"/>
              <a:gd name="T24" fmla="*/ 291 w 396"/>
              <a:gd name="T25" fmla="*/ 250 h 454"/>
              <a:gd name="T26" fmla="*/ 278 w 396"/>
              <a:gd name="T27" fmla="*/ 269 h 454"/>
              <a:gd name="T28" fmla="*/ 264 w 396"/>
              <a:gd name="T29" fmla="*/ 302 h 454"/>
              <a:gd name="T30" fmla="*/ 243 w 396"/>
              <a:gd name="T31" fmla="*/ 302 h 454"/>
              <a:gd name="T32" fmla="*/ 208 w 396"/>
              <a:gd name="T33" fmla="*/ 295 h 454"/>
              <a:gd name="T34" fmla="*/ 180 w 396"/>
              <a:gd name="T35" fmla="*/ 318 h 454"/>
              <a:gd name="T36" fmla="*/ 186 w 396"/>
              <a:gd name="T37" fmla="*/ 367 h 454"/>
              <a:gd name="T38" fmla="*/ 184 w 396"/>
              <a:gd name="T39" fmla="*/ 400 h 454"/>
              <a:gd name="T40" fmla="*/ 174 w 396"/>
              <a:gd name="T41" fmla="*/ 424 h 454"/>
              <a:gd name="T42" fmla="*/ 165 w 396"/>
              <a:gd name="T43" fmla="*/ 440 h 454"/>
              <a:gd name="T44" fmla="*/ 148 w 396"/>
              <a:gd name="T45" fmla="*/ 451 h 454"/>
              <a:gd name="T46" fmla="*/ 123 w 396"/>
              <a:gd name="T47" fmla="*/ 390 h 454"/>
              <a:gd name="T48" fmla="*/ 91 w 396"/>
              <a:gd name="T49" fmla="*/ 318 h 454"/>
              <a:gd name="T50" fmla="*/ 68 w 396"/>
              <a:gd name="T51" fmla="*/ 300 h 454"/>
              <a:gd name="T52" fmla="*/ 60 w 396"/>
              <a:gd name="T53" fmla="*/ 265 h 454"/>
              <a:gd name="T54" fmla="*/ 44 w 396"/>
              <a:gd name="T55" fmla="*/ 290 h 454"/>
              <a:gd name="T56" fmla="*/ 11 w 396"/>
              <a:gd name="T57" fmla="*/ 259 h 454"/>
              <a:gd name="T58" fmla="*/ 22 w 396"/>
              <a:gd name="T59" fmla="*/ 249 h 454"/>
              <a:gd name="T60" fmla="*/ 0 w 396"/>
              <a:gd name="T61" fmla="*/ 233 h 454"/>
              <a:gd name="T62" fmla="*/ 12 w 396"/>
              <a:gd name="T63" fmla="*/ 223 h 454"/>
              <a:gd name="T64" fmla="*/ 33 w 396"/>
              <a:gd name="T65" fmla="*/ 211 h 454"/>
              <a:gd name="T66" fmla="*/ 16 w 396"/>
              <a:gd name="T67" fmla="*/ 180 h 454"/>
              <a:gd name="T68" fmla="*/ 10 w 396"/>
              <a:gd name="T69" fmla="*/ 157 h 454"/>
              <a:gd name="T70" fmla="*/ 28 w 396"/>
              <a:gd name="T71" fmla="*/ 154 h 454"/>
              <a:gd name="T72" fmla="*/ 51 w 396"/>
              <a:gd name="T73" fmla="*/ 121 h 454"/>
              <a:gd name="T74" fmla="*/ 64 w 396"/>
              <a:gd name="T75" fmla="*/ 76 h 454"/>
              <a:gd name="T76" fmla="*/ 56 w 396"/>
              <a:gd name="T77" fmla="*/ 53 h 454"/>
              <a:gd name="T78" fmla="*/ 49 w 396"/>
              <a:gd name="T79" fmla="*/ 24 h 454"/>
              <a:gd name="T80" fmla="*/ 73 w 396"/>
              <a:gd name="T81" fmla="*/ 22 h 454"/>
              <a:gd name="T82" fmla="*/ 108 w 396"/>
              <a:gd name="T83" fmla="*/ 0 h 454"/>
              <a:gd name="T84" fmla="*/ 126 w 396"/>
              <a:gd name="T85" fmla="*/ 18 h 454"/>
              <a:gd name="T86" fmla="*/ 121 w 396"/>
              <a:gd name="T87" fmla="*/ 50 h 454"/>
              <a:gd name="T88" fmla="*/ 121 w 396"/>
              <a:gd name="T89" fmla="*/ 79 h 454"/>
              <a:gd name="T90" fmla="*/ 154 w 396"/>
              <a:gd name="T91" fmla="*/ 108 h 454"/>
              <a:gd name="T92" fmla="*/ 153 w 396"/>
              <a:gd name="T93" fmla="*/ 135 h 454"/>
              <a:gd name="T94" fmla="*/ 210 w 396"/>
              <a:gd name="T95" fmla="*/ 158 h 454"/>
              <a:gd name="T96" fmla="*/ 252 w 396"/>
              <a:gd name="T97" fmla="*/ 180 h 454"/>
              <a:gd name="T98" fmla="*/ 269 w 396"/>
              <a:gd name="T99" fmla="*/ 171 h 454"/>
              <a:gd name="T100" fmla="*/ 268 w 396"/>
              <a:gd name="T101" fmla="*/ 150 h 454"/>
              <a:gd name="T102" fmla="*/ 284 w 396"/>
              <a:gd name="T103" fmla="*/ 172 h 454"/>
              <a:gd name="T104" fmla="*/ 320 w 396"/>
              <a:gd name="T105" fmla="*/ 170 h 454"/>
              <a:gd name="T106" fmla="*/ 336 w 396"/>
              <a:gd name="T107" fmla="*/ 136 h 454"/>
              <a:gd name="T108" fmla="*/ 361 w 396"/>
              <a:gd name="T109" fmla="*/ 128 h 454"/>
              <a:gd name="T110" fmla="*/ 380 w 396"/>
              <a:gd name="T111" fmla="*/ 135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96" h="454">
                <a:moveTo>
                  <a:pt x="395" y="139"/>
                </a:moveTo>
                <a:lnTo>
                  <a:pt x="394" y="144"/>
                </a:lnTo>
                <a:lnTo>
                  <a:pt x="391" y="147"/>
                </a:lnTo>
                <a:lnTo>
                  <a:pt x="391" y="150"/>
                </a:lnTo>
                <a:lnTo>
                  <a:pt x="391" y="155"/>
                </a:lnTo>
                <a:lnTo>
                  <a:pt x="391" y="157"/>
                </a:lnTo>
                <a:lnTo>
                  <a:pt x="392" y="160"/>
                </a:lnTo>
                <a:lnTo>
                  <a:pt x="386" y="160"/>
                </a:lnTo>
                <a:lnTo>
                  <a:pt x="384" y="161"/>
                </a:lnTo>
                <a:lnTo>
                  <a:pt x="381" y="162"/>
                </a:lnTo>
                <a:lnTo>
                  <a:pt x="378" y="165"/>
                </a:lnTo>
                <a:lnTo>
                  <a:pt x="375" y="167"/>
                </a:lnTo>
                <a:lnTo>
                  <a:pt x="372" y="170"/>
                </a:lnTo>
                <a:lnTo>
                  <a:pt x="370" y="173"/>
                </a:lnTo>
                <a:lnTo>
                  <a:pt x="368" y="176"/>
                </a:lnTo>
                <a:lnTo>
                  <a:pt x="368" y="177"/>
                </a:lnTo>
                <a:lnTo>
                  <a:pt x="368" y="178"/>
                </a:lnTo>
                <a:lnTo>
                  <a:pt x="369" y="180"/>
                </a:lnTo>
                <a:lnTo>
                  <a:pt x="369" y="183"/>
                </a:lnTo>
                <a:lnTo>
                  <a:pt x="371" y="183"/>
                </a:lnTo>
                <a:lnTo>
                  <a:pt x="364" y="200"/>
                </a:lnTo>
                <a:lnTo>
                  <a:pt x="364" y="201"/>
                </a:lnTo>
                <a:lnTo>
                  <a:pt x="365" y="202"/>
                </a:lnTo>
                <a:lnTo>
                  <a:pt x="367" y="203"/>
                </a:lnTo>
                <a:lnTo>
                  <a:pt x="368" y="205"/>
                </a:lnTo>
                <a:lnTo>
                  <a:pt x="368" y="206"/>
                </a:lnTo>
                <a:lnTo>
                  <a:pt x="368" y="210"/>
                </a:lnTo>
                <a:lnTo>
                  <a:pt x="368" y="212"/>
                </a:lnTo>
                <a:lnTo>
                  <a:pt x="365" y="216"/>
                </a:lnTo>
                <a:lnTo>
                  <a:pt x="360" y="226"/>
                </a:lnTo>
                <a:lnTo>
                  <a:pt x="358" y="226"/>
                </a:lnTo>
                <a:lnTo>
                  <a:pt x="356" y="225"/>
                </a:lnTo>
                <a:lnTo>
                  <a:pt x="355" y="224"/>
                </a:lnTo>
                <a:lnTo>
                  <a:pt x="354" y="225"/>
                </a:lnTo>
                <a:lnTo>
                  <a:pt x="354" y="227"/>
                </a:lnTo>
                <a:lnTo>
                  <a:pt x="351" y="228"/>
                </a:lnTo>
                <a:lnTo>
                  <a:pt x="351" y="229"/>
                </a:lnTo>
                <a:lnTo>
                  <a:pt x="353" y="233"/>
                </a:lnTo>
                <a:lnTo>
                  <a:pt x="353" y="238"/>
                </a:lnTo>
                <a:lnTo>
                  <a:pt x="353" y="243"/>
                </a:lnTo>
                <a:lnTo>
                  <a:pt x="353" y="249"/>
                </a:lnTo>
                <a:lnTo>
                  <a:pt x="351" y="254"/>
                </a:lnTo>
                <a:lnTo>
                  <a:pt x="350" y="259"/>
                </a:lnTo>
                <a:lnTo>
                  <a:pt x="349" y="261"/>
                </a:lnTo>
                <a:lnTo>
                  <a:pt x="347" y="263"/>
                </a:lnTo>
                <a:lnTo>
                  <a:pt x="345" y="260"/>
                </a:lnTo>
                <a:lnTo>
                  <a:pt x="343" y="256"/>
                </a:lnTo>
                <a:lnTo>
                  <a:pt x="341" y="247"/>
                </a:lnTo>
                <a:lnTo>
                  <a:pt x="338" y="238"/>
                </a:lnTo>
                <a:lnTo>
                  <a:pt x="336" y="233"/>
                </a:lnTo>
                <a:lnTo>
                  <a:pt x="334" y="229"/>
                </a:lnTo>
                <a:lnTo>
                  <a:pt x="333" y="230"/>
                </a:lnTo>
                <a:lnTo>
                  <a:pt x="333" y="233"/>
                </a:lnTo>
                <a:lnTo>
                  <a:pt x="332" y="237"/>
                </a:lnTo>
                <a:lnTo>
                  <a:pt x="331" y="239"/>
                </a:lnTo>
                <a:lnTo>
                  <a:pt x="331" y="241"/>
                </a:lnTo>
                <a:lnTo>
                  <a:pt x="329" y="242"/>
                </a:lnTo>
                <a:lnTo>
                  <a:pt x="328" y="242"/>
                </a:lnTo>
                <a:lnTo>
                  <a:pt x="327" y="242"/>
                </a:lnTo>
                <a:lnTo>
                  <a:pt x="326" y="241"/>
                </a:lnTo>
                <a:lnTo>
                  <a:pt x="323" y="237"/>
                </a:lnTo>
                <a:lnTo>
                  <a:pt x="321" y="233"/>
                </a:lnTo>
                <a:lnTo>
                  <a:pt x="320" y="229"/>
                </a:lnTo>
                <a:lnTo>
                  <a:pt x="322" y="227"/>
                </a:lnTo>
                <a:lnTo>
                  <a:pt x="327" y="220"/>
                </a:lnTo>
                <a:lnTo>
                  <a:pt x="334" y="210"/>
                </a:lnTo>
                <a:lnTo>
                  <a:pt x="334" y="203"/>
                </a:lnTo>
                <a:lnTo>
                  <a:pt x="313" y="203"/>
                </a:lnTo>
                <a:lnTo>
                  <a:pt x="310" y="203"/>
                </a:lnTo>
                <a:lnTo>
                  <a:pt x="305" y="203"/>
                </a:lnTo>
                <a:lnTo>
                  <a:pt x="301" y="203"/>
                </a:lnTo>
                <a:lnTo>
                  <a:pt x="300" y="203"/>
                </a:lnTo>
                <a:lnTo>
                  <a:pt x="297" y="202"/>
                </a:lnTo>
                <a:lnTo>
                  <a:pt x="297" y="201"/>
                </a:lnTo>
                <a:lnTo>
                  <a:pt x="297" y="200"/>
                </a:lnTo>
                <a:lnTo>
                  <a:pt x="297" y="198"/>
                </a:lnTo>
                <a:lnTo>
                  <a:pt x="297" y="194"/>
                </a:lnTo>
                <a:lnTo>
                  <a:pt x="297" y="192"/>
                </a:lnTo>
                <a:lnTo>
                  <a:pt x="296" y="190"/>
                </a:lnTo>
                <a:lnTo>
                  <a:pt x="294" y="189"/>
                </a:lnTo>
                <a:lnTo>
                  <a:pt x="287" y="184"/>
                </a:lnTo>
                <a:lnTo>
                  <a:pt x="281" y="180"/>
                </a:lnTo>
                <a:lnTo>
                  <a:pt x="278" y="180"/>
                </a:lnTo>
                <a:lnTo>
                  <a:pt x="276" y="180"/>
                </a:lnTo>
                <a:lnTo>
                  <a:pt x="275" y="180"/>
                </a:lnTo>
                <a:lnTo>
                  <a:pt x="274" y="180"/>
                </a:lnTo>
                <a:lnTo>
                  <a:pt x="273" y="181"/>
                </a:lnTo>
                <a:lnTo>
                  <a:pt x="271" y="183"/>
                </a:lnTo>
                <a:lnTo>
                  <a:pt x="271" y="185"/>
                </a:lnTo>
                <a:lnTo>
                  <a:pt x="271" y="188"/>
                </a:lnTo>
                <a:lnTo>
                  <a:pt x="274" y="190"/>
                </a:lnTo>
                <a:lnTo>
                  <a:pt x="276" y="193"/>
                </a:lnTo>
                <a:lnTo>
                  <a:pt x="278" y="194"/>
                </a:lnTo>
                <a:lnTo>
                  <a:pt x="280" y="196"/>
                </a:lnTo>
                <a:lnTo>
                  <a:pt x="281" y="198"/>
                </a:lnTo>
                <a:lnTo>
                  <a:pt x="281" y="201"/>
                </a:lnTo>
                <a:lnTo>
                  <a:pt x="281" y="203"/>
                </a:lnTo>
                <a:lnTo>
                  <a:pt x="279" y="206"/>
                </a:lnTo>
                <a:lnTo>
                  <a:pt x="277" y="208"/>
                </a:lnTo>
                <a:lnTo>
                  <a:pt x="277" y="210"/>
                </a:lnTo>
                <a:lnTo>
                  <a:pt x="276" y="211"/>
                </a:lnTo>
                <a:lnTo>
                  <a:pt x="277" y="212"/>
                </a:lnTo>
                <a:lnTo>
                  <a:pt x="277" y="214"/>
                </a:lnTo>
                <a:lnTo>
                  <a:pt x="280" y="216"/>
                </a:lnTo>
                <a:lnTo>
                  <a:pt x="283" y="219"/>
                </a:lnTo>
                <a:lnTo>
                  <a:pt x="286" y="220"/>
                </a:lnTo>
                <a:lnTo>
                  <a:pt x="283" y="229"/>
                </a:lnTo>
                <a:lnTo>
                  <a:pt x="283" y="230"/>
                </a:lnTo>
                <a:lnTo>
                  <a:pt x="284" y="233"/>
                </a:lnTo>
                <a:lnTo>
                  <a:pt x="287" y="236"/>
                </a:lnTo>
                <a:lnTo>
                  <a:pt x="287" y="237"/>
                </a:lnTo>
                <a:lnTo>
                  <a:pt x="288" y="239"/>
                </a:lnTo>
                <a:lnTo>
                  <a:pt x="289" y="241"/>
                </a:lnTo>
                <a:lnTo>
                  <a:pt x="291" y="243"/>
                </a:lnTo>
                <a:lnTo>
                  <a:pt x="291" y="247"/>
                </a:lnTo>
                <a:lnTo>
                  <a:pt x="291" y="249"/>
                </a:lnTo>
                <a:lnTo>
                  <a:pt x="291" y="250"/>
                </a:lnTo>
                <a:lnTo>
                  <a:pt x="292" y="256"/>
                </a:lnTo>
                <a:lnTo>
                  <a:pt x="295" y="262"/>
                </a:lnTo>
                <a:lnTo>
                  <a:pt x="296" y="268"/>
                </a:lnTo>
                <a:lnTo>
                  <a:pt x="291" y="269"/>
                </a:lnTo>
                <a:lnTo>
                  <a:pt x="287" y="269"/>
                </a:lnTo>
                <a:lnTo>
                  <a:pt x="283" y="269"/>
                </a:lnTo>
                <a:lnTo>
                  <a:pt x="280" y="268"/>
                </a:lnTo>
                <a:lnTo>
                  <a:pt x="281" y="268"/>
                </a:lnTo>
                <a:lnTo>
                  <a:pt x="278" y="269"/>
                </a:lnTo>
                <a:lnTo>
                  <a:pt x="276" y="270"/>
                </a:lnTo>
                <a:lnTo>
                  <a:pt x="273" y="273"/>
                </a:lnTo>
                <a:lnTo>
                  <a:pt x="271" y="275"/>
                </a:lnTo>
                <a:lnTo>
                  <a:pt x="269" y="279"/>
                </a:lnTo>
                <a:lnTo>
                  <a:pt x="269" y="282"/>
                </a:lnTo>
                <a:lnTo>
                  <a:pt x="268" y="286"/>
                </a:lnTo>
                <a:lnTo>
                  <a:pt x="266" y="296"/>
                </a:lnTo>
                <a:lnTo>
                  <a:pt x="264" y="300"/>
                </a:lnTo>
                <a:lnTo>
                  <a:pt x="264" y="302"/>
                </a:lnTo>
                <a:lnTo>
                  <a:pt x="261" y="304"/>
                </a:lnTo>
                <a:lnTo>
                  <a:pt x="259" y="305"/>
                </a:lnTo>
                <a:lnTo>
                  <a:pt x="253" y="306"/>
                </a:lnTo>
                <a:lnTo>
                  <a:pt x="251" y="308"/>
                </a:lnTo>
                <a:lnTo>
                  <a:pt x="247" y="309"/>
                </a:lnTo>
                <a:lnTo>
                  <a:pt x="246" y="309"/>
                </a:lnTo>
                <a:lnTo>
                  <a:pt x="244" y="308"/>
                </a:lnTo>
                <a:lnTo>
                  <a:pt x="244" y="305"/>
                </a:lnTo>
                <a:lnTo>
                  <a:pt x="243" y="302"/>
                </a:lnTo>
                <a:lnTo>
                  <a:pt x="240" y="284"/>
                </a:lnTo>
                <a:lnTo>
                  <a:pt x="237" y="265"/>
                </a:lnTo>
                <a:lnTo>
                  <a:pt x="235" y="261"/>
                </a:lnTo>
                <a:lnTo>
                  <a:pt x="234" y="259"/>
                </a:lnTo>
                <a:lnTo>
                  <a:pt x="234" y="260"/>
                </a:lnTo>
                <a:lnTo>
                  <a:pt x="228" y="269"/>
                </a:lnTo>
                <a:lnTo>
                  <a:pt x="222" y="277"/>
                </a:lnTo>
                <a:lnTo>
                  <a:pt x="216" y="285"/>
                </a:lnTo>
                <a:lnTo>
                  <a:pt x="208" y="295"/>
                </a:lnTo>
                <a:lnTo>
                  <a:pt x="207" y="297"/>
                </a:lnTo>
                <a:lnTo>
                  <a:pt x="204" y="299"/>
                </a:lnTo>
                <a:lnTo>
                  <a:pt x="200" y="303"/>
                </a:lnTo>
                <a:lnTo>
                  <a:pt x="190" y="308"/>
                </a:lnTo>
                <a:lnTo>
                  <a:pt x="186" y="310"/>
                </a:lnTo>
                <a:lnTo>
                  <a:pt x="184" y="312"/>
                </a:lnTo>
                <a:lnTo>
                  <a:pt x="183" y="314"/>
                </a:lnTo>
                <a:lnTo>
                  <a:pt x="180" y="315"/>
                </a:lnTo>
                <a:lnTo>
                  <a:pt x="180" y="318"/>
                </a:lnTo>
                <a:lnTo>
                  <a:pt x="179" y="321"/>
                </a:lnTo>
                <a:lnTo>
                  <a:pt x="179" y="325"/>
                </a:lnTo>
                <a:lnTo>
                  <a:pt x="180" y="330"/>
                </a:lnTo>
                <a:lnTo>
                  <a:pt x="180" y="334"/>
                </a:lnTo>
                <a:lnTo>
                  <a:pt x="183" y="341"/>
                </a:lnTo>
                <a:lnTo>
                  <a:pt x="185" y="351"/>
                </a:lnTo>
                <a:lnTo>
                  <a:pt x="186" y="357"/>
                </a:lnTo>
                <a:lnTo>
                  <a:pt x="186" y="363"/>
                </a:lnTo>
                <a:lnTo>
                  <a:pt x="186" y="367"/>
                </a:lnTo>
                <a:lnTo>
                  <a:pt x="185" y="372"/>
                </a:lnTo>
                <a:lnTo>
                  <a:pt x="184" y="377"/>
                </a:lnTo>
                <a:lnTo>
                  <a:pt x="181" y="382"/>
                </a:lnTo>
                <a:lnTo>
                  <a:pt x="181" y="385"/>
                </a:lnTo>
                <a:lnTo>
                  <a:pt x="181" y="389"/>
                </a:lnTo>
                <a:lnTo>
                  <a:pt x="181" y="391"/>
                </a:lnTo>
                <a:lnTo>
                  <a:pt x="181" y="393"/>
                </a:lnTo>
                <a:lnTo>
                  <a:pt x="184" y="397"/>
                </a:lnTo>
                <a:lnTo>
                  <a:pt x="184" y="400"/>
                </a:lnTo>
                <a:lnTo>
                  <a:pt x="185" y="402"/>
                </a:lnTo>
                <a:lnTo>
                  <a:pt x="185" y="403"/>
                </a:lnTo>
                <a:lnTo>
                  <a:pt x="184" y="407"/>
                </a:lnTo>
                <a:lnTo>
                  <a:pt x="184" y="409"/>
                </a:lnTo>
                <a:lnTo>
                  <a:pt x="184" y="410"/>
                </a:lnTo>
                <a:lnTo>
                  <a:pt x="180" y="416"/>
                </a:lnTo>
                <a:lnTo>
                  <a:pt x="177" y="418"/>
                </a:lnTo>
                <a:lnTo>
                  <a:pt x="175" y="420"/>
                </a:lnTo>
                <a:lnTo>
                  <a:pt x="174" y="424"/>
                </a:lnTo>
                <a:lnTo>
                  <a:pt x="173" y="426"/>
                </a:lnTo>
                <a:lnTo>
                  <a:pt x="174" y="430"/>
                </a:lnTo>
                <a:lnTo>
                  <a:pt x="175" y="431"/>
                </a:lnTo>
                <a:lnTo>
                  <a:pt x="176" y="435"/>
                </a:lnTo>
                <a:lnTo>
                  <a:pt x="173" y="435"/>
                </a:lnTo>
                <a:lnTo>
                  <a:pt x="170" y="435"/>
                </a:lnTo>
                <a:lnTo>
                  <a:pt x="168" y="436"/>
                </a:lnTo>
                <a:lnTo>
                  <a:pt x="167" y="438"/>
                </a:lnTo>
                <a:lnTo>
                  <a:pt x="165" y="440"/>
                </a:lnTo>
                <a:lnTo>
                  <a:pt x="163" y="443"/>
                </a:lnTo>
                <a:lnTo>
                  <a:pt x="162" y="447"/>
                </a:lnTo>
                <a:lnTo>
                  <a:pt x="160" y="449"/>
                </a:lnTo>
                <a:lnTo>
                  <a:pt x="159" y="451"/>
                </a:lnTo>
                <a:lnTo>
                  <a:pt x="157" y="452"/>
                </a:lnTo>
                <a:lnTo>
                  <a:pt x="155" y="452"/>
                </a:lnTo>
                <a:lnTo>
                  <a:pt x="153" y="453"/>
                </a:lnTo>
                <a:lnTo>
                  <a:pt x="150" y="452"/>
                </a:lnTo>
                <a:lnTo>
                  <a:pt x="148" y="451"/>
                </a:lnTo>
                <a:lnTo>
                  <a:pt x="145" y="448"/>
                </a:lnTo>
                <a:lnTo>
                  <a:pt x="143" y="445"/>
                </a:lnTo>
                <a:lnTo>
                  <a:pt x="139" y="439"/>
                </a:lnTo>
                <a:lnTo>
                  <a:pt x="134" y="430"/>
                </a:lnTo>
                <a:lnTo>
                  <a:pt x="130" y="421"/>
                </a:lnTo>
                <a:lnTo>
                  <a:pt x="127" y="412"/>
                </a:lnTo>
                <a:lnTo>
                  <a:pt x="126" y="404"/>
                </a:lnTo>
                <a:lnTo>
                  <a:pt x="125" y="398"/>
                </a:lnTo>
                <a:lnTo>
                  <a:pt x="123" y="390"/>
                </a:lnTo>
                <a:lnTo>
                  <a:pt x="120" y="384"/>
                </a:lnTo>
                <a:lnTo>
                  <a:pt x="117" y="375"/>
                </a:lnTo>
                <a:lnTo>
                  <a:pt x="113" y="367"/>
                </a:lnTo>
                <a:lnTo>
                  <a:pt x="105" y="349"/>
                </a:lnTo>
                <a:lnTo>
                  <a:pt x="101" y="341"/>
                </a:lnTo>
                <a:lnTo>
                  <a:pt x="99" y="334"/>
                </a:lnTo>
                <a:lnTo>
                  <a:pt x="97" y="328"/>
                </a:lnTo>
                <a:lnTo>
                  <a:pt x="94" y="322"/>
                </a:lnTo>
                <a:lnTo>
                  <a:pt x="91" y="318"/>
                </a:lnTo>
                <a:lnTo>
                  <a:pt x="89" y="315"/>
                </a:lnTo>
                <a:lnTo>
                  <a:pt x="86" y="314"/>
                </a:lnTo>
                <a:lnTo>
                  <a:pt x="83" y="313"/>
                </a:lnTo>
                <a:lnTo>
                  <a:pt x="77" y="311"/>
                </a:lnTo>
                <a:lnTo>
                  <a:pt x="76" y="310"/>
                </a:lnTo>
                <a:lnTo>
                  <a:pt x="73" y="308"/>
                </a:lnTo>
                <a:lnTo>
                  <a:pt x="71" y="306"/>
                </a:lnTo>
                <a:lnTo>
                  <a:pt x="70" y="304"/>
                </a:lnTo>
                <a:lnTo>
                  <a:pt x="68" y="300"/>
                </a:lnTo>
                <a:lnTo>
                  <a:pt x="67" y="295"/>
                </a:lnTo>
                <a:lnTo>
                  <a:pt x="66" y="288"/>
                </a:lnTo>
                <a:lnTo>
                  <a:pt x="66" y="279"/>
                </a:lnTo>
                <a:lnTo>
                  <a:pt x="66" y="276"/>
                </a:lnTo>
                <a:lnTo>
                  <a:pt x="65" y="273"/>
                </a:lnTo>
                <a:lnTo>
                  <a:pt x="64" y="269"/>
                </a:lnTo>
                <a:lnTo>
                  <a:pt x="63" y="265"/>
                </a:lnTo>
                <a:lnTo>
                  <a:pt x="60" y="259"/>
                </a:lnTo>
                <a:lnTo>
                  <a:pt x="60" y="265"/>
                </a:lnTo>
                <a:lnTo>
                  <a:pt x="59" y="270"/>
                </a:lnTo>
                <a:lnTo>
                  <a:pt x="56" y="275"/>
                </a:lnTo>
                <a:lnTo>
                  <a:pt x="56" y="279"/>
                </a:lnTo>
                <a:lnTo>
                  <a:pt x="53" y="284"/>
                </a:lnTo>
                <a:lnTo>
                  <a:pt x="51" y="287"/>
                </a:lnTo>
                <a:lnTo>
                  <a:pt x="50" y="288"/>
                </a:lnTo>
                <a:lnTo>
                  <a:pt x="47" y="290"/>
                </a:lnTo>
                <a:lnTo>
                  <a:pt x="46" y="290"/>
                </a:lnTo>
                <a:lnTo>
                  <a:pt x="44" y="290"/>
                </a:lnTo>
                <a:lnTo>
                  <a:pt x="41" y="290"/>
                </a:lnTo>
                <a:lnTo>
                  <a:pt x="38" y="288"/>
                </a:lnTo>
                <a:lnTo>
                  <a:pt x="36" y="288"/>
                </a:lnTo>
                <a:lnTo>
                  <a:pt x="33" y="287"/>
                </a:lnTo>
                <a:lnTo>
                  <a:pt x="29" y="282"/>
                </a:lnTo>
                <a:lnTo>
                  <a:pt x="24" y="278"/>
                </a:lnTo>
                <a:lnTo>
                  <a:pt x="20" y="273"/>
                </a:lnTo>
                <a:lnTo>
                  <a:pt x="17" y="268"/>
                </a:lnTo>
                <a:lnTo>
                  <a:pt x="11" y="259"/>
                </a:lnTo>
                <a:lnTo>
                  <a:pt x="17" y="257"/>
                </a:lnTo>
                <a:lnTo>
                  <a:pt x="20" y="256"/>
                </a:lnTo>
                <a:lnTo>
                  <a:pt x="22" y="255"/>
                </a:lnTo>
                <a:lnTo>
                  <a:pt x="24" y="252"/>
                </a:lnTo>
                <a:lnTo>
                  <a:pt x="26" y="251"/>
                </a:lnTo>
                <a:lnTo>
                  <a:pt x="27" y="248"/>
                </a:lnTo>
                <a:lnTo>
                  <a:pt x="28" y="245"/>
                </a:lnTo>
                <a:lnTo>
                  <a:pt x="25" y="246"/>
                </a:lnTo>
                <a:lnTo>
                  <a:pt x="22" y="249"/>
                </a:lnTo>
                <a:lnTo>
                  <a:pt x="19" y="251"/>
                </a:lnTo>
                <a:lnTo>
                  <a:pt x="17" y="252"/>
                </a:lnTo>
                <a:lnTo>
                  <a:pt x="14" y="252"/>
                </a:lnTo>
                <a:lnTo>
                  <a:pt x="11" y="250"/>
                </a:lnTo>
                <a:lnTo>
                  <a:pt x="9" y="247"/>
                </a:lnTo>
                <a:lnTo>
                  <a:pt x="6" y="243"/>
                </a:lnTo>
                <a:lnTo>
                  <a:pt x="3" y="240"/>
                </a:lnTo>
                <a:lnTo>
                  <a:pt x="1" y="236"/>
                </a:lnTo>
                <a:lnTo>
                  <a:pt x="0" y="233"/>
                </a:lnTo>
                <a:lnTo>
                  <a:pt x="0" y="229"/>
                </a:lnTo>
                <a:lnTo>
                  <a:pt x="0" y="225"/>
                </a:lnTo>
                <a:lnTo>
                  <a:pt x="0" y="223"/>
                </a:lnTo>
                <a:lnTo>
                  <a:pt x="1" y="223"/>
                </a:lnTo>
                <a:lnTo>
                  <a:pt x="2" y="221"/>
                </a:lnTo>
                <a:lnTo>
                  <a:pt x="3" y="220"/>
                </a:lnTo>
                <a:lnTo>
                  <a:pt x="6" y="220"/>
                </a:lnTo>
                <a:lnTo>
                  <a:pt x="10" y="220"/>
                </a:lnTo>
                <a:lnTo>
                  <a:pt x="12" y="223"/>
                </a:lnTo>
                <a:lnTo>
                  <a:pt x="14" y="223"/>
                </a:lnTo>
                <a:lnTo>
                  <a:pt x="17" y="224"/>
                </a:lnTo>
                <a:lnTo>
                  <a:pt x="20" y="223"/>
                </a:lnTo>
                <a:lnTo>
                  <a:pt x="26" y="221"/>
                </a:lnTo>
                <a:lnTo>
                  <a:pt x="29" y="219"/>
                </a:lnTo>
                <a:lnTo>
                  <a:pt x="32" y="219"/>
                </a:lnTo>
                <a:lnTo>
                  <a:pt x="33" y="216"/>
                </a:lnTo>
                <a:lnTo>
                  <a:pt x="33" y="215"/>
                </a:lnTo>
                <a:lnTo>
                  <a:pt x="33" y="211"/>
                </a:lnTo>
                <a:lnTo>
                  <a:pt x="32" y="207"/>
                </a:lnTo>
                <a:lnTo>
                  <a:pt x="30" y="203"/>
                </a:lnTo>
                <a:lnTo>
                  <a:pt x="28" y="201"/>
                </a:lnTo>
                <a:lnTo>
                  <a:pt x="23" y="197"/>
                </a:lnTo>
                <a:lnTo>
                  <a:pt x="20" y="193"/>
                </a:lnTo>
                <a:lnTo>
                  <a:pt x="18" y="190"/>
                </a:lnTo>
                <a:lnTo>
                  <a:pt x="17" y="187"/>
                </a:lnTo>
                <a:lnTo>
                  <a:pt x="17" y="183"/>
                </a:lnTo>
                <a:lnTo>
                  <a:pt x="16" y="180"/>
                </a:lnTo>
                <a:lnTo>
                  <a:pt x="15" y="178"/>
                </a:lnTo>
                <a:lnTo>
                  <a:pt x="14" y="177"/>
                </a:lnTo>
                <a:lnTo>
                  <a:pt x="10" y="174"/>
                </a:lnTo>
                <a:lnTo>
                  <a:pt x="10" y="173"/>
                </a:lnTo>
                <a:lnTo>
                  <a:pt x="7" y="172"/>
                </a:lnTo>
                <a:lnTo>
                  <a:pt x="6" y="170"/>
                </a:lnTo>
                <a:lnTo>
                  <a:pt x="6" y="167"/>
                </a:lnTo>
                <a:lnTo>
                  <a:pt x="7" y="163"/>
                </a:lnTo>
                <a:lnTo>
                  <a:pt x="10" y="157"/>
                </a:lnTo>
                <a:lnTo>
                  <a:pt x="12" y="155"/>
                </a:lnTo>
                <a:lnTo>
                  <a:pt x="14" y="153"/>
                </a:lnTo>
                <a:lnTo>
                  <a:pt x="16" y="151"/>
                </a:lnTo>
                <a:lnTo>
                  <a:pt x="18" y="151"/>
                </a:lnTo>
                <a:lnTo>
                  <a:pt x="20" y="151"/>
                </a:lnTo>
                <a:lnTo>
                  <a:pt x="23" y="153"/>
                </a:lnTo>
                <a:lnTo>
                  <a:pt x="24" y="154"/>
                </a:lnTo>
                <a:lnTo>
                  <a:pt x="26" y="155"/>
                </a:lnTo>
                <a:lnTo>
                  <a:pt x="28" y="154"/>
                </a:lnTo>
                <a:lnTo>
                  <a:pt x="31" y="153"/>
                </a:lnTo>
                <a:lnTo>
                  <a:pt x="33" y="150"/>
                </a:lnTo>
                <a:lnTo>
                  <a:pt x="36" y="147"/>
                </a:lnTo>
                <a:lnTo>
                  <a:pt x="38" y="143"/>
                </a:lnTo>
                <a:lnTo>
                  <a:pt x="43" y="137"/>
                </a:lnTo>
                <a:lnTo>
                  <a:pt x="46" y="131"/>
                </a:lnTo>
                <a:lnTo>
                  <a:pt x="49" y="128"/>
                </a:lnTo>
                <a:lnTo>
                  <a:pt x="50" y="124"/>
                </a:lnTo>
                <a:lnTo>
                  <a:pt x="51" y="121"/>
                </a:lnTo>
                <a:lnTo>
                  <a:pt x="51" y="115"/>
                </a:lnTo>
                <a:lnTo>
                  <a:pt x="54" y="113"/>
                </a:lnTo>
                <a:lnTo>
                  <a:pt x="56" y="111"/>
                </a:lnTo>
                <a:lnTo>
                  <a:pt x="59" y="104"/>
                </a:lnTo>
                <a:lnTo>
                  <a:pt x="60" y="98"/>
                </a:lnTo>
                <a:lnTo>
                  <a:pt x="63" y="95"/>
                </a:lnTo>
                <a:lnTo>
                  <a:pt x="63" y="93"/>
                </a:lnTo>
                <a:lnTo>
                  <a:pt x="63" y="79"/>
                </a:lnTo>
                <a:lnTo>
                  <a:pt x="64" y="76"/>
                </a:lnTo>
                <a:lnTo>
                  <a:pt x="66" y="75"/>
                </a:lnTo>
                <a:lnTo>
                  <a:pt x="69" y="72"/>
                </a:lnTo>
                <a:lnTo>
                  <a:pt x="71" y="70"/>
                </a:lnTo>
                <a:lnTo>
                  <a:pt x="72" y="68"/>
                </a:lnTo>
                <a:lnTo>
                  <a:pt x="72" y="67"/>
                </a:lnTo>
                <a:lnTo>
                  <a:pt x="68" y="65"/>
                </a:lnTo>
                <a:lnTo>
                  <a:pt x="63" y="62"/>
                </a:lnTo>
                <a:lnTo>
                  <a:pt x="60" y="58"/>
                </a:lnTo>
                <a:lnTo>
                  <a:pt x="56" y="53"/>
                </a:lnTo>
                <a:lnTo>
                  <a:pt x="54" y="50"/>
                </a:lnTo>
                <a:lnTo>
                  <a:pt x="52" y="48"/>
                </a:lnTo>
                <a:lnTo>
                  <a:pt x="50" y="42"/>
                </a:lnTo>
                <a:lnTo>
                  <a:pt x="47" y="36"/>
                </a:lnTo>
                <a:lnTo>
                  <a:pt x="46" y="32"/>
                </a:lnTo>
                <a:lnTo>
                  <a:pt x="45" y="31"/>
                </a:lnTo>
                <a:lnTo>
                  <a:pt x="44" y="29"/>
                </a:lnTo>
                <a:lnTo>
                  <a:pt x="46" y="27"/>
                </a:lnTo>
                <a:lnTo>
                  <a:pt x="49" y="24"/>
                </a:lnTo>
                <a:lnTo>
                  <a:pt x="52" y="21"/>
                </a:lnTo>
                <a:lnTo>
                  <a:pt x="54" y="21"/>
                </a:lnTo>
                <a:lnTo>
                  <a:pt x="56" y="22"/>
                </a:lnTo>
                <a:lnTo>
                  <a:pt x="59" y="22"/>
                </a:lnTo>
                <a:lnTo>
                  <a:pt x="60" y="24"/>
                </a:lnTo>
                <a:lnTo>
                  <a:pt x="63" y="26"/>
                </a:lnTo>
                <a:lnTo>
                  <a:pt x="67" y="24"/>
                </a:lnTo>
                <a:lnTo>
                  <a:pt x="71" y="24"/>
                </a:lnTo>
                <a:lnTo>
                  <a:pt x="73" y="22"/>
                </a:lnTo>
                <a:lnTo>
                  <a:pt x="76" y="21"/>
                </a:lnTo>
                <a:lnTo>
                  <a:pt x="82" y="17"/>
                </a:lnTo>
                <a:lnTo>
                  <a:pt x="87" y="13"/>
                </a:lnTo>
                <a:lnTo>
                  <a:pt x="91" y="8"/>
                </a:lnTo>
                <a:lnTo>
                  <a:pt x="97" y="3"/>
                </a:lnTo>
                <a:lnTo>
                  <a:pt x="99" y="2"/>
                </a:lnTo>
                <a:lnTo>
                  <a:pt x="101" y="0"/>
                </a:lnTo>
                <a:lnTo>
                  <a:pt x="105" y="0"/>
                </a:lnTo>
                <a:lnTo>
                  <a:pt x="108" y="0"/>
                </a:lnTo>
                <a:lnTo>
                  <a:pt x="112" y="0"/>
                </a:lnTo>
                <a:lnTo>
                  <a:pt x="114" y="1"/>
                </a:lnTo>
                <a:lnTo>
                  <a:pt x="118" y="4"/>
                </a:lnTo>
                <a:lnTo>
                  <a:pt x="123" y="6"/>
                </a:lnTo>
                <a:lnTo>
                  <a:pt x="125" y="8"/>
                </a:lnTo>
                <a:lnTo>
                  <a:pt x="127" y="9"/>
                </a:lnTo>
                <a:lnTo>
                  <a:pt x="127" y="13"/>
                </a:lnTo>
                <a:lnTo>
                  <a:pt x="127" y="15"/>
                </a:lnTo>
                <a:lnTo>
                  <a:pt x="126" y="18"/>
                </a:lnTo>
                <a:lnTo>
                  <a:pt x="123" y="22"/>
                </a:lnTo>
                <a:lnTo>
                  <a:pt x="122" y="26"/>
                </a:lnTo>
                <a:lnTo>
                  <a:pt x="117" y="32"/>
                </a:lnTo>
                <a:lnTo>
                  <a:pt x="117" y="35"/>
                </a:lnTo>
                <a:lnTo>
                  <a:pt x="116" y="36"/>
                </a:lnTo>
                <a:lnTo>
                  <a:pt x="116" y="40"/>
                </a:lnTo>
                <a:lnTo>
                  <a:pt x="116" y="42"/>
                </a:lnTo>
                <a:lnTo>
                  <a:pt x="117" y="45"/>
                </a:lnTo>
                <a:lnTo>
                  <a:pt x="121" y="50"/>
                </a:lnTo>
                <a:lnTo>
                  <a:pt x="127" y="59"/>
                </a:lnTo>
                <a:lnTo>
                  <a:pt x="127" y="60"/>
                </a:lnTo>
                <a:lnTo>
                  <a:pt x="127" y="62"/>
                </a:lnTo>
                <a:lnTo>
                  <a:pt x="123" y="63"/>
                </a:lnTo>
                <a:lnTo>
                  <a:pt x="121" y="64"/>
                </a:lnTo>
                <a:lnTo>
                  <a:pt x="118" y="64"/>
                </a:lnTo>
                <a:lnTo>
                  <a:pt x="119" y="72"/>
                </a:lnTo>
                <a:lnTo>
                  <a:pt x="120" y="77"/>
                </a:lnTo>
                <a:lnTo>
                  <a:pt x="121" y="79"/>
                </a:lnTo>
                <a:lnTo>
                  <a:pt x="122" y="81"/>
                </a:lnTo>
                <a:lnTo>
                  <a:pt x="125" y="84"/>
                </a:lnTo>
                <a:lnTo>
                  <a:pt x="127" y="86"/>
                </a:lnTo>
                <a:lnTo>
                  <a:pt x="131" y="88"/>
                </a:lnTo>
                <a:lnTo>
                  <a:pt x="135" y="90"/>
                </a:lnTo>
                <a:lnTo>
                  <a:pt x="140" y="93"/>
                </a:lnTo>
                <a:lnTo>
                  <a:pt x="144" y="98"/>
                </a:lnTo>
                <a:lnTo>
                  <a:pt x="148" y="100"/>
                </a:lnTo>
                <a:lnTo>
                  <a:pt x="154" y="108"/>
                </a:lnTo>
                <a:lnTo>
                  <a:pt x="153" y="113"/>
                </a:lnTo>
                <a:lnTo>
                  <a:pt x="152" y="115"/>
                </a:lnTo>
                <a:lnTo>
                  <a:pt x="150" y="118"/>
                </a:lnTo>
                <a:lnTo>
                  <a:pt x="150" y="122"/>
                </a:lnTo>
                <a:lnTo>
                  <a:pt x="150" y="128"/>
                </a:lnTo>
                <a:lnTo>
                  <a:pt x="150" y="130"/>
                </a:lnTo>
                <a:lnTo>
                  <a:pt x="150" y="131"/>
                </a:lnTo>
                <a:lnTo>
                  <a:pt x="152" y="134"/>
                </a:lnTo>
                <a:lnTo>
                  <a:pt x="153" y="135"/>
                </a:lnTo>
                <a:lnTo>
                  <a:pt x="157" y="137"/>
                </a:lnTo>
                <a:lnTo>
                  <a:pt x="159" y="139"/>
                </a:lnTo>
                <a:lnTo>
                  <a:pt x="168" y="144"/>
                </a:lnTo>
                <a:lnTo>
                  <a:pt x="179" y="151"/>
                </a:lnTo>
                <a:lnTo>
                  <a:pt x="189" y="157"/>
                </a:lnTo>
                <a:lnTo>
                  <a:pt x="194" y="160"/>
                </a:lnTo>
                <a:lnTo>
                  <a:pt x="199" y="161"/>
                </a:lnTo>
                <a:lnTo>
                  <a:pt x="207" y="157"/>
                </a:lnTo>
                <a:lnTo>
                  <a:pt x="210" y="158"/>
                </a:lnTo>
                <a:lnTo>
                  <a:pt x="211" y="160"/>
                </a:lnTo>
                <a:lnTo>
                  <a:pt x="214" y="160"/>
                </a:lnTo>
                <a:lnTo>
                  <a:pt x="217" y="162"/>
                </a:lnTo>
                <a:lnTo>
                  <a:pt x="220" y="165"/>
                </a:lnTo>
                <a:lnTo>
                  <a:pt x="224" y="170"/>
                </a:lnTo>
                <a:lnTo>
                  <a:pt x="226" y="171"/>
                </a:lnTo>
                <a:lnTo>
                  <a:pt x="229" y="173"/>
                </a:lnTo>
                <a:lnTo>
                  <a:pt x="238" y="176"/>
                </a:lnTo>
                <a:lnTo>
                  <a:pt x="252" y="180"/>
                </a:lnTo>
                <a:lnTo>
                  <a:pt x="256" y="180"/>
                </a:lnTo>
                <a:lnTo>
                  <a:pt x="260" y="180"/>
                </a:lnTo>
                <a:lnTo>
                  <a:pt x="264" y="180"/>
                </a:lnTo>
                <a:lnTo>
                  <a:pt x="266" y="179"/>
                </a:lnTo>
                <a:lnTo>
                  <a:pt x="267" y="178"/>
                </a:lnTo>
                <a:lnTo>
                  <a:pt x="268" y="177"/>
                </a:lnTo>
                <a:lnTo>
                  <a:pt x="269" y="175"/>
                </a:lnTo>
                <a:lnTo>
                  <a:pt x="269" y="173"/>
                </a:lnTo>
                <a:lnTo>
                  <a:pt x="269" y="171"/>
                </a:lnTo>
                <a:lnTo>
                  <a:pt x="268" y="169"/>
                </a:lnTo>
                <a:lnTo>
                  <a:pt x="267" y="165"/>
                </a:lnTo>
                <a:lnTo>
                  <a:pt x="265" y="161"/>
                </a:lnTo>
                <a:lnTo>
                  <a:pt x="264" y="158"/>
                </a:lnTo>
                <a:lnTo>
                  <a:pt x="264" y="157"/>
                </a:lnTo>
                <a:lnTo>
                  <a:pt x="264" y="154"/>
                </a:lnTo>
                <a:lnTo>
                  <a:pt x="265" y="153"/>
                </a:lnTo>
                <a:lnTo>
                  <a:pt x="266" y="151"/>
                </a:lnTo>
                <a:lnTo>
                  <a:pt x="268" y="150"/>
                </a:lnTo>
                <a:lnTo>
                  <a:pt x="269" y="149"/>
                </a:lnTo>
                <a:lnTo>
                  <a:pt x="271" y="149"/>
                </a:lnTo>
                <a:lnTo>
                  <a:pt x="274" y="148"/>
                </a:lnTo>
                <a:lnTo>
                  <a:pt x="275" y="152"/>
                </a:lnTo>
                <a:lnTo>
                  <a:pt x="276" y="157"/>
                </a:lnTo>
                <a:lnTo>
                  <a:pt x="279" y="165"/>
                </a:lnTo>
                <a:lnTo>
                  <a:pt x="281" y="169"/>
                </a:lnTo>
                <a:lnTo>
                  <a:pt x="283" y="171"/>
                </a:lnTo>
                <a:lnTo>
                  <a:pt x="284" y="172"/>
                </a:lnTo>
                <a:lnTo>
                  <a:pt x="286" y="173"/>
                </a:lnTo>
                <a:lnTo>
                  <a:pt x="288" y="174"/>
                </a:lnTo>
                <a:lnTo>
                  <a:pt x="291" y="174"/>
                </a:lnTo>
                <a:lnTo>
                  <a:pt x="308" y="174"/>
                </a:lnTo>
                <a:lnTo>
                  <a:pt x="311" y="174"/>
                </a:lnTo>
                <a:lnTo>
                  <a:pt x="314" y="173"/>
                </a:lnTo>
                <a:lnTo>
                  <a:pt x="316" y="173"/>
                </a:lnTo>
                <a:lnTo>
                  <a:pt x="318" y="171"/>
                </a:lnTo>
                <a:lnTo>
                  <a:pt x="320" y="170"/>
                </a:lnTo>
                <a:lnTo>
                  <a:pt x="321" y="169"/>
                </a:lnTo>
                <a:lnTo>
                  <a:pt x="323" y="166"/>
                </a:lnTo>
                <a:lnTo>
                  <a:pt x="324" y="161"/>
                </a:lnTo>
                <a:lnTo>
                  <a:pt x="326" y="157"/>
                </a:lnTo>
                <a:lnTo>
                  <a:pt x="327" y="153"/>
                </a:lnTo>
                <a:lnTo>
                  <a:pt x="328" y="148"/>
                </a:lnTo>
                <a:lnTo>
                  <a:pt x="331" y="144"/>
                </a:lnTo>
                <a:lnTo>
                  <a:pt x="333" y="140"/>
                </a:lnTo>
                <a:lnTo>
                  <a:pt x="336" y="136"/>
                </a:lnTo>
                <a:lnTo>
                  <a:pt x="340" y="134"/>
                </a:lnTo>
                <a:lnTo>
                  <a:pt x="342" y="131"/>
                </a:lnTo>
                <a:lnTo>
                  <a:pt x="346" y="128"/>
                </a:lnTo>
                <a:lnTo>
                  <a:pt x="351" y="126"/>
                </a:lnTo>
                <a:lnTo>
                  <a:pt x="354" y="124"/>
                </a:lnTo>
                <a:lnTo>
                  <a:pt x="355" y="126"/>
                </a:lnTo>
                <a:lnTo>
                  <a:pt x="358" y="127"/>
                </a:lnTo>
                <a:lnTo>
                  <a:pt x="359" y="128"/>
                </a:lnTo>
                <a:lnTo>
                  <a:pt x="361" y="128"/>
                </a:lnTo>
                <a:lnTo>
                  <a:pt x="363" y="127"/>
                </a:lnTo>
                <a:lnTo>
                  <a:pt x="364" y="127"/>
                </a:lnTo>
                <a:lnTo>
                  <a:pt x="365" y="124"/>
                </a:lnTo>
                <a:lnTo>
                  <a:pt x="368" y="122"/>
                </a:lnTo>
                <a:lnTo>
                  <a:pt x="370" y="122"/>
                </a:lnTo>
                <a:lnTo>
                  <a:pt x="372" y="121"/>
                </a:lnTo>
                <a:lnTo>
                  <a:pt x="380" y="131"/>
                </a:lnTo>
                <a:lnTo>
                  <a:pt x="380" y="134"/>
                </a:lnTo>
                <a:lnTo>
                  <a:pt x="380" y="135"/>
                </a:lnTo>
                <a:lnTo>
                  <a:pt x="380" y="136"/>
                </a:lnTo>
                <a:lnTo>
                  <a:pt x="381" y="138"/>
                </a:lnTo>
                <a:lnTo>
                  <a:pt x="382" y="140"/>
                </a:lnTo>
                <a:lnTo>
                  <a:pt x="385" y="141"/>
                </a:lnTo>
                <a:lnTo>
                  <a:pt x="388" y="142"/>
                </a:lnTo>
                <a:lnTo>
                  <a:pt x="390" y="142"/>
                </a:lnTo>
                <a:lnTo>
                  <a:pt x="392" y="142"/>
                </a:lnTo>
                <a:lnTo>
                  <a:pt x="395" y="139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22" name="Freeform 121">
            <a:extLst>
              <a:ext uri="{FF2B5EF4-FFF2-40B4-BE49-F238E27FC236}">
                <a16:creationId xmlns:a16="http://schemas.microsoft.com/office/drawing/2014/main" id="{998EC818-A705-741C-45E4-2716412CFAF5}"/>
              </a:ext>
            </a:extLst>
          </p:cNvPr>
          <p:cNvSpPr>
            <a:spLocks/>
          </p:cNvSpPr>
          <p:nvPr/>
        </p:nvSpPr>
        <p:spPr bwMode="auto">
          <a:xfrm>
            <a:off x="8665538" y="4040034"/>
            <a:ext cx="95250" cy="60325"/>
          </a:xfrm>
          <a:custGeom>
            <a:avLst/>
            <a:gdLst>
              <a:gd name="T0" fmla="*/ 44 w 47"/>
              <a:gd name="T1" fmla="*/ 22 h 32"/>
              <a:gd name="T2" fmla="*/ 42 w 47"/>
              <a:gd name="T3" fmla="*/ 19 h 32"/>
              <a:gd name="T4" fmla="*/ 39 w 47"/>
              <a:gd name="T5" fmla="*/ 16 h 32"/>
              <a:gd name="T6" fmla="*/ 36 w 47"/>
              <a:gd name="T7" fmla="*/ 12 h 32"/>
              <a:gd name="T8" fmla="*/ 31 w 47"/>
              <a:gd name="T9" fmla="*/ 8 h 32"/>
              <a:gd name="T10" fmla="*/ 26 w 47"/>
              <a:gd name="T11" fmla="*/ 5 h 32"/>
              <a:gd name="T12" fmla="*/ 22 w 47"/>
              <a:gd name="T13" fmla="*/ 3 h 32"/>
              <a:gd name="T14" fmla="*/ 19 w 47"/>
              <a:gd name="T15" fmla="*/ 1 h 32"/>
              <a:gd name="T16" fmla="*/ 17 w 47"/>
              <a:gd name="T17" fmla="*/ 0 h 32"/>
              <a:gd name="T18" fmla="*/ 13 w 47"/>
              <a:gd name="T19" fmla="*/ 0 h 32"/>
              <a:gd name="T20" fmla="*/ 10 w 47"/>
              <a:gd name="T21" fmla="*/ 0 h 32"/>
              <a:gd name="T22" fmla="*/ 9 w 47"/>
              <a:gd name="T23" fmla="*/ 1 h 32"/>
              <a:gd name="T24" fmla="*/ 6 w 47"/>
              <a:gd name="T25" fmla="*/ 4 h 32"/>
              <a:gd name="T26" fmla="*/ 5 w 47"/>
              <a:gd name="T27" fmla="*/ 6 h 32"/>
              <a:gd name="T28" fmla="*/ 2 w 47"/>
              <a:gd name="T29" fmla="*/ 12 h 32"/>
              <a:gd name="T30" fmla="*/ 1 w 47"/>
              <a:gd name="T31" fmla="*/ 13 h 32"/>
              <a:gd name="T32" fmla="*/ 0 w 47"/>
              <a:gd name="T33" fmla="*/ 14 h 32"/>
              <a:gd name="T34" fmla="*/ 1 w 47"/>
              <a:gd name="T35" fmla="*/ 21 h 32"/>
              <a:gd name="T36" fmla="*/ 3 w 47"/>
              <a:gd name="T37" fmla="*/ 26 h 32"/>
              <a:gd name="T38" fmla="*/ 5 w 47"/>
              <a:gd name="T39" fmla="*/ 27 h 32"/>
              <a:gd name="T40" fmla="*/ 6 w 47"/>
              <a:gd name="T41" fmla="*/ 28 h 32"/>
              <a:gd name="T42" fmla="*/ 6 w 47"/>
              <a:gd name="T43" fmla="*/ 30 h 32"/>
              <a:gd name="T44" fmla="*/ 9 w 47"/>
              <a:gd name="T45" fmla="*/ 31 h 32"/>
              <a:gd name="T46" fmla="*/ 13 w 47"/>
              <a:gd name="T47" fmla="*/ 31 h 32"/>
              <a:gd name="T48" fmla="*/ 30 w 47"/>
              <a:gd name="T49" fmla="*/ 31 h 32"/>
              <a:gd name="T50" fmla="*/ 33 w 47"/>
              <a:gd name="T51" fmla="*/ 31 h 32"/>
              <a:gd name="T52" fmla="*/ 36 w 47"/>
              <a:gd name="T53" fmla="*/ 30 h 32"/>
              <a:gd name="T54" fmla="*/ 39 w 47"/>
              <a:gd name="T55" fmla="*/ 28 h 32"/>
              <a:gd name="T56" fmla="*/ 41 w 47"/>
              <a:gd name="T57" fmla="*/ 27 h 32"/>
              <a:gd name="T58" fmla="*/ 42 w 47"/>
              <a:gd name="T59" fmla="*/ 26 h 32"/>
              <a:gd name="T60" fmla="*/ 44 w 47"/>
              <a:gd name="T61" fmla="*/ 24 h 32"/>
              <a:gd name="T62" fmla="*/ 46 w 47"/>
              <a:gd name="T63" fmla="*/ 19 h 32"/>
              <a:gd name="T64" fmla="*/ 44 w 47"/>
              <a:gd name="T65" fmla="*/ 2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47" h="32">
                <a:moveTo>
                  <a:pt x="44" y="22"/>
                </a:moveTo>
                <a:lnTo>
                  <a:pt x="42" y="19"/>
                </a:lnTo>
                <a:lnTo>
                  <a:pt x="39" y="16"/>
                </a:lnTo>
                <a:lnTo>
                  <a:pt x="36" y="12"/>
                </a:lnTo>
                <a:lnTo>
                  <a:pt x="31" y="8"/>
                </a:lnTo>
                <a:lnTo>
                  <a:pt x="26" y="5"/>
                </a:lnTo>
                <a:lnTo>
                  <a:pt x="22" y="3"/>
                </a:lnTo>
                <a:lnTo>
                  <a:pt x="19" y="1"/>
                </a:lnTo>
                <a:lnTo>
                  <a:pt x="17" y="0"/>
                </a:lnTo>
                <a:lnTo>
                  <a:pt x="13" y="0"/>
                </a:lnTo>
                <a:lnTo>
                  <a:pt x="10" y="0"/>
                </a:lnTo>
                <a:lnTo>
                  <a:pt x="9" y="1"/>
                </a:lnTo>
                <a:lnTo>
                  <a:pt x="6" y="4"/>
                </a:lnTo>
                <a:lnTo>
                  <a:pt x="5" y="6"/>
                </a:lnTo>
                <a:lnTo>
                  <a:pt x="2" y="12"/>
                </a:lnTo>
                <a:lnTo>
                  <a:pt x="1" y="13"/>
                </a:lnTo>
                <a:lnTo>
                  <a:pt x="0" y="14"/>
                </a:lnTo>
                <a:lnTo>
                  <a:pt x="1" y="21"/>
                </a:lnTo>
                <a:lnTo>
                  <a:pt x="3" y="26"/>
                </a:lnTo>
                <a:lnTo>
                  <a:pt x="5" y="27"/>
                </a:lnTo>
                <a:lnTo>
                  <a:pt x="6" y="28"/>
                </a:lnTo>
                <a:lnTo>
                  <a:pt x="6" y="30"/>
                </a:lnTo>
                <a:lnTo>
                  <a:pt x="9" y="31"/>
                </a:lnTo>
                <a:lnTo>
                  <a:pt x="13" y="31"/>
                </a:lnTo>
                <a:lnTo>
                  <a:pt x="30" y="31"/>
                </a:lnTo>
                <a:lnTo>
                  <a:pt x="33" y="31"/>
                </a:lnTo>
                <a:lnTo>
                  <a:pt x="36" y="30"/>
                </a:lnTo>
                <a:lnTo>
                  <a:pt x="39" y="28"/>
                </a:lnTo>
                <a:lnTo>
                  <a:pt x="41" y="27"/>
                </a:lnTo>
                <a:lnTo>
                  <a:pt x="42" y="26"/>
                </a:lnTo>
                <a:lnTo>
                  <a:pt x="44" y="24"/>
                </a:lnTo>
                <a:lnTo>
                  <a:pt x="46" y="19"/>
                </a:lnTo>
                <a:lnTo>
                  <a:pt x="44" y="22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23" name="Freeform 122">
            <a:extLst>
              <a:ext uri="{FF2B5EF4-FFF2-40B4-BE49-F238E27FC236}">
                <a16:creationId xmlns:a16="http://schemas.microsoft.com/office/drawing/2014/main" id="{BD2AD9CE-6CE6-D1D4-6563-09A3AF440DE9}"/>
              </a:ext>
            </a:extLst>
          </p:cNvPr>
          <p:cNvSpPr>
            <a:spLocks/>
          </p:cNvSpPr>
          <p:nvPr/>
        </p:nvSpPr>
        <p:spPr bwMode="auto">
          <a:xfrm>
            <a:off x="8408363" y="3967009"/>
            <a:ext cx="242888" cy="144463"/>
          </a:xfrm>
          <a:custGeom>
            <a:avLst/>
            <a:gdLst>
              <a:gd name="T0" fmla="*/ 106 w 120"/>
              <a:gd name="T1" fmla="*/ 49 h 77"/>
              <a:gd name="T2" fmla="*/ 99 w 120"/>
              <a:gd name="T3" fmla="*/ 49 h 77"/>
              <a:gd name="T4" fmla="*/ 92 w 120"/>
              <a:gd name="T5" fmla="*/ 47 h 77"/>
              <a:gd name="T6" fmla="*/ 87 w 120"/>
              <a:gd name="T7" fmla="*/ 41 h 77"/>
              <a:gd name="T8" fmla="*/ 84 w 120"/>
              <a:gd name="T9" fmla="*/ 43 h 77"/>
              <a:gd name="T10" fmla="*/ 82 w 120"/>
              <a:gd name="T11" fmla="*/ 43 h 77"/>
              <a:gd name="T12" fmla="*/ 79 w 120"/>
              <a:gd name="T13" fmla="*/ 41 h 77"/>
              <a:gd name="T14" fmla="*/ 72 w 120"/>
              <a:gd name="T15" fmla="*/ 38 h 77"/>
              <a:gd name="T16" fmla="*/ 67 w 120"/>
              <a:gd name="T17" fmla="*/ 33 h 77"/>
              <a:gd name="T18" fmla="*/ 54 w 120"/>
              <a:gd name="T19" fmla="*/ 29 h 77"/>
              <a:gd name="T20" fmla="*/ 46 w 120"/>
              <a:gd name="T21" fmla="*/ 24 h 77"/>
              <a:gd name="T22" fmla="*/ 42 w 120"/>
              <a:gd name="T23" fmla="*/ 21 h 77"/>
              <a:gd name="T24" fmla="*/ 34 w 120"/>
              <a:gd name="T25" fmla="*/ 13 h 77"/>
              <a:gd name="T26" fmla="*/ 20 w 120"/>
              <a:gd name="T27" fmla="*/ 0 h 77"/>
              <a:gd name="T28" fmla="*/ 15 w 120"/>
              <a:gd name="T29" fmla="*/ 3 h 77"/>
              <a:gd name="T30" fmla="*/ 11 w 120"/>
              <a:gd name="T31" fmla="*/ 4 h 77"/>
              <a:gd name="T32" fmla="*/ 4 w 120"/>
              <a:gd name="T33" fmla="*/ 4 h 77"/>
              <a:gd name="T34" fmla="*/ 2 w 120"/>
              <a:gd name="T35" fmla="*/ 11 h 77"/>
              <a:gd name="T36" fmla="*/ 0 w 120"/>
              <a:gd name="T37" fmla="*/ 18 h 77"/>
              <a:gd name="T38" fmla="*/ 0 w 120"/>
              <a:gd name="T39" fmla="*/ 26 h 77"/>
              <a:gd name="T40" fmla="*/ 2 w 120"/>
              <a:gd name="T41" fmla="*/ 29 h 77"/>
              <a:gd name="T42" fmla="*/ 6 w 120"/>
              <a:gd name="T43" fmla="*/ 33 h 77"/>
              <a:gd name="T44" fmla="*/ 18 w 120"/>
              <a:gd name="T45" fmla="*/ 40 h 77"/>
              <a:gd name="T46" fmla="*/ 39 w 120"/>
              <a:gd name="T47" fmla="*/ 52 h 77"/>
              <a:gd name="T48" fmla="*/ 49 w 120"/>
              <a:gd name="T49" fmla="*/ 57 h 77"/>
              <a:gd name="T50" fmla="*/ 59 w 120"/>
              <a:gd name="T51" fmla="*/ 54 h 77"/>
              <a:gd name="T52" fmla="*/ 64 w 120"/>
              <a:gd name="T53" fmla="*/ 56 h 77"/>
              <a:gd name="T54" fmla="*/ 70 w 120"/>
              <a:gd name="T55" fmla="*/ 61 h 77"/>
              <a:gd name="T56" fmla="*/ 76 w 120"/>
              <a:gd name="T57" fmla="*/ 67 h 77"/>
              <a:gd name="T58" fmla="*/ 88 w 120"/>
              <a:gd name="T59" fmla="*/ 72 h 77"/>
              <a:gd name="T60" fmla="*/ 105 w 120"/>
              <a:gd name="T61" fmla="*/ 76 h 77"/>
              <a:gd name="T62" fmla="*/ 113 w 120"/>
              <a:gd name="T63" fmla="*/ 76 h 77"/>
              <a:gd name="T64" fmla="*/ 116 w 120"/>
              <a:gd name="T65" fmla="*/ 74 h 77"/>
              <a:gd name="T66" fmla="*/ 119 w 120"/>
              <a:gd name="T67" fmla="*/ 71 h 77"/>
              <a:gd name="T68" fmla="*/ 119 w 120"/>
              <a:gd name="T69" fmla="*/ 67 h 77"/>
              <a:gd name="T70" fmla="*/ 116 w 120"/>
              <a:gd name="T71" fmla="*/ 61 h 77"/>
              <a:gd name="T72" fmla="*/ 114 w 120"/>
              <a:gd name="T73" fmla="*/ 54 h 77"/>
              <a:gd name="T74" fmla="*/ 115 w 120"/>
              <a:gd name="T75" fmla="*/ 49 h 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20" h="77">
                <a:moveTo>
                  <a:pt x="115" y="49"/>
                </a:moveTo>
                <a:lnTo>
                  <a:pt x="106" y="49"/>
                </a:lnTo>
                <a:lnTo>
                  <a:pt x="102" y="49"/>
                </a:lnTo>
                <a:lnTo>
                  <a:pt x="99" y="49"/>
                </a:lnTo>
                <a:lnTo>
                  <a:pt x="95" y="49"/>
                </a:lnTo>
                <a:lnTo>
                  <a:pt x="92" y="47"/>
                </a:lnTo>
                <a:lnTo>
                  <a:pt x="89" y="45"/>
                </a:lnTo>
                <a:lnTo>
                  <a:pt x="87" y="41"/>
                </a:lnTo>
                <a:lnTo>
                  <a:pt x="86" y="43"/>
                </a:lnTo>
                <a:lnTo>
                  <a:pt x="84" y="43"/>
                </a:lnTo>
                <a:lnTo>
                  <a:pt x="83" y="44"/>
                </a:lnTo>
                <a:lnTo>
                  <a:pt x="82" y="43"/>
                </a:lnTo>
                <a:lnTo>
                  <a:pt x="82" y="41"/>
                </a:lnTo>
                <a:lnTo>
                  <a:pt x="79" y="41"/>
                </a:lnTo>
                <a:lnTo>
                  <a:pt x="76" y="40"/>
                </a:lnTo>
                <a:lnTo>
                  <a:pt x="72" y="38"/>
                </a:lnTo>
                <a:lnTo>
                  <a:pt x="69" y="34"/>
                </a:lnTo>
                <a:lnTo>
                  <a:pt x="67" y="33"/>
                </a:lnTo>
                <a:lnTo>
                  <a:pt x="66" y="32"/>
                </a:lnTo>
                <a:lnTo>
                  <a:pt x="54" y="29"/>
                </a:lnTo>
                <a:lnTo>
                  <a:pt x="51" y="26"/>
                </a:lnTo>
                <a:lnTo>
                  <a:pt x="46" y="24"/>
                </a:lnTo>
                <a:lnTo>
                  <a:pt x="44" y="22"/>
                </a:lnTo>
                <a:lnTo>
                  <a:pt x="42" y="21"/>
                </a:lnTo>
                <a:lnTo>
                  <a:pt x="39" y="17"/>
                </a:lnTo>
                <a:lnTo>
                  <a:pt x="34" y="13"/>
                </a:lnTo>
                <a:lnTo>
                  <a:pt x="30" y="9"/>
                </a:lnTo>
                <a:lnTo>
                  <a:pt x="20" y="0"/>
                </a:lnTo>
                <a:lnTo>
                  <a:pt x="17" y="0"/>
                </a:lnTo>
                <a:lnTo>
                  <a:pt x="15" y="3"/>
                </a:lnTo>
                <a:lnTo>
                  <a:pt x="13" y="4"/>
                </a:lnTo>
                <a:lnTo>
                  <a:pt x="11" y="4"/>
                </a:lnTo>
                <a:lnTo>
                  <a:pt x="10" y="4"/>
                </a:lnTo>
                <a:lnTo>
                  <a:pt x="4" y="4"/>
                </a:lnTo>
                <a:lnTo>
                  <a:pt x="3" y="9"/>
                </a:lnTo>
                <a:lnTo>
                  <a:pt x="2" y="11"/>
                </a:lnTo>
                <a:lnTo>
                  <a:pt x="0" y="13"/>
                </a:lnTo>
                <a:lnTo>
                  <a:pt x="0" y="18"/>
                </a:lnTo>
                <a:lnTo>
                  <a:pt x="0" y="24"/>
                </a:lnTo>
                <a:lnTo>
                  <a:pt x="0" y="26"/>
                </a:lnTo>
                <a:lnTo>
                  <a:pt x="0" y="27"/>
                </a:lnTo>
                <a:lnTo>
                  <a:pt x="2" y="29"/>
                </a:lnTo>
                <a:lnTo>
                  <a:pt x="3" y="31"/>
                </a:lnTo>
                <a:lnTo>
                  <a:pt x="6" y="33"/>
                </a:lnTo>
                <a:lnTo>
                  <a:pt x="9" y="35"/>
                </a:lnTo>
                <a:lnTo>
                  <a:pt x="18" y="40"/>
                </a:lnTo>
                <a:lnTo>
                  <a:pt x="29" y="47"/>
                </a:lnTo>
                <a:lnTo>
                  <a:pt x="39" y="52"/>
                </a:lnTo>
                <a:lnTo>
                  <a:pt x="43" y="56"/>
                </a:lnTo>
                <a:lnTo>
                  <a:pt x="49" y="57"/>
                </a:lnTo>
                <a:lnTo>
                  <a:pt x="57" y="53"/>
                </a:lnTo>
                <a:lnTo>
                  <a:pt x="59" y="54"/>
                </a:lnTo>
                <a:lnTo>
                  <a:pt x="61" y="56"/>
                </a:lnTo>
                <a:lnTo>
                  <a:pt x="64" y="56"/>
                </a:lnTo>
                <a:lnTo>
                  <a:pt x="67" y="58"/>
                </a:lnTo>
                <a:lnTo>
                  <a:pt x="70" y="61"/>
                </a:lnTo>
                <a:lnTo>
                  <a:pt x="74" y="66"/>
                </a:lnTo>
                <a:lnTo>
                  <a:pt x="76" y="67"/>
                </a:lnTo>
                <a:lnTo>
                  <a:pt x="79" y="69"/>
                </a:lnTo>
                <a:lnTo>
                  <a:pt x="88" y="72"/>
                </a:lnTo>
                <a:lnTo>
                  <a:pt x="102" y="76"/>
                </a:lnTo>
                <a:lnTo>
                  <a:pt x="105" y="76"/>
                </a:lnTo>
                <a:lnTo>
                  <a:pt x="109" y="76"/>
                </a:lnTo>
                <a:lnTo>
                  <a:pt x="113" y="76"/>
                </a:lnTo>
                <a:lnTo>
                  <a:pt x="115" y="75"/>
                </a:lnTo>
                <a:lnTo>
                  <a:pt x="116" y="74"/>
                </a:lnTo>
                <a:lnTo>
                  <a:pt x="118" y="72"/>
                </a:lnTo>
                <a:lnTo>
                  <a:pt x="119" y="71"/>
                </a:lnTo>
                <a:lnTo>
                  <a:pt x="119" y="69"/>
                </a:lnTo>
                <a:lnTo>
                  <a:pt x="119" y="67"/>
                </a:lnTo>
                <a:lnTo>
                  <a:pt x="118" y="65"/>
                </a:lnTo>
                <a:lnTo>
                  <a:pt x="116" y="61"/>
                </a:lnTo>
                <a:lnTo>
                  <a:pt x="115" y="57"/>
                </a:lnTo>
                <a:lnTo>
                  <a:pt x="114" y="54"/>
                </a:lnTo>
                <a:lnTo>
                  <a:pt x="114" y="52"/>
                </a:lnTo>
                <a:lnTo>
                  <a:pt x="115" y="49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24" name="Freeform 123">
            <a:extLst>
              <a:ext uri="{FF2B5EF4-FFF2-40B4-BE49-F238E27FC236}">
                <a16:creationId xmlns:a16="http://schemas.microsoft.com/office/drawing/2014/main" id="{87F1ACF5-8331-01C7-82C7-CFCC2BB0CAF2}"/>
              </a:ext>
            </a:extLst>
          </p:cNvPr>
          <p:cNvSpPr>
            <a:spLocks/>
          </p:cNvSpPr>
          <p:nvPr/>
        </p:nvSpPr>
        <p:spPr bwMode="auto">
          <a:xfrm>
            <a:off x="7855913" y="3728884"/>
            <a:ext cx="436563" cy="473075"/>
          </a:xfrm>
          <a:custGeom>
            <a:avLst/>
            <a:gdLst>
              <a:gd name="T0" fmla="*/ 209 w 216"/>
              <a:gd name="T1" fmla="*/ 26 h 253"/>
              <a:gd name="T2" fmla="*/ 197 w 216"/>
              <a:gd name="T3" fmla="*/ 23 h 253"/>
              <a:gd name="T4" fmla="*/ 188 w 216"/>
              <a:gd name="T5" fmla="*/ 17 h 253"/>
              <a:gd name="T6" fmla="*/ 180 w 216"/>
              <a:gd name="T7" fmla="*/ 4 h 253"/>
              <a:gd name="T8" fmla="*/ 165 w 216"/>
              <a:gd name="T9" fmla="*/ 0 h 253"/>
              <a:gd name="T10" fmla="*/ 157 w 216"/>
              <a:gd name="T11" fmla="*/ 3 h 253"/>
              <a:gd name="T12" fmla="*/ 129 w 216"/>
              <a:gd name="T13" fmla="*/ 8 h 253"/>
              <a:gd name="T14" fmla="*/ 125 w 216"/>
              <a:gd name="T15" fmla="*/ 16 h 253"/>
              <a:gd name="T16" fmla="*/ 131 w 216"/>
              <a:gd name="T17" fmla="*/ 28 h 253"/>
              <a:gd name="T18" fmla="*/ 130 w 216"/>
              <a:gd name="T19" fmla="*/ 41 h 253"/>
              <a:gd name="T20" fmla="*/ 120 w 216"/>
              <a:gd name="T21" fmla="*/ 63 h 253"/>
              <a:gd name="T22" fmla="*/ 116 w 216"/>
              <a:gd name="T23" fmla="*/ 75 h 253"/>
              <a:gd name="T24" fmla="*/ 110 w 216"/>
              <a:gd name="T25" fmla="*/ 86 h 253"/>
              <a:gd name="T26" fmla="*/ 112 w 216"/>
              <a:gd name="T27" fmla="*/ 94 h 253"/>
              <a:gd name="T28" fmla="*/ 106 w 216"/>
              <a:gd name="T29" fmla="*/ 99 h 253"/>
              <a:gd name="T30" fmla="*/ 94 w 216"/>
              <a:gd name="T31" fmla="*/ 100 h 253"/>
              <a:gd name="T32" fmla="*/ 89 w 216"/>
              <a:gd name="T33" fmla="*/ 108 h 253"/>
              <a:gd name="T34" fmla="*/ 85 w 216"/>
              <a:gd name="T35" fmla="*/ 111 h 253"/>
              <a:gd name="T36" fmla="*/ 74 w 216"/>
              <a:gd name="T37" fmla="*/ 117 h 253"/>
              <a:gd name="T38" fmla="*/ 75 w 216"/>
              <a:gd name="T39" fmla="*/ 126 h 253"/>
              <a:gd name="T40" fmla="*/ 75 w 216"/>
              <a:gd name="T41" fmla="*/ 134 h 253"/>
              <a:gd name="T42" fmla="*/ 63 w 216"/>
              <a:gd name="T43" fmla="*/ 140 h 253"/>
              <a:gd name="T44" fmla="*/ 43 w 216"/>
              <a:gd name="T45" fmla="*/ 145 h 253"/>
              <a:gd name="T46" fmla="*/ 19 w 216"/>
              <a:gd name="T47" fmla="*/ 143 h 253"/>
              <a:gd name="T48" fmla="*/ 0 w 216"/>
              <a:gd name="T49" fmla="*/ 139 h 253"/>
              <a:gd name="T50" fmla="*/ 14 w 216"/>
              <a:gd name="T51" fmla="*/ 154 h 253"/>
              <a:gd name="T52" fmla="*/ 25 w 216"/>
              <a:gd name="T53" fmla="*/ 161 h 253"/>
              <a:gd name="T54" fmla="*/ 30 w 216"/>
              <a:gd name="T55" fmla="*/ 171 h 253"/>
              <a:gd name="T56" fmla="*/ 35 w 216"/>
              <a:gd name="T57" fmla="*/ 182 h 253"/>
              <a:gd name="T58" fmla="*/ 39 w 216"/>
              <a:gd name="T59" fmla="*/ 188 h 253"/>
              <a:gd name="T60" fmla="*/ 23 w 216"/>
              <a:gd name="T61" fmla="*/ 202 h 253"/>
              <a:gd name="T62" fmla="*/ 19 w 216"/>
              <a:gd name="T63" fmla="*/ 212 h 253"/>
              <a:gd name="T64" fmla="*/ 26 w 216"/>
              <a:gd name="T65" fmla="*/ 225 h 253"/>
              <a:gd name="T66" fmla="*/ 68 w 216"/>
              <a:gd name="T67" fmla="*/ 226 h 253"/>
              <a:gd name="T68" fmla="*/ 86 w 216"/>
              <a:gd name="T69" fmla="*/ 221 h 253"/>
              <a:gd name="T70" fmla="*/ 102 w 216"/>
              <a:gd name="T71" fmla="*/ 241 h 253"/>
              <a:gd name="T72" fmla="*/ 108 w 216"/>
              <a:gd name="T73" fmla="*/ 248 h 253"/>
              <a:gd name="T74" fmla="*/ 119 w 216"/>
              <a:gd name="T75" fmla="*/ 252 h 253"/>
              <a:gd name="T76" fmla="*/ 125 w 216"/>
              <a:gd name="T77" fmla="*/ 245 h 253"/>
              <a:gd name="T78" fmla="*/ 133 w 216"/>
              <a:gd name="T79" fmla="*/ 243 h 253"/>
              <a:gd name="T80" fmla="*/ 144 w 216"/>
              <a:gd name="T81" fmla="*/ 246 h 253"/>
              <a:gd name="T82" fmla="*/ 157 w 216"/>
              <a:gd name="T83" fmla="*/ 239 h 253"/>
              <a:gd name="T84" fmla="*/ 153 w 216"/>
              <a:gd name="T85" fmla="*/ 226 h 253"/>
              <a:gd name="T86" fmla="*/ 142 w 216"/>
              <a:gd name="T87" fmla="*/ 212 h 253"/>
              <a:gd name="T88" fmla="*/ 138 w 216"/>
              <a:gd name="T89" fmla="*/ 201 h 253"/>
              <a:gd name="T90" fmla="*/ 131 w 216"/>
              <a:gd name="T91" fmla="*/ 194 h 253"/>
              <a:gd name="T92" fmla="*/ 134 w 216"/>
              <a:gd name="T93" fmla="*/ 180 h 253"/>
              <a:gd name="T94" fmla="*/ 142 w 216"/>
              <a:gd name="T95" fmla="*/ 174 h 253"/>
              <a:gd name="T96" fmla="*/ 150 w 216"/>
              <a:gd name="T97" fmla="*/ 178 h 253"/>
              <a:gd name="T98" fmla="*/ 160 w 216"/>
              <a:gd name="T99" fmla="*/ 169 h 253"/>
              <a:gd name="T100" fmla="*/ 172 w 216"/>
              <a:gd name="T101" fmla="*/ 151 h 253"/>
              <a:gd name="T102" fmla="*/ 178 w 216"/>
              <a:gd name="T103" fmla="*/ 135 h 253"/>
              <a:gd name="T104" fmla="*/ 186 w 216"/>
              <a:gd name="T105" fmla="*/ 117 h 253"/>
              <a:gd name="T106" fmla="*/ 188 w 216"/>
              <a:gd name="T107" fmla="*/ 98 h 253"/>
              <a:gd name="T108" fmla="*/ 195 w 216"/>
              <a:gd name="T109" fmla="*/ 90 h 253"/>
              <a:gd name="T110" fmla="*/ 183 w 216"/>
              <a:gd name="T111" fmla="*/ 80 h 253"/>
              <a:gd name="T112" fmla="*/ 173 w 216"/>
              <a:gd name="T113" fmla="*/ 63 h 253"/>
              <a:gd name="T114" fmla="*/ 168 w 216"/>
              <a:gd name="T115" fmla="*/ 50 h 253"/>
              <a:gd name="T116" fmla="*/ 178 w 216"/>
              <a:gd name="T117" fmla="*/ 43 h 253"/>
              <a:gd name="T118" fmla="*/ 187 w 216"/>
              <a:gd name="T119" fmla="*/ 47 h 253"/>
              <a:gd name="T120" fmla="*/ 202 w 216"/>
              <a:gd name="T121" fmla="*/ 40 h 2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16" h="253">
                <a:moveTo>
                  <a:pt x="214" y="30"/>
                </a:moveTo>
                <a:lnTo>
                  <a:pt x="212" y="30"/>
                </a:lnTo>
                <a:lnTo>
                  <a:pt x="211" y="28"/>
                </a:lnTo>
                <a:lnTo>
                  <a:pt x="209" y="26"/>
                </a:lnTo>
                <a:lnTo>
                  <a:pt x="208" y="26"/>
                </a:lnTo>
                <a:lnTo>
                  <a:pt x="205" y="25"/>
                </a:lnTo>
                <a:lnTo>
                  <a:pt x="202" y="23"/>
                </a:lnTo>
                <a:lnTo>
                  <a:pt x="197" y="23"/>
                </a:lnTo>
                <a:lnTo>
                  <a:pt x="195" y="23"/>
                </a:lnTo>
                <a:lnTo>
                  <a:pt x="192" y="22"/>
                </a:lnTo>
                <a:lnTo>
                  <a:pt x="191" y="20"/>
                </a:lnTo>
                <a:lnTo>
                  <a:pt x="188" y="17"/>
                </a:lnTo>
                <a:lnTo>
                  <a:pt x="187" y="13"/>
                </a:lnTo>
                <a:lnTo>
                  <a:pt x="185" y="10"/>
                </a:lnTo>
                <a:lnTo>
                  <a:pt x="183" y="7"/>
                </a:lnTo>
                <a:lnTo>
                  <a:pt x="180" y="4"/>
                </a:lnTo>
                <a:lnTo>
                  <a:pt x="178" y="3"/>
                </a:lnTo>
                <a:lnTo>
                  <a:pt x="174" y="1"/>
                </a:lnTo>
                <a:lnTo>
                  <a:pt x="169" y="0"/>
                </a:lnTo>
                <a:lnTo>
                  <a:pt x="165" y="0"/>
                </a:lnTo>
                <a:lnTo>
                  <a:pt x="162" y="0"/>
                </a:lnTo>
                <a:lnTo>
                  <a:pt x="161" y="1"/>
                </a:lnTo>
                <a:lnTo>
                  <a:pt x="159" y="3"/>
                </a:lnTo>
                <a:lnTo>
                  <a:pt x="157" y="3"/>
                </a:lnTo>
                <a:lnTo>
                  <a:pt x="148" y="3"/>
                </a:lnTo>
                <a:lnTo>
                  <a:pt x="138" y="4"/>
                </a:lnTo>
                <a:lnTo>
                  <a:pt x="133" y="5"/>
                </a:lnTo>
                <a:lnTo>
                  <a:pt x="129" y="8"/>
                </a:lnTo>
                <a:lnTo>
                  <a:pt x="126" y="10"/>
                </a:lnTo>
                <a:lnTo>
                  <a:pt x="125" y="12"/>
                </a:lnTo>
                <a:lnTo>
                  <a:pt x="125" y="13"/>
                </a:lnTo>
                <a:lnTo>
                  <a:pt x="125" y="16"/>
                </a:lnTo>
                <a:lnTo>
                  <a:pt x="125" y="18"/>
                </a:lnTo>
                <a:lnTo>
                  <a:pt x="125" y="21"/>
                </a:lnTo>
                <a:lnTo>
                  <a:pt x="129" y="25"/>
                </a:lnTo>
                <a:lnTo>
                  <a:pt x="131" y="28"/>
                </a:lnTo>
                <a:lnTo>
                  <a:pt x="132" y="31"/>
                </a:lnTo>
                <a:lnTo>
                  <a:pt x="132" y="35"/>
                </a:lnTo>
                <a:lnTo>
                  <a:pt x="132" y="39"/>
                </a:lnTo>
                <a:lnTo>
                  <a:pt x="130" y="41"/>
                </a:lnTo>
                <a:lnTo>
                  <a:pt x="128" y="49"/>
                </a:lnTo>
                <a:lnTo>
                  <a:pt x="123" y="55"/>
                </a:lnTo>
                <a:lnTo>
                  <a:pt x="121" y="59"/>
                </a:lnTo>
                <a:lnTo>
                  <a:pt x="120" y="63"/>
                </a:lnTo>
                <a:lnTo>
                  <a:pt x="120" y="67"/>
                </a:lnTo>
                <a:lnTo>
                  <a:pt x="120" y="70"/>
                </a:lnTo>
                <a:lnTo>
                  <a:pt x="119" y="72"/>
                </a:lnTo>
                <a:lnTo>
                  <a:pt x="116" y="75"/>
                </a:lnTo>
                <a:lnTo>
                  <a:pt x="113" y="79"/>
                </a:lnTo>
                <a:lnTo>
                  <a:pt x="112" y="81"/>
                </a:lnTo>
                <a:lnTo>
                  <a:pt x="111" y="84"/>
                </a:lnTo>
                <a:lnTo>
                  <a:pt x="110" y="86"/>
                </a:lnTo>
                <a:lnTo>
                  <a:pt x="110" y="89"/>
                </a:lnTo>
                <a:lnTo>
                  <a:pt x="110" y="93"/>
                </a:lnTo>
                <a:lnTo>
                  <a:pt x="111" y="94"/>
                </a:lnTo>
                <a:lnTo>
                  <a:pt x="112" y="94"/>
                </a:lnTo>
                <a:lnTo>
                  <a:pt x="112" y="97"/>
                </a:lnTo>
                <a:lnTo>
                  <a:pt x="111" y="97"/>
                </a:lnTo>
                <a:lnTo>
                  <a:pt x="109" y="99"/>
                </a:lnTo>
                <a:lnTo>
                  <a:pt x="106" y="99"/>
                </a:lnTo>
                <a:lnTo>
                  <a:pt x="102" y="99"/>
                </a:lnTo>
                <a:lnTo>
                  <a:pt x="99" y="99"/>
                </a:lnTo>
                <a:lnTo>
                  <a:pt x="96" y="99"/>
                </a:lnTo>
                <a:lnTo>
                  <a:pt x="94" y="100"/>
                </a:lnTo>
                <a:lnTo>
                  <a:pt x="93" y="102"/>
                </a:lnTo>
                <a:lnTo>
                  <a:pt x="92" y="103"/>
                </a:lnTo>
                <a:lnTo>
                  <a:pt x="91" y="106"/>
                </a:lnTo>
                <a:lnTo>
                  <a:pt x="89" y="108"/>
                </a:lnTo>
                <a:lnTo>
                  <a:pt x="89" y="109"/>
                </a:lnTo>
                <a:lnTo>
                  <a:pt x="89" y="110"/>
                </a:lnTo>
                <a:lnTo>
                  <a:pt x="86" y="111"/>
                </a:lnTo>
                <a:lnTo>
                  <a:pt x="85" y="111"/>
                </a:lnTo>
                <a:lnTo>
                  <a:pt x="81" y="112"/>
                </a:lnTo>
                <a:lnTo>
                  <a:pt x="76" y="114"/>
                </a:lnTo>
                <a:lnTo>
                  <a:pt x="76" y="115"/>
                </a:lnTo>
                <a:lnTo>
                  <a:pt x="74" y="117"/>
                </a:lnTo>
                <a:lnTo>
                  <a:pt x="72" y="118"/>
                </a:lnTo>
                <a:lnTo>
                  <a:pt x="72" y="121"/>
                </a:lnTo>
                <a:lnTo>
                  <a:pt x="72" y="124"/>
                </a:lnTo>
                <a:lnTo>
                  <a:pt x="75" y="126"/>
                </a:lnTo>
                <a:lnTo>
                  <a:pt x="76" y="128"/>
                </a:lnTo>
                <a:lnTo>
                  <a:pt x="76" y="131"/>
                </a:lnTo>
                <a:lnTo>
                  <a:pt x="76" y="133"/>
                </a:lnTo>
                <a:lnTo>
                  <a:pt x="75" y="134"/>
                </a:lnTo>
                <a:lnTo>
                  <a:pt x="74" y="135"/>
                </a:lnTo>
                <a:lnTo>
                  <a:pt x="72" y="136"/>
                </a:lnTo>
                <a:lnTo>
                  <a:pt x="66" y="139"/>
                </a:lnTo>
                <a:lnTo>
                  <a:pt x="63" y="140"/>
                </a:lnTo>
                <a:lnTo>
                  <a:pt x="61" y="141"/>
                </a:lnTo>
                <a:lnTo>
                  <a:pt x="54" y="143"/>
                </a:lnTo>
                <a:lnTo>
                  <a:pt x="49" y="144"/>
                </a:lnTo>
                <a:lnTo>
                  <a:pt x="43" y="145"/>
                </a:lnTo>
                <a:lnTo>
                  <a:pt x="39" y="145"/>
                </a:lnTo>
                <a:lnTo>
                  <a:pt x="35" y="145"/>
                </a:lnTo>
                <a:lnTo>
                  <a:pt x="29" y="144"/>
                </a:lnTo>
                <a:lnTo>
                  <a:pt x="19" y="143"/>
                </a:lnTo>
                <a:lnTo>
                  <a:pt x="14" y="142"/>
                </a:lnTo>
                <a:lnTo>
                  <a:pt x="9" y="140"/>
                </a:lnTo>
                <a:lnTo>
                  <a:pt x="5" y="140"/>
                </a:lnTo>
                <a:lnTo>
                  <a:pt x="0" y="139"/>
                </a:lnTo>
                <a:lnTo>
                  <a:pt x="4" y="142"/>
                </a:lnTo>
                <a:lnTo>
                  <a:pt x="7" y="144"/>
                </a:lnTo>
                <a:lnTo>
                  <a:pt x="9" y="147"/>
                </a:lnTo>
                <a:lnTo>
                  <a:pt x="14" y="154"/>
                </a:lnTo>
                <a:lnTo>
                  <a:pt x="17" y="157"/>
                </a:lnTo>
                <a:lnTo>
                  <a:pt x="21" y="160"/>
                </a:lnTo>
                <a:lnTo>
                  <a:pt x="23" y="161"/>
                </a:lnTo>
                <a:lnTo>
                  <a:pt x="25" y="161"/>
                </a:lnTo>
                <a:lnTo>
                  <a:pt x="26" y="162"/>
                </a:lnTo>
                <a:lnTo>
                  <a:pt x="29" y="162"/>
                </a:lnTo>
                <a:lnTo>
                  <a:pt x="29" y="167"/>
                </a:lnTo>
                <a:lnTo>
                  <a:pt x="30" y="171"/>
                </a:lnTo>
                <a:lnTo>
                  <a:pt x="31" y="174"/>
                </a:lnTo>
                <a:lnTo>
                  <a:pt x="33" y="178"/>
                </a:lnTo>
                <a:lnTo>
                  <a:pt x="34" y="180"/>
                </a:lnTo>
                <a:lnTo>
                  <a:pt x="35" y="182"/>
                </a:lnTo>
                <a:lnTo>
                  <a:pt x="36" y="183"/>
                </a:lnTo>
                <a:lnTo>
                  <a:pt x="39" y="184"/>
                </a:lnTo>
                <a:lnTo>
                  <a:pt x="41" y="187"/>
                </a:lnTo>
                <a:lnTo>
                  <a:pt x="39" y="188"/>
                </a:lnTo>
                <a:lnTo>
                  <a:pt x="39" y="190"/>
                </a:lnTo>
                <a:lnTo>
                  <a:pt x="35" y="193"/>
                </a:lnTo>
                <a:lnTo>
                  <a:pt x="26" y="198"/>
                </a:lnTo>
                <a:lnTo>
                  <a:pt x="23" y="202"/>
                </a:lnTo>
                <a:lnTo>
                  <a:pt x="22" y="204"/>
                </a:lnTo>
                <a:lnTo>
                  <a:pt x="19" y="207"/>
                </a:lnTo>
                <a:lnTo>
                  <a:pt x="19" y="210"/>
                </a:lnTo>
                <a:lnTo>
                  <a:pt x="19" y="212"/>
                </a:lnTo>
                <a:lnTo>
                  <a:pt x="18" y="215"/>
                </a:lnTo>
                <a:lnTo>
                  <a:pt x="19" y="220"/>
                </a:lnTo>
                <a:lnTo>
                  <a:pt x="22" y="221"/>
                </a:lnTo>
                <a:lnTo>
                  <a:pt x="26" y="225"/>
                </a:lnTo>
                <a:lnTo>
                  <a:pt x="31" y="226"/>
                </a:lnTo>
                <a:lnTo>
                  <a:pt x="36" y="226"/>
                </a:lnTo>
                <a:lnTo>
                  <a:pt x="63" y="226"/>
                </a:lnTo>
                <a:lnTo>
                  <a:pt x="68" y="226"/>
                </a:lnTo>
                <a:lnTo>
                  <a:pt x="72" y="225"/>
                </a:lnTo>
                <a:lnTo>
                  <a:pt x="76" y="225"/>
                </a:lnTo>
                <a:lnTo>
                  <a:pt x="79" y="224"/>
                </a:lnTo>
                <a:lnTo>
                  <a:pt x="86" y="221"/>
                </a:lnTo>
                <a:lnTo>
                  <a:pt x="92" y="218"/>
                </a:lnTo>
                <a:lnTo>
                  <a:pt x="97" y="230"/>
                </a:lnTo>
                <a:lnTo>
                  <a:pt x="99" y="237"/>
                </a:lnTo>
                <a:lnTo>
                  <a:pt x="102" y="241"/>
                </a:lnTo>
                <a:lnTo>
                  <a:pt x="103" y="243"/>
                </a:lnTo>
                <a:lnTo>
                  <a:pt x="105" y="246"/>
                </a:lnTo>
                <a:lnTo>
                  <a:pt x="107" y="248"/>
                </a:lnTo>
                <a:lnTo>
                  <a:pt x="108" y="248"/>
                </a:lnTo>
                <a:lnTo>
                  <a:pt x="110" y="248"/>
                </a:lnTo>
                <a:lnTo>
                  <a:pt x="112" y="250"/>
                </a:lnTo>
                <a:lnTo>
                  <a:pt x="115" y="251"/>
                </a:lnTo>
                <a:lnTo>
                  <a:pt x="119" y="252"/>
                </a:lnTo>
                <a:lnTo>
                  <a:pt x="123" y="252"/>
                </a:lnTo>
                <a:lnTo>
                  <a:pt x="123" y="248"/>
                </a:lnTo>
                <a:lnTo>
                  <a:pt x="124" y="246"/>
                </a:lnTo>
                <a:lnTo>
                  <a:pt x="125" y="245"/>
                </a:lnTo>
                <a:lnTo>
                  <a:pt x="125" y="244"/>
                </a:lnTo>
                <a:lnTo>
                  <a:pt x="126" y="243"/>
                </a:lnTo>
                <a:lnTo>
                  <a:pt x="130" y="243"/>
                </a:lnTo>
                <a:lnTo>
                  <a:pt x="133" y="243"/>
                </a:lnTo>
                <a:lnTo>
                  <a:pt x="135" y="245"/>
                </a:lnTo>
                <a:lnTo>
                  <a:pt x="138" y="246"/>
                </a:lnTo>
                <a:lnTo>
                  <a:pt x="141" y="247"/>
                </a:lnTo>
                <a:lnTo>
                  <a:pt x="144" y="246"/>
                </a:lnTo>
                <a:lnTo>
                  <a:pt x="150" y="244"/>
                </a:lnTo>
                <a:lnTo>
                  <a:pt x="152" y="242"/>
                </a:lnTo>
                <a:lnTo>
                  <a:pt x="155" y="241"/>
                </a:lnTo>
                <a:lnTo>
                  <a:pt x="157" y="239"/>
                </a:lnTo>
                <a:lnTo>
                  <a:pt x="157" y="238"/>
                </a:lnTo>
                <a:lnTo>
                  <a:pt x="157" y="234"/>
                </a:lnTo>
                <a:lnTo>
                  <a:pt x="155" y="230"/>
                </a:lnTo>
                <a:lnTo>
                  <a:pt x="153" y="226"/>
                </a:lnTo>
                <a:lnTo>
                  <a:pt x="152" y="224"/>
                </a:lnTo>
                <a:lnTo>
                  <a:pt x="147" y="220"/>
                </a:lnTo>
                <a:lnTo>
                  <a:pt x="143" y="216"/>
                </a:lnTo>
                <a:lnTo>
                  <a:pt x="142" y="212"/>
                </a:lnTo>
                <a:lnTo>
                  <a:pt x="141" y="209"/>
                </a:lnTo>
                <a:lnTo>
                  <a:pt x="141" y="205"/>
                </a:lnTo>
                <a:lnTo>
                  <a:pt x="139" y="202"/>
                </a:lnTo>
                <a:lnTo>
                  <a:pt x="138" y="201"/>
                </a:lnTo>
                <a:lnTo>
                  <a:pt x="138" y="199"/>
                </a:lnTo>
                <a:lnTo>
                  <a:pt x="134" y="197"/>
                </a:lnTo>
                <a:lnTo>
                  <a:pt x="133" y="196"/>
                </a:lnTo>
                <a:lnTo>
                  <a:pt x="131" y="194"/>
                </a:lnTo>
                <a:lnTo>
                  <a:pt x="130" y="193"/>
                </a:lnTo>
                <a:lnTo>
                  <a:pt x="130" y="190"/>
                </a:lnTo>
                <a:lnTo>
                  <a:pt x="131" y="185"/>
                </a:lnTo>
                <a:lnTo>
                  <a:pt x="134" y="180"/>
                </a:lnTo>
                <a:lnTo>
                  <a:pt x="135" y="178"/>
                </a:lnTo>
                <a:lnTo>
                  <a:pt x="138" y="175"/>
                </a:lnTo>
                <a:lnTo>
                  <a:pt x="139" y="174"/>
                </a:lnTo>
                <a:lnTo>
                  <a:pt x="142" y="174"/>
                </a:lnTo>
                <a:lnTo>
                  <a:pt x="144" y="174"/>
                </a:lnTo>
                <a:lnTo>
                  <a:pt x="146" y="175"/>
                </a:lnTo>
                <a:lnTo>
                  <a:pt x="148" y="176"/>
                </a:lnTo>
                <a:lnTo>
                  <a:pt x="150" y="178"/>
                </a:lnTo>
                <a:lnTo>
                  <a:pt x="152" y="176"/>
                </a:lnTo>
                <a:lnTo>
                  <a:pt x="155" y="175"/>
                </a:lnTo>
                <a:lnTo>
                  <a:pt x="157" y="172"/>
                </a:lnTo>
                <a:lnTo>
                  <a:pt x="160" y="169"/>
                </a:lnTo>
                <a:lnTo>
                  <a:pt x="162" y="165"/>
                </a:lnTo>
                <a:lnTo>
                  <a:pt x="166" y="160"/>
                </a:lnTo>
                <a:lnTo>
                  <a:pt x="170" y="154"/>
                </a:lnTo>
                <a:lnTo>
                  <a:pt x="172" y="151"/>
                </a:lnTo>
                <a:lnTo>
                  <a:pt x="174" y="147"/>
                </a:lnTo>
                <a:lnTo>
                  <a:pt x="175" y="143"/>
                </a:lnTo>
                <a:lnTo>
                  <a:pt x="175" y="137"/>
                </a:lnTo>
                <a:lnTo>
                  <a:pt x="178" y="135"/>
                </a:lnTo>
                <a:lnTo>
                  <a:pt x="179" y="133"/>
                </a:lnTo>
                <a:lnTo>
                  <a:pt x="182" y="126"/>
                </a:lnTo>
                <a:lnTo>
                  <a:pt x="184" y="120"/>
                </a:lnTo>
                <a:lnTo>
                  <a:pt x="186" y="117"/>
                </a:lnTo>
                <a:lnTo>
                  <a:pt x="187" y="117"/>
                </a:lnTo>
                <a:lnTo>
                  <a:pt x="187" y="115"/>
                </a:lnTo>
                <a:lnTo>
                  <a:pt x="187" y="101"/>
                </a:lnTo>
                <a:lnTo>
                  <a:pt x="188" y="98"/>
                </a:lnTo>
                <a:lnTo>
                  <a:pt x="190" y="97"/>
                </a:lnTo>
                <a:lnTo>
                  <a:pt x="192" y="94"/>
                </a:lnTo>
                <a:lnTo>
                  <a:pt x="195" y="92"/>
                </a:lnTo>
                <a:lnTo>
                  <a:pt x="195" y="90"/>
                </a:lnTo>
                <a:lnTo>
                  <a:pt x="195" y="89"/>
                </a:lnTo>
                <a:lnTo>
                  <a:pt x="191" y="87"/>
                </a:lnTo>
                <a:lnTo>
                  <a:pt x="187" y="84"/>
                </a:lnTo>
                <a:lnTo>
                  <a:pt x="183" y="80"/>
                </a:lnTo>
                <a:lnTo>
                  <a:pt x="179" y="75"/>
                </a:lnTo>
                <a:lnTo>
                  <a:pt x="178" y="72"/>
                </a:lnTo>
                <a:lnTo>
                  <a:pt x="175" y="70"/>
                </a:lnTo>
                <a:lnTo>
                  <a:pt x="173" y="63"/>
                </a:lnTo>
                <a:lnTo>
                  <a:pt x="171" y="58"/>
                </a:lnTo>
                <a:lnTo>
                  <a:pt x="170" y="53"/>
                </a:lnTo>
                <a:lnTo>
                  <a:pt x="168" y="53"/>
                </a:lnTo>
                <a:lnTo>
                  <a:pt x="168" y="50"/>
                </a:lnTo>
                <a:lnTo>
                  <a:pt x="169" y="49"/>
                </a:lnTo>
                <a:lnTo>
                  <a:pt x="172" y="46"/>
                </a:lnTo>
                <a:lnTo>
                  <a:pt x="175" y="43"/>
                </a:lnTo>
                <a:lnTo>
                  <a:pt x="178" y="43"/>
                </a:lnTo>
                <a:lnTo>
                  <a:pt x="179" y="43"/>
                </a:lnTo>
                <a:lnTo>
                  <a:pt x="182" y="44"/>
                </a:lnTo>
                <a:lnTo>
                  <a:pt x="184" y="46"/>
                </a:lnTo>
                <a:lnTo>
                  <a:pt x="187" y="47"/>
                </a:lnTo>
                <a:lnTo>
                  <a:pt x="191" y="46"/>
                </a:lnTo>
                <a:lnTo>
                  <a:pt x="196" y="45"/>
                </a:lnTo>
                <a:lnTo>
                  <a:pt x="200" y="43"/>
                </a:lnTo>
                <a:lnTo>
                  <a:pt x="202" y="40"/>
                </a:lnTo>
                <a:lnTo>
                  <a:pt x="209" y="35"/>
                </a:lnTo>
                <a:lnTo>
                  <a:pt x="215" y="30"/>
                </a:lnTo>
                <a:lnTo>
                  <a:pt x="214" y="3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25" name="Freeform 124">
            <a:extLst>
              <a:ext uri="{FF2B5EF4-FFF2-40B4-BE49-F238E27FC236}">
                <a16:creationId xmlns:a16="http://schemas.microsoft.com/office/drawing/2014/main" id="{87BBE542-0406-E983-6A36-870204E0F13E}"/>
              </a:ext>
            </a:extLst>
          </p:cNvPr>
          <p:cNvSpPr>
            <a:spLocks/>
          </p:cNvSpPr>
          <p:nvPr/>
        </p:nvSpPr>
        <p:spPr bwMode="auto">
          <a:xfrm>
            <a:off x="7824163" y="3674909"/>
            <a:ext cx="368300" cy="330200"/>
          </a:xfrm>
          <a:custGeom>
            <a:avLst/>
            <a:gdLst>
              <a:gd name="T0" fmla="*/ 151 w 182"/>
              <a:gd name="T1" fmla="*/ 28 h 177"/>
              <a:gd name="T2" fmla="*/ 141 w 182"/>
              <a:gd name="T3" fmla="*/ 27 h 177"/>
              <a:gd name="T4" fmla="*/ 134 w 182"/>
              <a:gd name="T5" fmla="*/ 19 h 177"/>
              <a:gd name="T6" fmla="*/ 131 w 182"/>
              <a:gd name="T7" fmla="*/ 7 h 177"/>
              <a:gd name="T8" fmla="*/ 123 w 182"/>
              <a:gd name="T9" fmla="*/ 3 h 177"/>
              <a:gd name="T10" fmla="*/ 115 w 182"/>
              <a:gd name="T11" fmla="*/ 11 h 177"/>
              <a:gd name="T12" fmla="*/ 104 w 182"/>
              <a:gd name="T13" fmla="*/ 25 h 177"/>
              <a:gd name="T14" fmla="*/ 96 w 182"/>
              <a:gd name="T15" fmla="*/ 28 h 177"/>
              <a:gd name="T16" fmla="*/ 53 w 182"/>
              <a:gd name="T17" fmla="*/ 20 h 177"/>
              <a:gd name="T18" fmla="*/ 38 w 182"/>
              <a:gd name="T19" fmla="*/ 50 h 177"/>
              <a:gd name="T20" fmla="*/ 31 w 182"/>
              <a:gd name="T21" fmla="*/ 58 h 177"/>
              <a:gd name="T22" fmla="*/ 23 w 182"/>
              <a:gd name="T23" fmla="*/ 61 h 177"/>
              <a:gd name="T24" fmla="*/ 13 w 182"/>
              <a:gd name="T25" fmla="*/ 58 h 177"/>
              <a:gd name="T26" fmla="*/ 7 w 182"/>
              <a:gd name="T27" fmla="*/ 58 h 177"/>
              <a:gd name="T28" fmla="*/ 3 w 182"/>
              <a:gd name="T29" fmla="*/ 58 h 177"/>
              <a:gd name="T30" fmla="*/ 1 w 182"/>
              <a:gd name="T31" fmla="*/ 81 h 177"/>
              <a:gd name="T32" fmla="*/ 2 w 182"/>
              <a:gd name="T33" fmla="*/ 101 h 177"/>
              <a:gd name="T34" fmla="*/ 10 w 182"/>
              <a:gd name="T35" fmla="*/ 127 h 177"/>
              <a:gd name="T36" fmla="*/ 16 w 182"/>
              <a:gd name="T37" fmla="*/ 133 h 177"/>
              <a:gd name="T38" fmla="*/ 24 w 182"/>
              <a:gd name="T39" fmla="*/ 136 h 177"/>
              <a:gd name="T40" fmla="*/ 22 w 182"/>
              <a:gd name="T41" fmla="*/ 144 h 177"/>
              <a:gd name="T42" fmla="*/ 16 w 182"/>
              <a:gd name="T43" fmla="*/ 155 h 177"/>
              <a:gd name="T44" fmla="*/ 12 w 182"/>
              <a:gd name="T45" fmla="*/ 166 h 177"/>
              <a:gd name="T46" fmla="*/ 21 w 182"/>
              <a:gd name="T47" fmla="*/ 170 h 177"/>
              <a:gd name="T48" fmla="*/ 46 w 182"/>
              <a:gd name="T49" fmla="*/ 175 h 177"/>
              <a:gd name="T50" fmla="*/ 59 w 182"/>
              <a:gd name="T51" fmla="*/ 176 h 177"/>
              <a:gd name="T52" fmla="*/ 77 w 182"/>
              <a:gd name="T53" fmla="*/ 171 h 177"/>
              <a:gd name="T54" fmla="*/ 91 w 182"/>
              <a:gd name="T55" fmla="*/ 165 h 177"/>
              <a:gd name="T56" fmla="*/ 92 w 182"/>
              <a:gd name="T57" fmla="*/ 159 h 177"/>
              <a:gd name="T58" fmla="*/ 88 w 182"/>
              <a:gd name="T59" fmla="*/ 152 h 177"/>
              <a:gd name="T60" fmla="*/ 92 w 182"/>
              <a:gd name="T61" fmla="*/ 146 h 177"/>
              <a:gd name="T62" fmla="*/ 97 w 182"/>
              <a:gd name="T63" fmla="*/ 143 h 177"/>
              <a:gd name="T64" fmla="*/ 105 w 182"/>
              <a:gd name="T65" fmla="*/ 141 h 177"/>
              <a:gd name="T66" fmla="*/ 108 w 182"/>
              <a:gd name="T67" fmla="*/ 133 h 177"/>
              <a:gd name="T68" fmla="*/ 111 w 182"/>
              <a:gd name="T69" fmla="*/ 130 h 177"/>
              <a:gd name="T70" fmla="*/ 118 w 182"/>
              <a:gd name="T71" fmla="*/ 130 h 177"/>
              <a:gd name="T72" fmla="*/ 126 w 182"/>
              <a:gd name="T73" fmla="*/ 129 h 177"/>
              <a:gd name="T74" fmla="*/ 128 w 182"/>
              <a:gd name="T75" fmla="*/ 125 h 177"/>
              <a:gd name="T76" fmla="*/ 126 w 182"/>
              <a:gd name="T77" fmla="*/ 121 h 177"/>
              <a:gd name="T78" fmla="*/ 127 w 182"/>
              <a:gd name="T79" fmla="*/ 115 h 177"/>
              <a:gd name="T80" fmla="*/ 135 w 182"/>
              <a:gd name="T81" fmla="*/ 103 h 177"/>
              <a:gd name="T82" fmla="*/ 136 w 182"/>
              <a:gd name="T83" fmla="*/ 98 h 177"/>
              <a:gd name="T84" fmla="*/ 139 w 182"/>
              <a:gd name="T85" fmla="*/ 86 h 177"/>
              <a:gd name="T86" fmla="*/ 148 w 182"/>
              <a:gd name="T87" fmla="*/ 70 h 177"/>
              <a:gd name="T88" fmla="*/ 147 w 182"/>
              <a:gd name="T89" fmla="*/ 59 h 177"/>
              <a:gd name="T90" fmla="*/ 141 w 182"/>
              <a:gd name="T91" fmla="*/ 49 h 177"/>
              <a:gd name="T92" fmla="*/ 141 w 182"/>
              <a:gd name="T93" fmla="*/ 43 h 177"/>
              <a:gd name="T94" fmla="*/ 149 w 182"/>
              <a:gd name="T95" fmla="*/ 36 h 177"/>
              <a:gd name="T96" fmla="*/ 164 w 182"/>
              <a:gd name="T97" fmla="*/ 34 h 177"/>
              <a:gd name="T98" fmla="*/ 177 w 182"/>
              <a:gd name="T99" fmla="*/ 32 h 177"/>
              <a:gd name="T100" fmla="*/ 181 w 182"/>
              <a:gd name="T101" fmla="*/ 29 h 177"/>
              <a:gd name="T102" fmla="*/ 171 w 182"/>
              <a:gd name="T103" fmla="*/ 25 h 1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82" h="177">
                <a:moveTo>
                  <a:pt x="167" y="22"/>
                </a:moveTo>
                <a:lnTo>
                  <a:pt x="157" y="26"/>
                </a:lnTo>
                <a:lnTo>
                  <a:pt x="151" y="28"/>
                </a:lnTo>
                <a:lnTo>
                  <a:pt x="146" y="28"/>
                </a:lnTo>
                <a:lnTo>
                  <a:pt x="144" y="28"/>
                </a:lnTo>
                <a:lnTo>
                  <a:pt x="141" y="27"/>
                </a:lnTo>
                <a:lnTo>
                  <a:pt x="139" y="26"/>
                </a:lnTo>
                <a:lnTo>
                  <a:pt x="136" y="22"/>
                </a:lnTo>
                <a:lnTo>
                  <a:pt x="134" y="19"/>
                </a:lnTo>
                <a:lnTo>
                  <a:pt x="133" y="17"/>
                </a:lnTo>
                <a:lnTo>
                  <a:pt x="132" y="13"/>
                </a:lnTo>
                <a:lnTo>
                  <a:pt x="131" y="7"/>
                </a:lnTo>
                <a:lnTo>
                  <a:pt x="128" y="0"/>
                </a:lnTo>
                <a:lnTo>
                  <a:pt x="126" y="0"/>
                </a:lnTo>
                <a:lnTo>
                  <a:pt x="123" y="3"/>
                </a:lnTo>
                <a:lnTo>
                  <a:pt x="119" y="6"/>
                </a:lnTo>
                <a:lnTo>
                  <a:pt x="117" y="8"/>
                </a:lnTo>
                <a:lnTo>
                  <a:pt x="115" y="11"/>
                </a:lnTo>
                <a:lnTo>
                  <a:pt x="111" y="16"/>
                </a:lnTo>
                <a:lnTo>
                  <a:pt x="107" y="21"/>
                </a:lnTo>
                <a:lnTo>
                  <a:pt x="104" y="25"/>
                </a:lnTo>
                <a:lnTo>
                  <a:pt x="101" y="26"/>
                </a:lnTo>
                <a:lnTo>
                  <a:pt x="99" y="27"/>
                </a:lnTo>
                <a:lnTo>
                  <a:pt x="96" y="28"/>
                </a:lnTo>
                <a:lnTo>
                  <a:pt x="93" y="28"/>
                </a:lnTo>
                <a:lnTo>
                  <a:pt x="69" y="28"/>
                </a:lnTo>
                <a:lnTo>
                  <a:pt x="53" y="20"/>
                </a:lnTo>
                <a:lnTo>
                  <a:pt x="49" y="30"/>
                </a:lnTo>
                <a:lnTo>
                  <a:pt x="42" y="44"/>
                </a:lnTo>
                <a:lnTo>
                  <a:pt x="38" y="50"/>
                </a:lnTo>
                <a:lnTo>
                  <a:pt x="36" y="53"/>
                </a:lnTo>
                <a:lnTo>
                  <a:pt x="33" y="55"/>
                </a:lnTo>
                <a:lnTo>
                  <a:pt x="31" y="58"/>
                </a:lnTo>
                <a:lnTo>
                  <a:pt x="29" y="58"/>
                </a:lnTo>
                <a:lnTo>
                  <a:pt x="26" y="59"/>
                </a:lnTo>
                <a:lnTo>
                  <a:pt x="23" y="61"/>
                </a:lnTo>
                <a:lnTo>
                  <a:pt x="19" y="61"/>
                </a:lnTo>
                <a:lnTo>
                  <a:pt x="16" y="59"/>
                </a:lnTo>
                <a:lnTo>
                  <a:pt x="13" y="58"/>
                </a:lnTo>
                <a:lnTo>
                  <a:pt x="11" y="58"/>
                </a:lnTo>
                <a:lnTo>
                  <a:pt x="9" y="58"/>
                </a:lnTo>
                <a:lnTo>
                  <a:pt x="7" y="58"/>
                </a:lnTo>
                <a:lnTo>
                  <a:pt x="4" y="61"/>
                </a:lnTo>
                <a:lnTo>
                  <a:pt x="4" y="52"/>
                </a:lnTo>
                <a:lnTo>
                  <a:pt x="3" y="58"/>
                </a:lnTo>
                <a:lnTo>
                  <a:pt x="3" y="66"/>
                </a:lnTo>
                <a:lnTo>
                  <a:pt x="2" y="74"/>
                </a:lnTo>
                <a:lnTo>
                  <a:pt x="1" y="81"/>
                </a:lnTo>
                <a:lnTo>
                  <a:pt x="0" y="88"/>
                </a:lnTo>
                <a:lnTo>
                  <a:pt x="0" y="96"/>
                </a:lnTo>
                <a:lnTo>
                  <a:pt x="2" y="101"/>
                </a:lnTo>
                <a:lnTo>
                  <a:pt x="3" y="107"/>
                </a:lnTo>
                <a:lnTo>
                  <a:pt x="7" y="120"/>
                </a:lnTo>
                <a:lnTo>
                  <a:pt x="10" y="127"/>
                </a:lnTo>
                <a:lnTo>
                  <a:pt x="11" y="129"/>
                </a:lnTo>
                <a:lnTo>
                  <a:pt x="13" y="132"/>
                </a:lnTo>
                <a:lnTo>
                  <a:pt x="16" y="133"/>
                </a:lnTo>
                <a:lnTo>
                  <a:pt x="17" y="134"/>
                </a:lnTo>
                <a:lnTo>
                  <a:pt x="21" y="135"/>
                </a:lnTo>
                <a:lnTo>
                  <a:pt x="24" y="136"/>
                </a:lnTo>
                <a:lnTo>
                  <a:pt x="24" y="138"/>
                </a:lnTo>
                <a:lnTo>
                  <a:pt x="24" y="141"/>
                </a:lnTo>
                <a:lnTo>
                  <a:pt x="22" y="144"/>
                </a:lnTo>
                <a:lnTo>
                  <a:pt x="20" y="148"/>
                </a:lnTo>
                <a:lnTo>
                  <a:pt x="17" y="151"/>
                </a:lnTo>
                <a:lnTo>
                  <a:pt x="16" y="155"/>
                </a:lnTo>
                <a:lnTo>
                  <a:pt x="13" y="159"/>
                </a:lnTo>
                <a:lnTo>
                  <a:pt x="12" y="162"/>
                </a:lnTo>
                <a:lnTo>
                  <a:pt x="12" y="166"/>
                </a:lnTo>
                <a:lnTo>
                  <a:pt x="13" y="168"/>
                </a:lnTo>
                <a:lnTo>
                  <a:pt x="16" y="169"/>
                </a:lnTo>
                <a:lnTo>
                  <a:pt x="21" y="170"/>
                </a:lnTo>
                <a:lnTo>
                  <a:pt x="26" y="170"/>
                </a:lnTo>
                <a:lnTo>
                  <a:pt x="36" y="173"/>
                </a:lnTo>
                <a:lnTo>
                  <a:pt x="46" y="175"/>
                </a:lnTo>
                <a:lnTo>
                  <a:pt x="51" y="176"/>
                </a:lnTo>
                <a:lnTo>
                  <a:pt x="55" y="176"/>
                </a:lnTo>
                <a:lnTo>
                  <a:pt x="59" y="176"/>
                </a:lnTo>
                <a:lnTo>
                  <a:pt x="65" y="175"/>
                </a:lnTo>
                <a:lnTo>
                  <a:pt x="70" y="173"/>
                </a:lnTo>
                <a:lnTo>
                  <a:pt x="77" y="171"/>
                </a:lnTo>
                <a:lnTo>
                  <a:pt x="82" y="169"/>
                </a:lnTo>
                <a:lnTo>
                  <a:pt x="88" y="166"/>
                </a:lnTo>
                <a:lnTo>
                  <a:pt x="91" y="165"/>
                </a:lnTo>
                <a:lnTo>
                  <a:pt x="92" y="163"/>
                </a:lnTo>
                <a:lnTo>
                  <a:pt x="92" y="161"/>
                </a:lnTo>
                <a:lnTo>
                  <a:pt x="92" y="159"/>
                </a:lnTo>
                <a:lnTo>
                  <a:pt x="91" y="156"/>
                </a:lnTo>
                <a:lnTo>
                  <a:pt x="88" y="154"/>
                </a:lnTo>
                <a:lnTo>
                  <a:pt x="88" y="152"/>
                </a:lnTo>
                <a:lnTo>
                  <a:pt x="88" y="149"/>
                </a:lnTo>
                <a:lnTo>
                  <a:pt x="90" y="147"/>
                </a:lnTo>
                <a:lnTo>
                  <a:pt x="92" y="146"/>
                </a:lnTo>
                <a:lnTo>
                  <a:pt x="92" y="144"/>
                </a:lnTo>
                <a:lnTo>
                  <a:pt x="95" y="143"/>
                </a:lnTo>
                <a:lnTo>
                  <a:pt x="97" y="143"/>
                </a:lnTo>
                <a:lnTo>
                  <a:pt x="101" y="142"/>
                </a:lnTo>
                <a:lnTo>
                  <a:pt x="102" y="142"/>
                </a:lnTo>
                <a:lnTo>
                  <a:pt x="105" y="141"/>
                </a:lnTo>
                <a:lnTo>
                  <a:pt x="105" y="139"/>
                </a:lnTo>
                <a:lnTo>
                  <a:pt x="107" y="136"/>
                </a:lnTo>
                <a:lnTo>
                  <a:pt x="108" y="133"/>
                </a:lnTo>
                <a:lnTo>
                  <a:pt x="109" y="133"/>
                </a:lnTo>
                <a:lnTo>
                  <a:pt x="110" y="130"/>
                </a:lnTo>
                <a:lnTo>
                  <a:pt x="111" y="130"/>
                </a:lnTo>
                <a:lnTo>
                  <a:pt x="112" y="130"/>
                </a:lnTo>
                <a:lnTo>
                  <a:pt x="115" y="130"/>
                </a:lnTo>
                <a:lnTo>
                  <a:pt x="118" y="130"/>
                </a:lnTo>
                <a:lnTo>
                  <a:pt x="122" y="130"/>
                </a:lnTo>
                <a:lnTo>
                  <a:pt x="125" y="130"/>
                </a:lnTo>
                <a:lnTo>
                  <a:pt x="126" y="129"/>
                </a:lnTo>
                <a:lnTo>
                  <a:pt x="127" y="128"/>
                </a:lnTo>
                <a:lnTo>
                  <a:pt x="128" y="127"/>
                </a:lnTo>
                <a:lnTo>
                  <a:pt x="128" y="125"/>
                </a:lnTo>
                <a:lnTo>
                  <a:pt x="127" y="124"/>
                </a:lnTo>
                <a:lnTo>
                  <a:pt x="126" y="123"/>
                </a:lnTo>
                <a:lnTo>
                  <a:pt x="126" y="121"/>
                </a:lnTo>
                <a:lnTo>
                  <a:pt x="126" y="120"/>
                </a:lnTo>
                <a:lnTo>
                  <a:pt x="126" y="117"/>
                </a:lnTo>
                <a:lnTo>
                  <a:pt x="127" y="115"/>
                </a:lnTo>
                <a:lnTo>
                  <a:pt x="129" y="110"/>
                </a:lnTo>
                <a:lnTo>
                  <a:pt x="132" y="106"/>
                </a:lnTo>
                <a:lnTo>
                  <a:pt x="135" y="103"/>
                </a:lnTo>
                <a:lnTo>
                  <a:pt x="136" y="102"/>
                </a:lnTo>
                <a:lnTo>
                  <a:pt x="136" y="101"/>
                </a:lnTo>
                <a:lnTo>
                  <a:pt x="136" y="98"/>
                </a:lnTo>
                <a:lnTo>
                  <a:pt x="136" y="94"/>
                </a:lnTo>
                <a:lnTo>
                  <a:pt x="137" y="90"/>
                </a:lnTo>
                <a:lnTo>
                  <a:pt x="139" y="86"/>
                </a:lnTo>
                <a:lnTo>
                  <a:pt x="144" y="80"/>
                </a:lnTo>
                <a:lnTo>
                  <a:pt x="146" y="72"/>
                </a:lnTo>
                <a:lnTo>
                  <a:pt x="148" y="70"/>
                </a:lnTo>
                <a:lnTo>
                  <a:pt x="148" y="66"/>
                </a:lnTo>
                <a:lnTo>
                  <a:pt x="148" y="62"/>
                </a:lnTo>
                <a:lnTo>
                  <a:pt x="147" y="59"/>
                </a:lnTo>
                <a:lnTo>
                  <a:pt x="144" y="56"/>
                </a:lnTo>
                <a:lnTo>
                  <a:pt x="141" y="52"/>
                </a:lnTo>
                <a:lnTo>
                  <a:pt x="141" y="49"/>
                </a:lnTo>
                <a:lnTo>
                  <a:pt x="141" y="47"/>
                </a:lnTo>
                <a:lnTo>
                  <a:pt x="141" y="45"/>
                </a:lnTo>
                <a:lnTo>
                  <a:pt x="141" y="43"/>
                </a:lnTo>
                <a:lnTo>
                  <a:pt x="142" y="41"/>
                </a:lnTo>
                <a:lnTo>
                  <a:pt x="144" y="39"/>
                </a:lnTo>
                <a:lnTo>
                  <a:pt x="149" y="36"/>
                </a:lnTo>
                <a:lnTo>
                  <a:pt x="154" y="35"/>
                </a:lnTo>
                <a:lnTo>
                  <a:pt x="159" y="35"/>
                </a:lnTo>
                <a:lnTo>
                  <a:pt x="164" y="34"/>
                </a:lnTo>
                <a:lnTo>
                  <a:pt x="173" y="34"/>
                </a:lnTo>
                <a:lnTo>
                  <a:pt x="175" y="34"/>
                </a:lnTo>
                <a:lnTo>
                  <a:pt x="177" y="32"/>
                </a:lnTo>
                <a:lnTo>
                  <a:pt x="178" y="32"/>
                </a:lnTo>
                <a:lnTo>
                  <a:pt x="181" y="31"/>
                </a:lnTo>
                <a:lnTo>
                  <a:pt x="181" y="29"/>
                </a:lnTo>
                <a:lnTo>
                  <a:pt x="177" y="28"/>
                </a:lnTo>
                <a:lnTo>
                  <a:pt x="174" y="26"/>
                </a:lnTo>
                <a:lnTo>
                  <a:pt x="171" y="25"/>
                </a:lnTo>
                <a:lnTo>
                  <a:pt x="167" y="22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26" name="Freeform 125">
            <a:extLst>
              <a:ext uri="{FF2B5EF4-FFF2-40B4-BE49-F238E27FC236}">
                <a16:creationId xmlns:a16="http://schemas.microsoft.com/office/drawing/2014/main" id="{F6C65408-AA0B-AC47-9544-B1D12EFE9569}"/>
              </a:ext>
            </a:extLst>
          </p:cNvPr>
          <p:cNvSpPr>
            <a:spLocks/>
          </p:cNvSpPr>
          <p:nvPr/>
        </p:nvSpPr>
        <p:spPr bwMode="auto">
          <a:xfrm>
            <a:off x="8386138" y="3201834"/>
            <a:ext cx="879475" cy="361950"/>
          </a:xfrm>
          <a:custGeom>
            <a:avLst/>
            <a:gdLst>
              <a:gd name="T0" fmla="*/ 5 w 436"/>
              <a:gd name="T1" fmla="*/ 59 h 194"/>
              <a:gd name="T2" fmla="*/ 18 w 436"/>
              <a:gd name="T3" fmla="*/ 68 h 194"/>
              <a:gd name="T4" fmla="*/ 47 w 436"/>
              <a:gd name="T5" fmla="*/ 85 h 194"/>
              <a:gd name="T6" fmla="*/ 60 w 436"/>
              <a:gd name="T7" fmla="*/ 99 h 194"/>
              <a:gd name="T8" fmla="*/ 67 w 436"/>
              <a:gd name="T9" fmla="*/ 122 h 194"/>
              <a:gd name="T10" fmla="*/ 72 w 436"/>
              <a:gd name="T11" fmla="*/ 131 h 194"/>
              <a:gd name="T12" fmla="*/ 116 w 436"/>
              <a:gd name="T13" fmla="*/ 137 h 194"/>
              <a:gd name="T14" fmla="*/ 136 w 436"/>
              <a:gd name="T15" fmla="*/ 148 h 194"/>
              <a:gd name="T16" fmla="*/ 163 w 436"/>
              <a:gd name="T17" fmla="*/ 173 h 194"/>
              <a:gd name="T18" fmla="*/ 238 w 436"/>
              <a:gd name="T19" fmla="*/ 177 h 194"/>
              <a:gd name="T20" fmla="*/ 260 w 436"/>
              <a:gd name="T21" fmla="*/ 189 h 194"/>
              <a:gd name="T22" fmla="*/ 285 w 436"/>
              <a:gd name="T23" fmla="*/ 193 h 194"/>
              <a:gd name="T24" fmla="*/ 296 w 436"/>
              <a:gd name="T25" fmla="*/ 184 h 194"/>
              <a:gd name="T26" fmla="*/ 342 w 436"/>
              <a:gd name="T27" fmla="*/ 173 h 194"/>
              <a:gd name="T28" fmla="*/ 357 w 436"/>
              <a:gd name="T29" fmla="*/ 159 h 194"/>
              <a:gd name="T30" fmla="*/ 359 w 436"/>
              <a:gd name="T31" fmla="*/ 149 h 194"/>
              <a:gd name="T32" fmla="*/ 356 w 436"/>
              <a:gd name="T33" fmla="*/ 145 h 194"/>
              <a:gd name="T34" fmla="*/ 346 w 436"/>
              <a:gd name="T35" fmla="*/ 140 h 194"/>
              <a:gd name="T36" fmla="*/ 345 w 436"/>
              <a:gd name="T37" fmla="*/ 132 h 194"/>
              <a:gd name="T38" fmla="*/ 352 w 436"/>
              <a:gd name="T39" fmla="*/ 128 h 194"/>
              <a:gd name="T40" fmla="*/ 362 w 436"/>
              <a:gd name="T41" fmla="*/ 132 h 194"/>
              <a:gd name="T42" fmla="*/ 372 w 436"/>
              <a:gd name="T43" fmla="*/ 130 h 194"/>
              <a:gd name="T44" fmla="*/ 383 w 436"/>
              <a:gd name="T45" fmla="*/ 122 h 194"/>
              <a:gd name="T46" fmla="*/ 397 w 436"/>
              <a:gd name="T47" fmla="*/ 118 h 194"/>
              <a:gd name="T48" fmla="*/ 398 w 436"/>
              <a:gd name="T49" fmla="*/ 107 h 194"/>
              <a:gd name="T50" fmla="*/ 410 w 436"/>
              <a:gd name="T51" fmla="*/ 99 h 194"/>
              <a:gd name="T52" fmla="*/ 434 w 436"/>
              <a:gd name="T53" fmla="*/ 94 h 194"/>
              <a:gd name="T54" fmla="*/ 418 w 436"/>
              <a:gd name="T55" fmla="*/ 79 h 194"/>
              <a:gd name="T56" fmla="*/ 402 w 436"/>
              <a:gd name="T57" fmla="*/ 74 h 194"/>
              <a:gd name="T58" fmla="*/ 375 w 436"/>
              <a:gd name="T59" fmla="*/ 78 h 194"/>
              <a:gd name="T60" fmla="*/ 367 w 436"/>
              <a:gd name="T61" fmla="*/ 74 h 194"/>
              <a:gd name="T62" fmla="*/ 364 w 436"/>
              <a:gd name="T63" fmla="*/ 51 h 194"/>
              <a:gd name="T64" fmla="*/ 342 w 436"/>
              <a:gd name="T65" fmla="*/ 33 h 194"/>
              <a:gd name="T66" fmla="*/ 329 w 436"/>
              <a:gd name="T67" fmla="*/ 31 h 194"/>
              <a:gd name="T68" fmla="*/ 316 w 436"/>
              <a:gd name="T69" fmla="*/ 36 h 194"/>
              <a:gd name="T70" fmla="*/ 297 w 436"/>
              <a:gd name="T71" fmla="*/ 49 h 194"/>
              <a:gd name="T72" fmla="*/ 280 w 436"/>
              <a:gd name="T73" fmla="*/ 50 h 194"/>
              <a:gd name="T74" fmla="*/ 250 w 436"/>
              <a:gd name="T75" fmla="*/ 40 h 194"/>
              <a:gd name="T76" fmla="*/ 217 w 436"/>
              <a:gd name="T77" fmla="*/ 26 h 194"/>
              <a:gd name="T78" fmla="*/ 191 w 436"/>
              <a:gd name="T79" fmla="*/ 27 h 194"/>
              <a:gd name="T80" fmla="*/ 180 w 436"/>
              <a:gd name="T81" fmla="*/ 27 h 194"/>
              <a:gd name="T82" fmla="*/ 172 w 436"/>
              <a:gd name="T83" fmla="*/ 22 h 194"/>
              <a:gd name="T84" fmla="*/ 164 w 436"/>
              <a:gd name="T85" fmla="*/ 7 h 194"/>
              <a:gd name="T86" fmla="*/ 145 w 436"/>
              <a:gd name="T87" fmla="*/ 2 h 194"/>
              <a:gd name="T88" fmla="*/ 117 w 436"/>
              <a:gd name="T89" fmla="*/ 0 h 194"/>
              <a:gd name="T90" fmla="*/ 113 w 436"/>
              <a:gd name="T91" fmla="*/ 4 h 194"/>
              <a:gd name="T92" fmla="*/ 120 w 436"/>
              <a:gd name="T93" fmla="*/ 17 h 194"/>
              <a:gd name="T94" fmla="*/ 125 w 436"/>
              <a:gd name="T95" fmla="*/ 26 h 194"/>
              <a:gd name="T96" fmla="*/ 123 w 436"/>
              <a:gd name="T97" fmla="*/ 36 h 194"/>
              <a:gd name="T98" fmla="*/ 113 w 436"/>
              <a:gd name="T99" fmla="*/ 39 h 194"/>
              <a:gd name="T100" fmla="*/ 94 w 436"/>
              <a:gd name="T101" fmla="*/ 36 h 194"/>
              <a:gd name="T102" fmla="*/ 62 w 436"/>
              <a:gd name="T103" fmla="*/ 24 h 194"/>
              <a:gd name="T104" fmla="*/ 34 w 436"/>
              <a:gd name="T105" fmla="*/ 24 h 194"/>
              <a:gd name="T106" fmla="*/ 10 w 436"/>
              <a:gd name="T107" fmla="*/ 42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36" h="194">
                <a:moveTo>
                  <a:pt x="0" y="50"/>
                </a:moveTo>
                <a:lnTo>
                  <a:pt x="1" y="54"/>
                </a:lnTo>
                <a:lnTo>
                  <a:pt x="3" y="56"/>
                </a:lnTo>
                <a:lnTo>
                  <a:pt x="5" y="59"/>
                </a:lnTo>
                <a:lnTo>
                  <a:pt x="6" y="61"/>
                </a:lnTo>
                <a:lnTo>
                  <a:pt x="9" y="63"/>
                </a:lnTo>
                <a:lnTo>
                  <a:pt x="12" y="65"/>
                </a:lnTo>
                <a:lnTo>
                  <a:pt x="18" y="68"/>
                </a:lnTo>
                <a:lnTo>
                  <a:pt x="29" y="73"/>
                </a:lnTo>
                <a:lnTo>
                  <a:pt x="36" y="76"/>
                </a:lnTo>
                <a:lnTo>
                  <a:pt x="42" y="80"/>
                </a:lnTo>
                <a:lnTo>
                  <a:pt x="47" y="85"/>
                </a:lnTo>
                <a:lnTo>
                  <a:pt x="53" y="89"/>
                </a:lnTo>
                <a:lnTo>
                  <a:pt x="56" y="93"/>
                </a:lnTo>
                <a:lnTo>
                  <a:pt x="58" y="96"/>
                </a:lnTo>
                <a:lnTo>
                  <a:pt x="60" y="99"/>
                </a:lnTo>
                <a:lnTo>
                  <a:pt x="61" y="103"/>
                </a:lnTo>
                <a:lnTo>
                  <a:pt x="63" y="110"/>
                </a:lnTo>
                <a:lnTo>
                  <a:pt x="65" y="118"/>
                </a:lnTo>
                <a:lnTo>
                  <a:pt x="67" y="122"/>
                </a:lnTo>
                <a:lnTo>
                  <a:pt x="68" y="126"/>
                </a:lnTo>
                <a:lnTo>
                  <a:pt x="69" y="126"/>
                </a:lnTo>
                <a:lnTo>
                  <a:pt x="69" y="128"/>
                </a:lnTo>
                <a:lnTo>
                  <a:pt x="72" y="131"/>
                </a:lnTo>
                <a:lnTo>
                  <a:pt x="99" y="131"/>
                </a:lnTo>
                <a:lnTo>
                  <a:pt x="103" y="133"/>
                </a:lnTo>
                <a:lnTo>
                  <a:pt x="108" y="135"/>
                </a:lnTo>
                <a:lnTo>
                  <a:pt x="116" y="137"/>
                </a:lnTo>
                <a:lnTo>
                  <a:pt x="125" y="140"/>
                </a:lnTo>
                <a:lnTo>
                  <a:pt x="129" y="143"/>
                </a:lnTo>
                <a:lnTo>
                  <a:pt x="132" y="145"/>
                </a:lnTo>
                <a:lnTo>
                  <a:pt x="136" y="148"/>
                </a:lnTo>
                <a:lnTo>
                  <a:pt x="140" y="152"/>
                </a:lnTo>
                <a:lnTo>
                  <a:pt x="148" y="159"/>
                </a:lnTo>
                <a:lnTo>
                  <a:pt x="156" y="167"/>
                </a:lnTo>
                <a:lnTo>
                  <a:pt x="163" y="173"/>
                </a:lnTo>
                <a:lnTo>
                  <a:pt x="194" y="173"/>
                </a:lnTo>
                <a:lnTo>
                  <a:pt x="194" y="175"/>
                </a:lnTo>
                <a:lnTo>
                  <a:pt x="233" y="175"/>
                </a:lnTo>
                <a:lnTo>
                  <a:pt x="238" y="177"/>
                </a:lnTo>
                <a:lnTo>
                  <a:pt x="243" y="181"/>
                </a:lnTo>
                <a:lnTo>
                  <a:pt x="248" y="184"/>
                </a:lnTo>
                <a:lnTo>
                  <a:pt x="254" y="186"/>
                </a:lnTo>
                <a:lnTo>
                  <a:pt x="260" y="189"/>
                </a:lnTo>
                <a:lnTo>
                  <a:pt x="267" y="190"/>
                </a:lnTo>
                <a:lnTo>
                  <a:pt x="274" y="191"/>
                </a:lnTo>
                <a:lnTo>
                  <a:pt x="281" y="193"/>
                </a:lnTo>
                <a:lnTo>
                  <a:pt x="285" y="193"/>
                </a:lnTo>
                <a:lnTo>
                  <a:pt x="287" y="191"/>
                </a:lnTo>
                <a:lnTo>
                  <a:pt x="290" y="189"/>
                </a:lnTo>
                <a:lnTo>
                  <a:pt x="292" y="188"/>
                </a:lnTo>
                <a:lnTo>
                  <a:pt x="296" y="184"/>
                </a:lnTo>
                <a:lnTo>
                  <a:pt x="301" y="179"/>
                </a:lnTo>
                <a:lnTo>
                  <a:pt x="329" y="179"/>
                </a:lnTo>
                <a:lnTo>
                  <a:pt x="337" y="176"/>
                </a:lnTo>
                <a:lnTo>
                  <a:pt x="342" y="173"/>
                </a:lnTo>
                <a:lnTo>
                  <a:pt x="348" y="169"/>
                </a:lnTo>
                <a:lnTo>
                  <a:pt x="352" y="166"/>
                </a:lnTo>
                <a:lnTo>
                  <a:pt x="355" y="162"/>
                </a:lnTo>
                <a:lnTo>
                  <a:pt x="357" y="159"/>
                </a:lnTo>
                <a:lnTo>
                  <a:pt x="358" y="157"/>
                </a:lnTo>
                <a:lnTo>
                  <a:pt x="359" y="154"/>
                </a:lnTo>
                <a:lnTo>
                  <a:pt x="359" y="152"/>
                </a:lnTo>
                <a:lnTo>
                  <a:pt x="359" y="149"/>
                </a:lnTo>
                <a:lnTo>
                  <a:pt x="359" y="148"/>
                </a:lnTo>
                <a:lnTo>
                  <a:pt x="358" y="146"/>
                </a:lnTo>
                <a:lnTo>
                  <a:pt x="357" y="146"/>
                </a:lnTo>
                <a:lnTo>
                  <a:pt x="356" y="145"/>
                </a:lnTo>
                <a:lnTo>
                  <a:pt x="354" y="144"/>
                </a:lnTo>
                <a:lnTo>
                  <a:pt x="352" y="143"/>
                </a:lnTo>
                <a:lnTo>
                  <a:pt x="349" y="142"/>
                </a:lnTo>
                <a:lnTo>
                  <a:pt x="346" y="140"/>
                </a:lnTo>
                <a:lnTo>
                  <a:pt x="346" y="137"/>
                </a:lnTo>
                <a:lnTo>
                  <a:pt x="345" y="136"/>
                </a:lnTo>
                <a:lnTo>
                  <a:pt x="345" y="134"/>
                </a:lnTo>
                <a:lnTo>
                  <a:pt x="345" y="132"/>
                </a:lnTo>
                <a:lnTo>
                  <a:pt x="346" y="130"/>
                </a:lnTo>
                <a:lnTo>
                  <a:pt x="348" y="128"/>
                </a:lnTo>
                <a:lnTo>
                  <a:pt x="349" y="128"/>
                </a:lnTo>
                <a:lnTo>
                  <a:pt x="352" y="128"/>
                </a:lnTo>
                <a:lnTo>
                  <a:pt x="354" y="128"/>
                </a:lnTo>
                <a:lnTo>
                  <a:pt x="357" y="130"/>
                </a:lnTo>
                <a:lnTo>
                  <a:pt x="361" y="132"/>
                </a:lnTo>
                <a:lnTo>
                  <a:pt x="362" y="132"/>
                </a:lnTo>
                <a:lnTo>
                  <a:pt x="365" y="133"/>
                </a:lnTo>
                <a:lnTo>
                  <a:pt x="368" y="132"/>
                </a:lnTo>
                <a:lnTo>
                  <a:pt x="371" y="131"/>
                </a:lnTo>
                <a:lnTo>
                  <a:pt x="372" y="130"/>
                </a:lnTo>
                <a:lnTo>
                  <a:pt x="375" y="128"/>
                </a:lnTo>
                <a:lnTo>
                  <a:pt x="378" y="125"/>
                </a:lnTo>
                <a:lnTo>
                  <a:pt x="380" y="123"/>
                </a:lnTo>
                <a:lnTo>
                  <a:pt x="383" y="122"/>
                </a:lnTo>
                <a:lnTo>
                  <a:pt x="386" y="122"/>
                </a:lnTo>
                <a:lnTo>
                  <a:pt x="390" y="121"/>
                </a:lnTo>
                <a:lnTo>
                  <a:pt x="395" y="119"/>
                </a:lnTo>
                <a:lnTo>
                  <a:pt x="397" y="118"/>
                </a:lnTo>
                <a:lnTo>
                  <a:pt x="398" y="116"/>
                </a:lnTo>
                <a:lnTo>
                  <a:pt x="398" y="113"/>
                </a:lnTo>
                <a:lnTo>
                  <a:pt x="398" y="109"/>
                </a:lnTo>
                <a:lnTo>
                  <a:pt x="398" y="107"/>
                </a:lnTo>
                <a:lnTo>
                  <a:pt x="398" y="105"/>
                </a:lnTo>
                <a:lnTo>
                  <a:pt x="401" y="103"/>
                </a:lnTo>
                <a:lnTo>
                  <a:pt x="403" y="101"/>
                </a:lnTo>
                <a:lnTo>
                  <a:pt x="410" y="99"/>
                </a:lnTo>
                <a:lnTo>
                  <a:pt x="418" y="99"/>
                </a:lnTo>
                <a:lnTo>
                  <a:pt x="426" y="98"/>
                </a:lnTo>
                <a:lnTo>
                  <a:pt x="435" y="98"/>
                </a:lnTo>
                <a:lnTo>
                  <a:pt x="434" y="94"/>
                </a:lnTo>
                <a:lnTo>
                  <a:pt x="431" y="90"/>
                </a:lnTo>
                <a:lnTo>
                  <a:pt x="428" y="86"/>
                </a:lnTo>
                <a:lnTo>
                  <a:pt x="423" y="82"/>
                </a:lnTo>
                <a:lnTo>
                  <a:pt x="418" y="79"/>
                </a:lnTo>
                <a:lnTo>
                  <a:pt x="413" y="76"/>
                </a:lnTo>
                <a:lnTo>
                  <a:pt x="408" y="74"/>
                </a:lnTo>
                <a:lnTo>
                  <a:pt x="405" y="74"/>
                </a:lnTo>
                <a:lnTo>
                  <a:pt x="402" y="74"/>
                </a:lnTo>
                <a:lnTo>
                  <a:pt x="398" y="76"/>
                </a:lnTo>
                <a:lnTo>
                  <a:pt x="395" y="77"/>
                </a:lnTo>
                <a:lnTo>
                  <a:pt x="392" y="78"/>
                </a:lnTo>
                <a:lnTo>
                  <a:pt x="375" y="78"/>
                </a:lnTo>
                <a:lnTo>
                  <a:pt x="372" y="78"/>
                </a:lnTo>
                <a:lnTo>
                  <a:pt x="371" y="77"/>
                </a:lnTo>
                <a:lnTo>
                  <a:pt x="369" y="76"/>
                </a:lnTo>
                <a:lnTo>
                  <a:pt x="367" y="74"/>
                </a:lnTo>
                <a:lnTo>
                  <a:pt x="365" y="69"/>
                </a:lnTo>
                <a:lnTo>
                  <a:pt x="364" y="64"/>
                </a:lnTo>
                <a:lnTo>
                  <a:pt x="364" y="58"/>
                </a:lnTo>
                <a:lnTo>
                  <a:pt x="364" y="51"/>
                </a:lnTo>
                <a:lnTo>
                  <a:pt x="364" y="46"/>
                </a:lnTo>
                <a:lnTo>
                  <a:pt x="363" y="40"/>
                </a:lnTo>
                <a:lnTo>
                  <a:pt x="346" y="33"/>
                </a:lnTo>
                <a:lnTo>
                  <a:pt x="342" y="33"/>
                </a:lnTo>
                <a:lnTo>
                  <a:pt x="339" y="31"/>
                </a:lnTo>
                <a:lnTo>
                  <a:pt x="335" y="31"/>
                </a:lnTo>
                <a:lnTo>
                  <a:pt x="332" y="29"/>
                </a:lnTo>
                <a:lnTo>
                  <a:pt x="329" y="31"/>
                </a:lnTo>
                <a:lnTo>
                  <a:pt x="326" y="31"/>
                </a:lnTo>
                <a:lnTo>
                  <a:pt x="323" y="32"/>
                </a:lnTo>
                <a:lnTo>
                  <a:pt x="321" y="33"/>
                </a:lnTo>
                <a:lnTo>
                  <a:pt x="316" y="36"/>
                </a:lnTo>
                <a:lnTo>
                  <a:pt x="312" y="40"/>
                </a:lnTo>
                <a:lnTo>
                  <a:pt x="306" y="44"/>
                </a:lnTo>
                <a:lnTo>
                  <a:pt x="300" y="47"/>
                </a:lnTo>
                <a:lnTo>
                  <a:pt x="297" y="49"/>
                </a:lnTo>
                <a:lnTo>
                  <a:pt x="294" y="49"/>
                </a:lnTo>
                <a:lnTo>
                  <a:pt x="291" y="50"/>
                </a:lnTo>
                <a:lnTo>
                  <a:pt x="286" y="50"/>
                </a:lnTo>
                <a:lnTo>
                  <a:pt x="280" y="50"/>
                </a:lnTo>
                <a:lnTo>
                  <a:pt x="273" y="49"/>
                </a:lnTo>
                <a:lnTo>
                  <a:pt x="267" y="47"/>
                </a:lnTo>
                <a:lnTo>
                  <a:pt x="261" y="46"/>
                </a:lnTo>
                <a:lnTo>
                  <a:pt x="250" y="40"/>
                </a:lnTo>
                <a:lnTo>
                  <a:pt x="239" y="34"/>
                </a:lnTo>
                <a:lnTo>
                  <a:pt x="228" y="29"/>
                </a:lnTo>
                <a:lnTo>
                  <a:pt x="223" y="27"/>
                </a:lnTo>
                <a:lnTo>
                  <a:pt x="217" y="26"/>
                </a:lnTo>
                <a:lnTo>
                  <a:pt x="211" y="25"/>
                </a:lnTo>
                <a:lnTo>
                  <a:pt x="205" y="25"/>
                </a:lnTo>
                <a:lnTo>
                  <a:pt x="198" y="25"/>
                </a:lnTo>
                <a:lnTo>
                  <a:pt x="191" y="27"/>
                </a:lnTo>
                <a:lnTo>
                  <a:pt x="187" y="28"/>
                </a:lnTo>
                <a:lnTo>
                  <a:pt x="184" y="28"/>
                </a:lnTo>
                <a:lnTo>
                  <a:pt x="181" y="28"/>
                </a:lnTo>
                <a:lnTo>
                  <a:pt x="180" y="27"/>
                </a:lnTo>
                <a:lnTo>
                  <a:pt x="178" y="26"/>
                </a:lnTo>
                <a:lnTo>
                  <a:pt x="176" y="24"/>
                </a:lnTo>
                <a:lnTo>
                  <a:pt x="174" y="23"/>
                </a:lnTo>
                <a:lnTo>
                  <a:pt x="172" y="22"/>
                </a:lnTo>
                <a:lnTo>
                  <a:pt x="171" y="17"/>
                </a:lnTo>
                <a:lnTo>
                  <a:pt x="168" y="13"/>
                </a:lnTo>
                <a:lnTo>
                  <a:pt x="166" y="9"/>
                </a:lnTo>
                <a:lnTo>
                  <a:pt x="164" y="7"/>
                </a:lnTo>
                <a:lnTo>
                  <a:pt x="163" y="6"/>
                </a:lnTo>
                <a:lnTo>
                  <a:pt x="161" y="6"/>
                </a:lnTo>
                <a:lnTo>
                  <a:pt x="154" y="4"/>
                </a:lnTo>
                <a:lnTo>
                  <a:pt x="145" y="2"/>
                </a:lnTo>
                <a:lnTo>
                  <a:pt x="136" y="0"/>
                </a:lnTo>
                <a:lnTo>
                  <a:pt x="128" y="0"/>
                </a:lnTo>
                <a:lnTo>
                  <a:pt x="121" y="0"/>
                </a:lnTo>
                <a:lnTo>
                  <a:pt x="117" y="0"/>
                </a:lnTo>
                <a:lnTo>
                  <a:pt x="115" y="1"/>
                </a:lnTo>
                <a:lnTo>
                  <a:pt x="114" y="1"/>
                </a:lnTo>
                <a:lnTo>
                  <a:pt x="113" y="2"/>
                </a:lnTo>
                <a:lnTo>
                  <a:pt x="113" y="4"/>
                </a:lnTo>
                <a:lnTo>
                  <a:pt x="113" y="7"/>
                </a:lnTo>
                <a:lnTo>
                  <a:pt x="115" y="11"/>
                </a:lnTo>
                <a:lnTo>
                  <a:pt x="117" y="14"/>
                </a:lnTo>
                <a:lnTo>
                  <a:pt x="120" y="17"/>
                </a:lnTo>
                <a:lnTo>
                  <a:pt x="121" y="19"/>
                </a:lnTo>
                <a:lnTo>
                  <a:pt x="123" y="23"/>
                </a:lnTo>
                <a:lnTo>
                  <a:pt x="125" y="24"/>
                </a:lnTo>
                <a:lnTo>
                  <a:pt x="125" y="26"/>
                </a:lnTo>
                <a:lnTo>
                  <a:pt x="125" y="29"/>
                </a:lnTo>
                <a:lnTo>
                  <a:pt x="125" y="33"/>
                </a:lnTo>
                <a:lnTo>
                  <a:pt x="125" y="34"/>
                </a:lnTo>
                <a:lnTo>
                  <a:pt x="123" y="36"/>
                </a:lnTo>
                <a:lnTo>
                  <a:pt x="121" y="37"/>
                </a:lnTo>
                <a:lnTo>
                  <a:pt x="120" y="38"/>
                </a:lnTo>
                <a:lnTo>
                  <a:pt x="117" y="38"/>
                </a:lnTo>
                <a:lnTo>
                  <a:pt x="113" y="39"/>
                </a:lnTo>
                <a:lnTo>
                  <a:pt x="108" y="39"/>
                </a:lnTo>
                <a:lnTo>
                  <a:pt x="103" y="38"/>
                </a:lnTo>
                <a:lnTo>
                  <a:pt x="98" y="37"/>
                </a:lnTo>
                <a:lnTo>
                  <a:pt x="94" y="36"/>
                </a:lnTo>
                <a:lnTo>
                  <a:pt x="85" y="33"/>
                </a:lnTo>
                <a:lnTo>
                  <a:pt x="77" y="29"/>
                </a:lnTo>
                <a:lnTo>
                  <a:pt x="69" y="27"/>
                </a:lnTo>
                <a:lnTo>
                  <a:pt x="62" y="24"/>
                </a:lnTo>
                <a:lnTo>
                  <a:pt x="55" y="23"/>
                </a:lnTo>
                <a:lnTo>
                  <a:pt x="47" y="22"/>
                </a:lnTo>
                <a:lnTo>
                  <a:pt x="41" y="23"/>
                </a:lnTo>
                <a:lnTo>
                  <a:pt x="34" y="24"/>
                </a:lnTo>
                <a:lnTo>
                  <a:pt x="32" y="25"/>
                </a:lnTo>
                <a:lnTo>
                  <a:pt x="28" y="27"/>
                </a:lnTo>
                <a:lnTo>
                  <a:pt x="22" y="32"/>
                </a:lnTo>
                <a:lnTo>
                  <a:pt x="10" y="42"/>
                </a:lnTo>
                <a:lnTo>
                  <a:pt x="0" y="53"/>
                </a:lnTo>
                <a:lnTo>
                  <a:pt x="0" y="5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27" name="Freeform 126">
            <a:extLst>
              <a:ext uri="{FF2B5EF4-FFF2-40B4-BE49-F238E27FC236}">
                <a16:creationId xmlns:a16="http://schemas.microsoft.com/office/drawing/2014/main" id="{4877F8D1-D6C6-B0B2-1A56-9E9535DCC8F3}"/>
              </a:ext>
            </a:extLst>
          </p:cNvPr>
          <p:cNvSpPr>
            <a:spLocks/>
          </p:cNvSpPr>
          <p:nvPr/>
        </p:nvSpPr>
        <p:spPr bwMode="auto">
          <a:xfrm>
            <a:off x="9610100" y="3666971"/>
            <a:ext cx="117475" cy="153988"/>
          </a:xfrm>
          <a:custGeom>
            <a:avLst/>
            <a:gdLst>
              <a:gd name="T0" fmla="*/ 13 w 58"/>
              <a:gd name="T1" fmla="*/ 0 h 82"/>
              <a:gd name="T2" fmla="*/ 14 w 58"/>
              <a:gd name="T3" fmla="*/ 3 h 82"/>
              <a:gd name="T4" fmla="*/ 14 w 58"/>
              <a:gd name="T5" fmla="*/ 4 h 82"/>
              <a:gd name="T6" fmla="*/ 14 w 58"/>
              <a:gd name="T7" fmla="*/ 6 h 82"/>
              <a:gd name="T8" fmla="*/ 12 w 58"/>
              <a:gd name="T9" fmla="*/ 8 h 82"/>
              <a:gd name="T10" fmla="*/ 11 w 58"/>
              <a:gd name="T11" fmla="*/ 9 h 82"/>
              <a:gd name="T12" fmla="*/ 9 w 58"/>
              <a:gd name="T13" fmla="*/ 10 h 82"/>
              <a:gd name="T14" fmla="*/ 4 w 58"/>
              <a:gd name="T15" fmla="*/ 10 h 82"/>
              <a:gd name="T16" fmla="*/ 0 w 58"/>
              <a:gd name="T17" fmla="*/ 10 h 82"/>
              <a:gd name="T18" fmla="*/ 0 w 58"/>
              <a:gd name="T19" fmla="*/ 15 h 82"/>
              <a:gd name="T20" fmla="*/ 0 w 58"/>
              <a:gd name="T21" fmla="*/ 16 h 82"/>
              <a:gd name="T22" fmla="*/ 1 w 58"/>
              <a:gd name="T23" fmla="*/ 17 h 82"/>
              <a:gd name="T24" fmla="*/ 3 w 58"/>
              <a:gd name="T25" fmla="*/ 22 h 82"/>
              <a:gd name="T26" fmla="*/ 4 w 58"/>
              <a:gd name="T27" fmla="*/ 27 h 82"/>
              <a:gd name="T28" fmla="*/ 4 w 58"/>
              <a:gd name="T29" fmla="*/ 30 h 82"/>
              <a:gd name="T30" fmla="*/ 5 w 58"/>
              <a:gd name="T31" fmla="*/ 35 h 82"/>
              <a:gd name="T32" fmla="*/ 6 w 58"/>
              <a:gd name="T33" fmla="*/ 43 h 82"/>
              <a:gd name="T34" fmla="*/ 8 w 58"/>
              <a:gd name="T35" fmla="*/ 51 h 82"/>
              <a:gd name="T36" fmla="*/ 10 w 58"/>
              <a:gd name="T37" fmla="*/ 59 h 82"/>
              <a:gd name="T38" fmla="*/ 14 w 58"/>
              <a:gd name="T39" fmla="*/ 67 h 82"/>
              <a:gd name="T40" fmla="*/ 18 w 58"/>
              <a:gd name="T41" fmla="*/ 74 h 82"/>
              <a:gd name="T42" fmla="*/ 19 w 58"/>
              <a:gd name="T43" fmla="*/ 77 h 82"/>
              <a:gd name="T44" fmla="*/ 22 w 58"/>
              <a:gd name="T45" fmla="*/ 79 h 82"/>
              <a:gd name="T46" fmla="*/ 23 w 58"/>
              <a:gd name="T47" fmla="*/ 80 h 82"/>
              <a:gd name="T48" fmla="*/ 25 w 58"/>
              <a:gd name="T49" fmla="*/ 81 h 82"/>
              <a:gd name="T50" fmla="*/ 28 w 58"/>
              <a:gd name="T51" fmla="*/ 80 h 82"/>
              <a:gd name="T52" fmla="*/ 33 w 58"/>
              <a:gd name="T53" fmla="*/ 79 h 82"/>
              <a:gd name="T54" fmla="*/ 39 w 58"/>
              <a:gd name="T55" fmla="*/ 77 h 82"/>
              <a:gd name="T56" fmla="*/ 44 w 58"/>
              <a:gd name="T57" fmla="*/ 75 h 82"/>
              <a:gd name="T58" fmla="*/ 49 w 58"/>
              <a:gd name="T59" fmla="*/ 72 h 82"/>
              <a:gd name="T60" fmla="*/ 50 w 58"/>
              <a:gd name="T61" fmla="*/ 70 h 82"/>
              <a:gd name="T62" fmla="*/ 53 w 58"/>
              <a:gd name="T63" fmla="*/ 68 h 82"/>
              <a:gd name="T64" fmla="*/ 55 w 58"/>
              <a:gd name="T65" fmla="*/ 65 h 82"/>
              <a:gd name="T66" fmla="*/ 57 w 58"/>
              <a:gd name="T67" fmla="*/ 64 h 82"/>
              <a:gd name="T68" fmla="*/ 57 w 58"/>
              <a:gd name="T69" fmla="*/ 62 h 82"/>
              <a:gd name="T70" fmla="*/ 57 w 58"/>
              <a:gd name="T71" fmla="*/ 57 h 82"/>
              <a:gd name="T72" fmla="*/ 55 w 58"/>
              <a:gd name="T73" fmla="*/ 54 h 82"/>
              <a:gd name="T74" fmla="*/ 53 w 58"/>
              <a:gd name="T75" fmla="*/ 49 h 82"/>
              <a:gd name="T76" fmla="*/ 52 w 58"/>
              <a:gd name="T77" fmla="*/ 44 h 82"/>
              <a:gd name="T78" fmla="*/ 46 w 58"/>
              <a:gd name="T79" fmla="*/ 36 h 82"/>
              <a:gd name="T80" fmla="*/ 40 w 58"/>
              <a:gd name="T81" fmla="*/ 27 h 82"/>
              <a:gd name="T82" fmla="*/ 32 w 58"/>
              <a:gd name="T83" fmla="*/ 20 h 82"/>
              <a:gd name="T84" fmla="*/ 25 w 58"/>
              <a:gd name="T85" fmla="*/ 12 h 82"/>
              <a:gd name="T86" fmla="*/ 13 w 58"/>
              <a:gd name="T87" fmla="*/ 0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8" h="82">
                <a:moveTo>
                  <a:pt x="13" y="0"/>
                </a:moveTo>
                <a:lnTo>
                  <a:pt x="14" y="3"/>
                </a:lnTo>
                <a:lnTo>
                  <a:pt x="14" y="4"/>
                </a:lnTo>
                <a:lnTo>
                  <a:pt x="14" y="6"/>
                </a:lnTo>
                <a:lnTo>
                  <a:pt x="12" y="8"/>
                </a:lnTo>
                <a:lnTo>
                  <a:pt x="11" y="9"/>
                </a:lnTo>
                <a:lnTo>
                  <a:pt x="9" y="10"/>
                </a:lnTo>
                <a:lnTo>
                  <a:pt x="4" y="10"/>
                </a:lnTo>
                <a:lnTo>
                  <a:pt x="0" y="10"/>
                </a:lnTo>
                <a:lnTo>
                  <a:pt x="0" y="15"/>
                </a:lnTo>
                <a:lnTo>
                  <a:pt x="0" y="16"/>
                </a:lnTo>
                <a:lnTo>
                  <a:pt x="1" y="17"/>
                </a:lnTo>
                <a:lnTo>
                  <a:pt x="3" y="22"/>
                </a:lnTo>
                <a:lnTo>
                  <a:pt x="4" y="27"/>
                </a:lnTo>
                <a:lnTo>
                  <a:pt x="4" y="30"/>
                </a:lnTo>
                <a:lnTo>
                  <a:pt x="5" y="35"/>
                </a:lnTo>
                <a:lnTo>
                  <a:pt x="6" y="43"/>
                </a:lnTo>
                <a:lnTo>
                  <a:pt x="8" y="51"/>
                </a:lnTo>
                <a:lnTo>
                  <a:pt x="10" y="59"/>
                </a:lnTo>
                <a:lnTo>
                  <a:pt x="14" y="67"/>
                </a:lnTo>
                <a:lnTo>
                  <a:pt x="18" y="74"/>
                </a:lnTo>
                <a:lnTo>
                  <a:pt x="19" y="77"/>
                </a:lnTo>
                <a:lnTo>
                  <a:pt x="22" y="79"/>
                </a:lnTo>
                <a:lnTo>
                  <a:pt x="23" y="80"/>
                </a:lnTo>
                <a:lnTo>
                  <a:pt x="25" y="81"/>
                </a:lnTo>
                <a:lnTo>
                  <a:pt x="28" y="80"/>
                </a:lnTo>
                <a:lnTo>
                  <a:pt x="33" y="79"/>
                </a:lnTo>
                <a:lnTo>
                  <a:pt x="39" y="77"/>
                </a:lnTo>
                <a:lnTo>
                  <a:pt x="44" y="75"/>
                </a:lnTo>
                <a:lnTo>
                  <a:pt x="49" y="72"/>
                </a:lnTo>
                <a:lnTo>
                  <a:pt x="50" y="70"/>
                </a:lnTo>
                <a:lnTo>
                  <a:pt x="53" y="68"/>
                </a:lnTo>
                <a:lnTo>
                  <a:pt x="55" y="65"/>
                </a:lnTo>
                <a:lnTo>
                  <a:pt x="57" y="64"/>
                </a:lnTo>
                <a:lnTo>
                  <a:pt x="57" y="62"/>
                </a:lnTo>
                <a:lnTo>
                  <a:pt x="57" y="57"/>
                </a:lnTo>
                <a:lnTo>
                  <a:pt x="55" y="54"/>
                </a:lnTo>
                <a:lnTo>
                  <a:pt x="53" y="49"/>
                </a:lnTo>
                <a:lnTo>
                  <a:pt x="52" y="44"/>
                </a:lnTo>
                <a:lnTo>
                  <a:pt x="46" y="36"/>
                </a:lnTo>
                <a:lnTo>
                  <a:pt x="40" y="27"/>
                </a:lnTo>
                <a:lnTo>
                  <a:pt x="32" y="20"/>
                </a:lnTo>
                <a:lnTo>
                  <a:pt x="25" y="12"/>
                </a:lnTo>
                <a:lnTo>
                  <a:pt x="13" y="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28" name="Freeform 127">
            <a:extLst>
              <a:ext uri="{FF2B5EF4-FFF2-40B4-BE49-F238E27FC236}">
                <a16:creationId xmlns:a16="http://schemas.microsoft.com/office/drawing/2014/main" id="{C748B10D-5008-C96E-FBBA-7999C242419E}"/>
              </a:ext>
            </a:extLst>
          </p:cNvPr>
          <p:cNvSpPr>
            <a:spLocks/>
          </p:cNvSpPr>
          <p:nvPr/>
        </p:nvSpPr>
        <p:spPr bwMode="auto">
          <a:xfrm>
            <a:off x="9506913" y="3514571"/>
            <a:ext cx="141288" cy="184150"/>
          </a:xfrm>
          <a:custGeom>
            <a:avLst/>
            <a:gdLst>
              <a:gd name="T0" fmla="*/ 56 w 71"/>
              <a:gd name="T1" fmla="*/ 74 h 99"/>
              <a:gd name="T2" fmla="*/ 49 w 71"/>
              <a:gd name="T3" fmla="*/ 67 h 99"/>
              <a:gd name="T4" fmla="*/ 50 w 71"/>
              <a:gd name="T5" fmla="*/ 63 h 99"/>
              <a:gd name="T6" fmla="*/ 52 w 71"/>
              <a:gd name="T7" fmla="*/ 60 h 99"/>
              <a:gd name="T8" fmla="*/ 59 w 71"/>
              <a:gd name="T9" fmla="*/ 56 h 99"/>
              <a:gd name="T10" fmla="*/ 66 w 71"/>
              <a:gd name="T11" fmla="*/ 50 h 99"/>
              <a:gd name="T12" fmla="*/ 68 w 71"/>
              <a:gd name="T13" fmla="*/ 48 h 99"/>
              <a:gd name="T14" fmla="*/ 70 w 71"/>
              <a:gd name="T15" fmla="*/ 43 h 99"/>
              <a:gd name="T16" fmla="*/ 68 w 71"/>
              <a:gd name="T17" fmla="*/ 38 h 99"/>
              <a:gd name="T18" fmla="*/ 63 w 71"/>
              <a:gd name="T19" fmla="*/ 30 h 99"/>
              <a:gd name="T20" fmla="*/ 63 w 71"/>
              <a:gd name="T21" fmla="*/ 24 h 99"/>
              <a:gd name="T22" fmla="*/ 63 w 71"/>
              <a:gd name="T23" fmla="*/ 16 h 99"/>
              <a:gd name="T24" fmla="*/ 63 w 71"/>
              <a:gd name="T25" fmla="*/ 0 h 99"/>
              <a:gd name="T26" fmla="*/ 62 w 71"/>
              <a:gd name="T27" fmla="*/ 3 h 99"/>
              <a:gd name="T28" fmla="*/ 58 w 71"/>
              <a:gd name="T29" fmla="*/ 6 h 99"/>
              <a:gd name="T30" fmla="*/ 54 w 71"/>
              <a:gd name="T31" fmla="*/ 6 h 99"/>
              <a:gd name="T32" fmla="*/ 49 w 71"/>
              <a:gd name="T33" fmla="*/ 0 h 99"/>
              <a:gd name="T34" fmla="*/ 43 w 71"/>
              <a:gd name="T35" fmla="*/ 13 h 99"/>
              <a:gd name="T36" fmla="*/ 38 w 71"/>
              <a:gd name="T37" fmla="*/ 21 h 99"/>
              <a:gd name="T38" fmla="*/ 38 w 71"/>
              <a:gd name="T39" fmla="*/ 24 h 99"/>
              <a:gd name="T40" fmla="*/ 28 w 71"/>
              <a:gd name="T41" fmla="*/ 28 h 99"/>
              <a:gd name="T42" fmla="*/ 24 w 71"/>
              <a:gd name="T43" fmla="*/ 26 h 99"/>
              <a:gd name="T44" fmla="*/ 21 w 71"/>
              <a:gd name="T45" fmla="*/ 24 h 99"/>
              <a:gd name="T46" fmla="*/ 10 w 71"/>
              <a:gd name="T47" fmla="*/ 38 h 99"/>
              <a:gd name="T48" fmla="*/ 2 w 71"/>
              <a:gd name="T49" fmla="*/ 54 h 99"/>
              <a:gd name="T50" fmla="*/ 4 w 71"/>
              <a:gd name="T51" fmla="*/ 57 h 99"/>
              <a:gd name="T52" fmla="*/ 13 w 71"/>
              <a:gd name="T53" fmla="*/ 60 h 99"/>
              <a:gd name="T54" fmla="*/ 18 w 71"/>
              <a:gd name="T55" fmla="*/ 68 h 99"/>
              <a:gd name="T56" fmla="*/ 23 w 71"/>
              <a:gd name="T57" fmla="*/ 77 h 99"/>
              <a:gd name="T58" fmla="*/ 23 w 71"/>
              <a:gd name="T59" fmla="*/ 85 h 99"/>
              <a:gd name="T60" fmla="*/ 21 w 71"/>
              <a:gd name="T61" fmla="*/ 89 h 99"/>
              <a:gd name="T62" fmla="*/ 22 w 71"/>
              <a:gd name="T63" fmla="*/ 91 h 99"/>
              <a:gd name="T64" fmla="*/ 29 w 71"/>
              <a:gd name="T65" fmla="*/ 94 h 99"/>
              <a:gd name="T66" fmla="*/ 47 w 71"/>
              <a:gd name="T67" fmla="*/ 96 h 99"/>
              <a:gd name="T68" fmla="*/ 52 w 71"/>
              <a:gd name="T69" fmla="*/ 92 h 99"/>
              <a:gd name="T70" fmla="*/ 61 w 71"/>
              <a:gd name="T71" fmla="*/ 92 h 99"/>
              <a:gd name="T72" fmla="*/ 65 w 71"/>
              <a:gd name="T73" fmla="*/ 91 h 99"/>
              <a:gd name="T74" fmla="*/ 66 w 71"/>
              <a:gd name="T75" fmla="*/ 87 h 99"/>
              <a:gd name="T76" fmla="*/ 66 w 71"/>
              <a:gd name="T77" fmla="*/ 85 h 99"/>
              <a:gd name="T78" fmla="*/ 63 w 71"/>
              <a:gd name="T79" fmla="*/ 81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71" h="99">
                <a:moveTo>
                  <a:pt x="63" y="81"/>
                </a:moveTo>
                <a:lnTo>
                  <a:pt x="56" y="74"/>
                </a:lnTo>
                <a:lnTo>
                  <a:pt x="52" y="69"/>
                </a:lnTo>
                <a:lnTo>
                  <a:pt x="49" y="67"/>
                </a:lnTo>
                <a:lnTo>
                  <a:pt x="49" y="64"/>
                </a:lnTo>
                <a:lnTo>
                  <a:pt x="50" y="63"/>
                </a:lnTo>
                <a:lnTo>
                  <a:pt x="52" y="62"/>
                </a:lnTo>
                <a:lnTo>
                  <a:pt x="52" y="60"/>
                </a:lnTo>
                <a:lnTo>
                  <a:pt x="56" y="58"/>
                </a:lnTo>
                <a:lnTo>
                  <a:pt x="59" y="56"/>
                </a:lnTo>
                <a:lnTo>
                  <a:pt x="63" y="54"/>
                </a:lnTo>
                <a:lnTo>
                  <a:pt x="66" y="50"/>
                </a:lnTo>
                <a:lnTo>
                  <a:pt x="67" y="50"/>
                </a:lnTo>
                <a:lnTo>
                  <a:pt x="68" y="48"/>
                </a:lnTo>
                <a:lnTo>
                  <a:pt x="70" y="45"/>
                </a:lnTo>
                <a:lnTo>
                  <a:pt x="70" y="43"/>
                </a:lnTo>
                <a:lnTo>
                  <a:pt x="68" y="40"/>
                </a:lnTo>
                <a:lnTo>
                  <a:pt x="68" y="38"/>
                </a:lnTo>
                <a:lnTo>
                  <a:pt x="66" y="33"/>
                </a:lnTo>
                <a:lnTo>
                  <a:pt x="63" y="30"/>
                </a:lnTo>
                <a:lnTo>
                  <a:pt x="63" y="27"/>
                </a:lnTo>
                <a:lnTo>
                  <a:pt x="63" y="24"/>
                </a:lnTo>
                <a:lnTo>
                  <a:pt x="63" y="20"/>
                </a:lnTo>
                <a:lnTo>
                  <a:pt x="63" y="16"/>
                </a:lnTo>
                <a:lnTo>
                  <a:pt x="66" y="8"/>
                </a:lnTo>
                <a:lnTo>
                  <a:pt x="63" y="0"/>
                </a:lnTo>
                <a:lnTo>
                  <a:pt x="63" y="2"/>
                </a:lnTo>
                <a:lnTo>
                  <a:pt x="62" y="3"/>
                </a:lnTo>
                <a:lnTo>
                  <a:pt x="60" y="5"/>
                </a:lnTo>
                <a:lnTo>
                  <a:pt x="58" y="6"/>
                </a:lnTo>
                <a:lnTo>
                  <a:pt x="56" y="6"/>
                </a:lnTo>
                <a:lnTo>
                  <a:pt x="54" y="6"/>
                </a:lnTo>
                <a:lnTo>
                  <a:pt x="53" y="4"/>
                </a:lnTo>
                <a:lnTo>
                  <a:pt x="49" y="0"/>
                </a:lnTo>
                <a:lnTo>
                  <a:pt x="47" y="6"/>
                </a:lnTo>
                <a:lnTo>
                  <a:pt x="43" y="13"/>
                </a:lnTo>
                <a:lnTo>
                  <a:pt x="39" y="18"/>
                </a:lnTo>
                <a:lnTo>
                  <a:pt x="38" y="21"/>
                </a:lnTo>
                <a:lnTo>
                  <a:pt x="38" y="23"/>
                </a:lnTo>
                <a:lnTo>
                  <a:pt x="38" y="24"/>
                </a:lnTo>
                <a:lnTo>
                  <a:pt x="39" y="28"/>
                </a:lnTo>
                <a:lnTo>
                  <a:pt x="28" y="28"/>
                </a:lnTo>
                <a:lnTo>
                  <a:pt x="26" y="27"/>
                </a:lnTo>
                <a:lnTo>
                  <a:pt x="24" y="26"/>
                </a:lnTo>
                <a:lnTo>
                  <a:pt x="22" y="24"/>
                </a:lnTo>
                <a:lnTo>
                  <a:pt x="21" y="24"/>
                </a:lnTo>
                <a:lnTo>
                  <a:pt x="17" y="28"/>
                </a:lnTo>
                <a:lnTo>
                  <a:pt x="10" y="38"/>
                </a:lnTo>
                <a:lnTo>
                  <a:pt x="3" y="49"/>
                </a:lnTo>
                <a:lnTo>
                  <a:pt x="2" y="54"/>
                </a:lnTo>
                <a:lnTo>
                  <a:pt x="0" y="56"/>
                </a:lnTo>
                <a:lnTo>
                  <a:pt x="4" y="57"/>
                </a:lnTo>
                <a:lnTo>
                  <a:pt x="9" y="58"/>
                </a:lnTo>
                <a:lnTo>
                  <a:pt x="13" y="60"/>
                </a:lnTo>
                <a:lnTo>
                  <a:pt x="16" y="64"/>
                </a:lnTo>
                <a:lnTo>
                  <a:pt x="18" y="68"/>
                </a:lnTo>
                <a:lnTo>
                  <a:pt x="21" y="73"/>
                </a:lnTo>
                <a:lnTo>
                  <a:pt x="23" y="77"/>
                </a:lnTo>
                <a:lnTo>
                  <a:pt x="26" y="83"/>
                </a:lnTo>
                <a:lnTo>
                  <a:pt x="23" y="85"/>
                </a:lnTo>
                <a:lnTo>
                  <a:pt x="21" y="87"/>
                </a:lnTo>
                <a:lnTo>
                  <a:pt x="21" y="89"/>
                </a:lnTo>
                <a:lnTo>
                  <a:pt x="21" y="91"/>
                </a:lnTo>
                <a:lnTo>
                  <a:pt x="22" y="91"/>
                </a:lnTo>
                <a:lnTo>
                  <a:pt x="24" y="92"/>
                </a:lnTo>
                <a:lnTo>
                  <a:pt x="29" y="94"/>
                </a:lnTo>
                <a:lnTo>
                  <a:pt x="41" y="95"/>
                </a:lnTo>
                <a:lnTo>
                  <a:pt x="47" y="96"/>
                </a:lnTo>
                <a:lnTo>
                  <a:pt x="52" y="98"/>
                </a:lnTo>
                <a:lnTo>
                  <a:pt x="52" y="92"/>
                </a:lnTo>
                <a:lnTo>
                  <a:pt x="56" y="92"/>
                </a:lnTo>
                <a:lnTo>
                  <a:pt x="61" y="92"/>
                </a:lnTo>
                <a:lnTo>
                  <a:pt x="63" y="91"/>
                </a:lnTo>
                <a:lnTo>
                  <a:pt x="65" y="91"/>
                </a:lnTo>
                <a:lnTo>
                  <a:pt x="66" y="89"/>
                </a:lnTo>
                <a:lnTo>
                  <a:pt x="66" y="87"/>
                </a:lnTo>
                <a:lnTo>
                  <a:pt x="66" y="86"/>
                </a:lnTo>
                <a:lnTo>
                  <a:pt x="66" y="85"/>
                </a:lnTo>
                <a:lnTo>
                  <a:pt x="66" y="82"/>
                </a:lnTo>
                <a:lnTo>
                  <a:pt x="63" y="81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29" name="Freeform 128">
            <a:extLst>
              <a:ext uri="{FF2B5EF4-FFF2-40B4-BE49-F238E27FC236}">
                <a16:creationId xmlns:a16="http://schemas.microsoft.com/office/drawing/2014/main" id="{1D679926-B6FC-4032-F93E-9DA9A633ABBF}"/>
              </a:ext>
            </a:extLst>
          </p:cNvPr>
          <p:cNvSpPr>
            <a:spLocks/>
          </p:cNvSpPr>
          <p:nvPr/>
        </p:nvSpPr>
        <p:spPr bwMode="auto">
          <a:xfrm>
            <a:off x="8141663" y="3149446"/>
            <a:ext cx="1497013" cy="1176338"/>
          </a:xfrm>
          <a:custGeom>
            <a:avLst/>
            <a:gdLst>
              <a:gd name="T0" fmla="*/ 394 w 742"/>
              <a:gd name="T1" fmla="*/ 487 h 630"/>
              <a:gd name="T2" fmla="*/ 395 w 742"/>
              <a:gd name="T3" fmla="*/ 530 h 630"/>
              <a:gd name="T4" fmla="*/ 404 w 742"/>
              <a:gd name="T5" fmla="*/ 557 h 630"/>
              <a:gd name="T6" fmla="*/ 421 w 742"/>
              <a:gd name="T7" fmla="*/ 579 h 630"/>
              <a:gd name="T8" fmla="*/ 443 w 742"/>
              <a:gd name="T9" fmla="*/ 608 h 630"/>
              <a:gd name="T10" fmla="*/ 453 w 742"/>
              <a:gd name="T11" fmla="*/ 589 h 630"/>
              <a:gd name="T12" fmla="*/ 497 w 742"/>
              <a:gd name="T13" fmla="*/ 574 h 630"/>
              <a:gd name="T14" fmla="*/ 523 w 742"/>
              <a:gd name="T15" fmla="*/ 583 h 630"/>
              <a:gd name="T16" fmla="*/ 563 w 742"/>
              <a:gd name="T17" fmla="*/ 602 h 630"/>
              <a:gd name="T18" fmla="*/ 586 w 742"/>
              <a:gd name="T19" fmla="*/ 622 h 630"/>
              <a:gd name="T20" fmla="*/ 629 w 742"/>
              <a:gd name="T21" fmla="*/ 592 h 630"/>
              <a:gd name="T22" fmla="*/ 668 w 742"/>
              <a:gd name="T23" fmla="*/ 575 h 630"/>
              <a:gd name="T24" fmla="*/ 698 w 742"/>
              <a:gd name="T25" fmla="*/ 530 h 630"/>
              <a:gd name="T26" fmla="*/ 715 w 742"/>
              <a:gd name="T27" fmla="*/ 451 h 630"/>
              <a:gd name="T28" fmla="*/ 701 w 742"/>
              <a:gd name="T29" fmla="*/ 415 h 630"/>
              <a:gd name="T30" fmla="*/ 665 w 742"/>
              <a:gd name="T31" fmla="*/ 357 h 630"/>
              <a:gd name="T32" fmla="*/ 654 w 742"/>
              <a:gd name="T33" fmla="*/ 326 h 630"/>
              <a:gd name="T34" fmla="*/ 645 w 742"/>
              <a:gd name="T35" fmla="*/ 294 h 630"/>
              <a:gd name="T36" fmla="*/ 608 w 742"/>
              <a:gd name="T37" fmla="*/ 266 h 630"/>
              <a:gd name="T38" fmla="*/ 635 w 742"/>
              <a:gd name="T39" fmla="*/ 233 h 630"/>
              <a:gd name="T40" fmla="*/ 664 w 742"/>
              <a:gd name="T41" fmla="*/ 258 h 630"/>
              <a:gd name="T42" fmla="*/ 700 w 742"/>
              <a:gd name="T43" fmla="*/ 220 h 630"/>
              <a:gd name="T44" fmla="*/ 731 w 742"/>
              <a:gd name="T45" fmla="*/ 201 h 630"/>
              <a:gd name="T46" fmla="*/ 722 w 742"/>
              <a:gd name="T47" fmla="*/ 149 h 630"/>
              <a:gd name="T48" fmla="*/ 737 w 742"/>
              <a:gd name="T49" fmla="*/ 109 h 630"/>
              <a:gd name="T50" fmla="*/ 689 w 742"/>
              <a:gd name="T51" fmla="*/ 105 h 630"/>
              <a:gd name="T52" fmla="*/ 635 w 742"/>
              <a:gd name="T53" fmla="*/ 69 h 630"/>
              <a:gd name="T54" fmla="*/ 560 w 742"/>
              <a:gd name="T55" fmla="*/ 7 h 630"/>
              <a:gd name="T56" fmla="*/ 496 w 742"/>
              <a:gd name="T57" fmla="*/ 17 h 630"/>
              <a:gd name="T58" fmla="*/ 510 w 742"/>
              <a:gd name="T59" fmla="*/ 65 h 630"/>
              <a:gd name="T60" fmla="*/ 484 w 742"/>
              <a:gd name="T61" fmla="*/ 86 h 630"/>
              <a:gd name="T62" fmla="*/ 526 w 742"/>
              <a:gd name="T63" fmla="*/ 102 h 630"/>
              <a:gd name="T64" fmla="*/ 533 w 742"/>
              <a:gd name="T65" fmla="*/ 128 h 630"/>
              <a:gd name="T66" fmla="*/ 515 w 742"/>
              <a:gd name="T67" fmla="*/ 148 h 630"/>
              <a:gd name="T68" fmla="*/ 477 w 742"/>
              <a:gd name="T69" fmla="*/ 158 h 630"/>
              <a:gd name="T70" fmla="*/ 470 w 742"/>
              <a:gd name="T71" fmla="*/ 170 h 630"/>
              <a:gd name="T72" fmla="*/ 472 w 742"/>
              <a:gd name="T73" fmla="*/ 194 h 630"/>
              <a:gd name="T74" fmla="*/ 395 w 742"/>
              <a:gd name="T75" fmla="*/ 219 h 630"/>
              <a:gd name="T76" fmla="*/ 276 w 742"/>
              <a:gd name="T77" fmla="*/ 195 h 630"/>
              <a:gd name="T78" fmla="*/ 188 w 742"/>
              <a:gd name="T79" fmla="*/ 154 h 630"/>
              <a:gd name="T80" fmla="*/ 157 w 742"/>
              <a:gd name="T81" fmla="*/ 104 h 630"/>
              <a:gd name="T82" fmla="*/ 102 w 742"/>
              <a:gd name="T83" fmla="*/ 98 h 630"/>
              <a:gd name="T84" fmla="*/ 80 w 742"/>
              <a:gd name="T85" fmla="*/ 116 h 630"/>
              <a:gd name="T86" fmla="*/ 65 w 742"/>
              <a:gd name="T87" fmla="*/ 154 h 630"/>
              <a:gd name="T88" fmla="*/ 68 w 742"/>
              <a:gd name="T89" fmla="*/ 210 h 630"/>
              <a:gd name="T90" fmla="*/ 6 w 742"/>
              <a:gd name="T91" fmla="*/ 253 h 630"/>
              <a:gd name="T92" fmla="*/ 11 w 742"/>
              <a:gd name="T93" fmla="*/ 279 h 630"/>
              <a:gd name="T94" fmla="*/ 16 w 742"/>
              <a:gd name="T95" fmla="*/ 307 h 630"/>
              <a:gd name="T96" fmla="*/ 46 w 742"/>
              <a:gd name="T97" fmla="*/ 325 h 630"/>
              <a:gd name="T98" fmla="*/ 71 w 742"/>
              <a:gd name="T99" fmla="*/ 342 h 630"/>
              <a:gd name="T100" fmla="*/ 105 w 742"/>
              <a:gd name="T101" fmla="*/ 340 h 630"/>
              <a:gd name="T102" fmla="*/ 98 w 742"/>
              <a:gd name="T103" fmla="*/ 375 h 630"/>
              <a:gd name="T104" fmla="*/ 104 w 742"/>
              <a:gd name="T105" fmla="*/ 414 h 630"/>
              <a:gd name="T106" fmla="*/ 149 w 742"/>
              <a:gd name="T107" fmla="*/ 438 h 630"/>
              <a:gd name="T108" fmla="*/ 206 w 742"/>
              <a:gd name="T109" fmla="*/ 477 h 630"/>
              <a:gd name="T110" fmla="*/ 230 w 742"/>
              <a:gd name="T111" fmla="*/ 487 h 630"/>
              <a:gd name="T112" fmla="*/ 257 w 742"/>
              <a:gd name="T113" fmla="*/ 487 h 630"/>
              <a:gd name="T114" fmla="*/ 286 w 742"/>
              <a:gd name="T115" fmla="*/ 483 h 630"/>
              <a:gd name="T116" fmla="*/ 312 w 742"/>
              <a:gd name="T117" fmla="*/ 478 h 630"/>
              <a:gd name="T118" fmla="*/ 344 w 742"/>
              <a:gd name="T119" fmla="*/ 461 h 630"/>
              <a:gd name="T120" fmla="*/ 366 w 742"/>
              <a:gd name="T121" fmla="*/ 474 h 6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742" h="630">
                <a:moveTo>
                  <a:pt x="375" y="473"/>
                </a:moveTo>
                <a:lnTo>
                  <a:pt x="379" y="473"/>
                </a:lnTo>
                <a:lnTo>
                  <a:pt x="381" y="474"/>
                </a:lnTo>
                <a:lnTo>
                  <a:pt x="383" y="474"/>
                </a:lnTo>
                <a:lnTo>
                  <a:pt x="384" y="476"/>
                </a:lnTo>
                <a:lnTo>
                  <a:pt x="385" y="477"/>
                </a:lnTo>
                <a:lnTo>
                  <a:pt x="386" y="480"/>
                </a:lnTo>
                <a:lnTo>
                  <a:pt x="388" y="484"/>
                </a:lnTo>
                <a:lnTo>
                  <a:pt x="388" y="486"/>
                </a:lnTo>
                <a:lnTo>
                  <a:pt x="390" y="487"/>
                </a:lnTo>
                <a:lnTo>
                  <a:pt x="392" y="487"/>
                </a:lnTo>
                <a:lnTo>
                  <a:pt x="394" y="487"/>
                </a:lnTo>
                <a:lnTo>
                  <a:pt x="395" y="490"/>
                </a:lnTo>
                <a:lnTo>
                  <a:pt x="397" y="492"/>
                </a:lnTo>
                <a:lnTo>
                  <a:pt x="399" y="501"/>
                </a:lnTo>
                <a:lnTo>
                  <a:pt x="401" y="512"/>
                </a:lnTo>
                <a:lnTo>
                  <a:pt x="402" y="518"/>
                </a:lnTo>
                <a:lnTo>
                  <a:pt x="402" y="523"/>
                </a:lnTo>
                <a:lnTo>
                  <a:pt x="401" y="523"/>
                </a:lnTo>
                <a:lnTo>
                  <a:pt x="402" y="525"/>
                </a:lnTo>
                <a:lnTo>
                  <a:pt x="399" y="526"/>
                </a:lnTo>
                <a:lnTo>
                  <a:pt x="397" y="527"/>
                </a:lnTo>
                <a:lnTo>
                  <a:pt x="395" y="528"/>
                </a:lnTo>
                <a:lnTo>
                  <a:pt x="395" y="530"/>
                </a:lnTo>
                <a:lnTo>
                  <a:pt x="394" y="532"/>
                </a:lnTo>
                <a:lnTo>
                  <a:pt x="392" y="535"/>
                </a:lnTo>
                <a:lnTo>
                  <a:pt x="392" y="537"/>
                </a:lnTo>
                <a:lnTo>
                  <a:pt x="391" y="540"/>
                </a:lnTo>
                <a:lnTo>
                  <a:pt x="391" y="543"/>
                </a:lnTo>
                <a:lnTo>
                  <a:pt x="391" y="548"/>
                </a:lnTo>
                <a:lnTo>
                  <a:pt x="393" y="553"/>
                </a:lnTo>
                <a:lnTo>
                  <a:pt x="394" y="554"/>
                </a:lnTo>
                <a:lnTo>
                  <a:pt x="395" y="555"/>
                </a:lnTo>
                <a:lnTo>
                  <a:pt x="397" y="557"/>
                </a:lnTo>
                <a:lnTo>
                  <a:pt x="398" y="557"/>
                </a:lnTo>
                <a:lnTo>
                  <a:pt x="404" y="557"/>
                </a:lnTo>
                <a:lnTo>
                  <a:pt x="406" y="557"/>
                </a:lnTo>
                <a:lnTo>
                  <a:pt x="407" y="558"/>
                </a:lnTo>
                <a:lnTo>
                  <a:pt x="408" y="561"/>
                </a:lnTo>
                <a:lnTo>
                  <a:pt x="411" y="564"/>
                </a:lnTo>
                <a:lnTo>
                  <a:pt x="411" y="568"/>
                </a:lnTo>
                <a:lnTo>
                  <a:pt x="412" y="570"/>
                </a:lnTo>
                <a:lnTo>
                  <a:pt x="413" y="571"/>
                </a:lnTo>
                <a:lnTo>
                  <a:pt x="415" y="573"/>
                </a:lnTo>
                <a:lnTo>
                  <a:pt x="418" y="575"/>
                </a:lnTo>
                <a:lnTo>
                  <a:pt x="420" y="576"/>
                </a:lnTo>
                <a:lnTo>
                  <a:pt x="421" y="577"/>
                </a:lnTo>
                <a:lnTo>
                  <a:pt x="421" y="579"/>
                </a:lnTo>
                <a:lnTo>
                  <a:pt x="421" y="584"/>
                </a:lnTo>
                <a:lnTo>
                  <a:pt x="421" y="589"/>
                </a:lnTo>
                <a:lnTo>
                  <a:pt x="421" y="592"/>
                </a:lnTo>
                <a:lnTo>
                  <a:pt x="424" y="594"/>
                </a:lnTo>
                <a:lnTo>
                  <a:pt x="426" y="596"/>
                </a:lnTo>
                <a:lnTo>
                  <a:pt x="429" y="599"/>
                </a:lnTo>
                <a:lnTo>
                  <a:pt x="431" y="601"/>
                </a:lnTo>
                <a:lnTo>
                  <a:pt x="434" y="603"/>
                </a:lnTo>
                <a:lnTo>
                  <a:pt x="435" y="605"/>
                </a:lnTo>
                <a:lnTo>
                  <a:pt x="438" y="607"/>
                </a:lnTo>
                <a:lnTo>
                  <a:pt x="442" y="607"/>
                </a:lnTo>
                <a:lnTo>
                  <a:pt x="443" y="608"/>
                </a:lnTo>
                <a:lnTo>
                  <a:pt x="444" y="605"/>
                </a:lnTo>
                <a:lnTo>
                  <a:pt x="447" y="603"/>
                </a:lnTo>
                <a:lnTo>
                  <a:pt x="448" y="606"/>
                </a:lnTo>
                <a:lnTo>
                  <a:pt x="451" y="608"/>
                </a:lnTo>
                <a:lnTo>
                  <a:pt x="454" y="608"/>
                </a:lnTo>
                <a:lnTo>
                  <a:pt x="455" y="608"/>
                </a:lnTo>
                <a:lnTo>
                  <a:pt x="457" y="607"/>
                </a:lnTo>
                <a:lnTo>
                  <a:pt x="454" y="602"/>
                </a:lnTo>
                <a:lnTo>
                  <a:pt x="452" y="597"/>
                </a:lnTo>
                <a:lnTo>
                  <a:pt x="451" y="593"/>
                </a:lnTo>
                <a:lnTo>
                  <a:pt x="452" y="590"/>
                </a:lnTo>
                <a:lnTo>
                  <a:pt x="453" y="589"/>
                </a:lnTo>
                <a:lnTo>
                  <a:pt x="455" y="586"/>
                </a:lnTo>
                <a:lnTo>
                  <a:pt x="457" y="586"/>
                </a:lnTo>
                <a:lnTo>
                  <a:pt x="460" y="585"/>
                </a:lnTo>
                <a:lnTo>
                  <a:pt x="462" y="585"/>
                </a:lnTo>
                <a:lnTo>
                  <a:pt x="467" y="585"/>
                </a:lnTo>
                <a:lnTo>
                  <a:pt x="473" y="585"/>
                </a:lnTo>
                <a:lnTo>
                  <a:pt x="477" y="584"/>
                </a:lnTo>
                <a:lnTo>
                  <a:pt x="481" y="582"/>
                </a:lnTo>
                <a:lnTo>
                  <a:pt x="486" y="580"/>
                </a:lnTo>
                <a:lnTo>
                  <a:pt x="489" y="579"/>
                </a:lnTo>
                <a:lnTo>
                  <a:pt x="493" y="576"/>
                </a:lnTo>
                <a:lnTo>
                  <a:pt x="497" y="574"/>
                </a:lnTo>
                <a:lnTo>
                  <a:pt x="500" y="572"/>
                </a:lnTo>
                <a:lnTo>
                  <a:pt x="502" y="572"/>
                </a:lnTo>
                <a:lnTo>
                  <a:pt x="504" y="572"/>
                </a:lnTo>
                <a:lnTo>
                  <a:pt x="507" y="572"/>
                </a:lnTo>
                <a:lnTo>
                  <a:pt x="509" y="573"/>
                </a:lnTo>
                <a:lnTo>
                  <a:pt x="513" y="576"/>
                </a:lnTo>
                <a:lnTo>
                  <a:pt x="515" y="576"/>
                </a:lnTo>
                <a:lnTo>
                  <a:pt x="517" y="577"/>
                </a:lnTo>
                <a:lnTo>
                  <a:pt x="520" y="577"/>
                </a:lnTo>
                <a:lnTo>
                  <a:pt x="523" y="577"/>
                </a:lnTo>
                <a:lnTo>
                  <a:pt x="523" y="580"/>
                </a:lnTo>
                <a:lnTo>
                  <a:pt x="523" y="583"/>
                </a:lnTo>
                <a:lnTo>
                  <a:pt x="526" y="588"/>
                </a:lnTo>
                <a:lnTo>
                  <a:pt x="527" y="589"/>
                </a:lnTo>
                <a:lnTo>
                  <a:pt x="528" y="592"/>
                </a:lnTo>
                <a:lnTo>
                  <a:pt x="530" y="594"/>
                </a:lnTo>
                <a:lnTo>
                  <a:pt x="532" y="595"/>
                </a:lnTo>
                <a:lnTo>
                  <a:pt x="536" y="598"/>
                </a:lnTo>
                <a:lnTo>
                  <a:pt x="540" y="601"/>
                </a:lnTo>
                <a:lnTo>
                  <a:pt x="542" y="602"/>
                </a:lnTo>
                <a:lnTo>
                  <a:pt x="546" y="602"/>
                </a:lnTo>
                <a:lnTo>
                  <a:pt x="559" y="602"/>
                </a:lnTo>
                <a:lnTo>
                  <a:pt x="562" y="602"/>
                </a:lnTo>
                <a:lnTo>
                  <a:pt x="563" y="602"/>
                </a:lnTo>
                <a:lnTo>
                  <a:pt x="567" y="604"/>
                </a:lnTo>
                <a:lnTo>
                  <a:pt x="571" y="606"/>
                </a:lnTo>
                <a:lnTo>
                  <a:pt x="576" y="608"/>
                </a:lnTo>
                <a:lnTo>
                  <a:pt x="576" y="615"/>
                </a:lnTo>
                <a:lnTo>
                  <a:pt x="576" y="617"/>
                </a:lnTo>
                <a:lnTo>
                  <a:pt x="576" y="620"/>
                </a:lnTo>
                <a:lnTo>
                  <a:pt x="577" y="622"/>
                </a:lnTo>
                <a:lnTo>
                  <a:pt x="579" y="625"/>
                </a:lnTo>
                <a:lnTo>
                  <a:pt x="580" y="626"/>
                </a:lnTo>
                <a:lnTo>
                  <a:pt x="581" y="626"/>
                </a:lnTo>
                <a:lnTo>
                  <a:pt x="584" y="629"/>
                </a:lnTo>
                <a:lnTo>
                  <a:pt x="586" y="622"/>
                </a:lnTo>
                <a:lnTo>
                  <a:pt x="586" y="620"/>
                </a:lnTo>
                <a:lnTo>
                  <a:pt x="585" y="617"/>
                </a:lnTo>
                <a:lnTo>
                  <a:pt x="584" y="615"/>
                </a:lnTo>
                <a:lnTo>
                  <a:pt x="584" y="611"/>
                </a:lnTo>
                <a:lnTo>
                  <a:pt x="591" y="609"/>
                </a:lnTo>
                <a:lnTo>
                  <a:pt x="598" y="606"/>
                </a:lnTo>
                <a:lnTo>
                  <a:pt x="604" y="603"/>
                </a:lnTo>
                <a:lnTo>
                  <a:pt x="609" y="599"/>
                </a:lnTo>
                <a:lnTo>
                  <a:pt x="615" y="596"/>
                </a:lnTo>
                <a:lnTo>
                  <a:pt x="619" y="592"/>
                </a:lnTo>
                <a:lnTo>
                  <a:pt x="629" y="583"/>
                </a:lnTo>
                <a:lnTo>
                  <a:pt x="629" y="592"/>
                </a:lnTo>
                <a:lnTo>
                  <a:pt x="639" y="592"/>
                </a:lnTo>
                <a:lnTo>
                  <a:pt x="642" y="588"/>
                </a:lnTo>
                <a:lnTo>
                  <a:pt x="645" y="585"/>
                </a:lnTo>
                <a:lnTo>
                  <a:pt x="649" y="583"/>
                </a:lnTo>
                <a:lnTo>
                  <a:pt x="653" y="582"/>
                </a:lnTo>
                <a:lnTo>
                  <a:pt x="658" y="580"/>
                </a:lnTo>
                <a:lnTo>
                  <a:pt x="661" y="579"/>
                </a:lnTo>
                <a:lnTo>
                  <a:pt x="664" y="577"/>
                </a:lnTo>
                <a:lnTo>
                  <a:pt x="665" y="576"/>
                </a:lnTo>
                <a:lnTo>
                  <a:pt x="667" y="575"/>
                </a:lnTo>
                <a:lnTo>
                  <a:pt x="668" y="573"/>
                </a:lnTo>
                <a:lnTo>
                  <a:pt x="668" y="575"/>
                </a:lnTo>
                <a:lnTo>
                  <a:pt x="671" y="569"/>
                </a:lnTo>
                <a:lnTo>
                  <a:pt x="674" y="564"/>
                </a:lnTo>
                <a:lnTo>
                  <a:pt x="676" y="559"/>
                </a:lnTo>
                <a:lnTo>
                  <a:pt x="679" y="556"/>
                </a:lnTo>
                <a:lnTo>
                  <a:pt x="682" y="553"/>
                </a:lnTo>
                <a:lnTo>
                  <a:pt x="684" y="552"/>
                </a:lnTo>
                <a:lnTo>
                  <a:pt x="686" y="549"/>
                </a:lnTo>
                <a:lnTo>
                  <a:pt x="693" y="542"/>
                </a:lnTo>
                <a:lnTo>
                  <a:pt x="696" y="540"/>
                </a:lnTo>
                <a:lnTo>
                  <a:pt x="698" y="536"/>
                </a:lnTo>
                <a:lnTo>
                  <a:pt x="698" y="534"/>
                </a:lnTo>
                <a:lnTo>
                  <a:pt x="698" y="530"/>
                </a:lnTo>
                <a:lnTo>
                  <a:pt x="698" y="522"/>
                </a:lnTo>
                <a:lnTo>
                  <a:pt x="700" y="512"/>
                </a:lnTo>
                <a:lnTo>
                  <a:pt x="701" y="505"/>
                </a:lnTo>
                <a:lnTo>
                  <a:pt x="703" y="500"/>
                </a:lnTo>
                <a:lnTo>
                  <a:pt x="709" y="487"/>
                </a:lnTo>
                <a:lnTo>
                  <a:pt x="711" y="481"/>
                </a:lnTo>
                <a:lnTo>
                  <a:pt x="714" y="474"/>
                </a:lnTo>
                <a:lnTo>
                  <a:pt x="714" y="472"/>
                </a:lnTo>
                <a:lnTo>
                  <a:pt x="715" y="468"/>
                </a:lnTo>
                <a:lnTo>
                  <a:pt x="716" y="462"/>
                </a:lnTo>
                <a:lnTo>
                  <a:pt x="716" y="456"/>
                </a:lnTo>
                <a:lnTo>
                  <a:pt x="715" y="451"/>
                </a:lnTo>
                <a:lnTo>
                  <a:pt x="714" y="447"/>
                </a:lnTo>
                <a:lnTo>
                  <a:pt x="711" y="444"/>
                </a:lnTo>
                <a:lnTo>
                  <a:pt x="710" y="441"/>
                </a:lnTo>
                <a:lnTo>
                  <a:pt x="706" y="440"/>
                </a:lnTo>
                <a:lnTo>
                  <a:pt x="697" y="437"/>
                </a:lnTo>
                <a:lnTo>
                  <a:pt x="700" y="432"/>
                </a:lnTo>
                <a:lnTo>
                  <a:pt x="702" y="429"/>
                </a:lnTo>
                <a:lnTo>
                  <a:pt x="705" y="427"/>
                </a:lnTo>
                <a:lnTo>
                  <a:pt x="709" y="423"/>
                </a:lnTo>
                <a:lnTo>
                  <a:pt x="705" y="420"/>
                </a:lnTo>
                <a:lnTo>
                  <a:pt x="702" y="418"/>
                </a:lnTo>
                <a:lnTo>
                  <a:pt x="701" y="415"/>
                </a:lnTo>
                <a:lnTo>
                  <a:pt x="700" y="414"/>
                </a:lnTo>
                <a:lnTo>
                  <a:pt x="698" y="411"/>
                </a:lnTo>
                <a:lnTo>
                  <a:pt x="697" y="410"/>
                </a:lnTo>
                <a:lnTo>
                  <a:pt x="700" y="410"/>
                </a:lnTo>
                <a:lnTo>
                  <a:pt x="701" y="409"/>
                </a:lnTo>
                <a:lnTo>
                  <a:pt x="697" y="402"/>
                </a:lnTo>
                <a:lnTo>
                  <a:pt x="693" y="396"/>
                </a:lnTo>
                <a:lnTo>
                  <a:pt x="686" y="382"/>
                </a:lnTo>
                <a:lnTo>
                  <a:pt x="682" y="375"/>
                </a:lnTo>
                <a:lnTo>
                  <a:pt x="678" y="369"/>
                </a:lnTo>
                <a:lnTo>
                  <a:pt x="671" y="364"/>
                </a:lnTo>
                <a:lnTo>
                  <a:pt x="665" y="357"/>
                </a:lnTo>
                <a:lnTo>
                  <a:pt x="661" y="355"/>
                </a:lnTo>
                <a:lnTo>
                  <a:pt x="655" y="352"/>
                </a:lnTo>
                <a:lnTo>
                  <a:pt x="652" y="352"/>
                </a:lnTo>
                <a:lnTo>
                  <a:pt x="651" y="350"/>
                </a:lnTo>
                <a:lnTo>
                  <a:pt x="648" y="347"/>
                </a:lnTo>
                <a:lnTo>
                  <a:pt x="648" y="346"/>
                </a:lnTo>
                <a:lnTo>
                  <a:pt x="648" y="344"/>
                </a:lnTo>
                <a:lnTo>
                  <a:pt x="648" y="340"/>
                </a:lnTo>
                <a:lnTo>
                  <a:pt x="648" y="337"/>
                </a:lnTo>
                <a:lnTo>
                  <a:pt x="649" y="334"/>
                </a:lnTo>
                <a:lnTo>
                  <a:pt x="651" y="330"/>
                </a:lnTo>
                <a:lnTo>
                  <a:pt x="654" y="326"/>
                </a:lnTo>
                <a:lnTo>
                  <a:pt x="658" y="321"/>
                </a:lnTo>
                <a:lnTo>
                  <a:pt x="661" y="317"/>
                </a:lnTo>
                <a:lnTo>
                  <a:pt x="666" y="313"/>
                </a:lnTo>
                <a:lnTo>
                  <a:pt x="671" y="310"/>
                </a:lnTo>
                <a:lnTo>
                  <a:pt x="675" y="306"/>
                </a:lnTo>
                <a:lnTo>
                  <a:pt x="671" y="303"/>
                </a:lnTo>
                <a:lnTo>
                  <a:pt x="664" y="299"/>
                </a:lnTo>
                <a:lnTo>
                  <a:pt x="654" y="295"/>
                </a:lnTo>
                <a:lnTo>
                  <a:pt x="652" y="293"/>
                </a:lnTo>
                <a:lnTo>
                  <a:pt x="648" y="293"/>
                </a:lnTo>
                <a:lnTo>
                  <a:pt x="647" y="293"/>
                </a:lnTo>
                <a:lnTo>
                  <a:pt x="645" y="294"/>
                </a:lnTo>
                <a:lnTo>
                  <a:pt x="643" y="296"/>
                </a:lnTo>
                <a:lnTo>
                  <a:pt x="642" y="298"/>
                </a:lnTo>
                <a:lnTo>
                  <a:pt x="638" y="302"/>
                </a:lnTo>
                <a:lnTo>
                  <a:pt x="635" y="302"/>
                </a:lnTo>
                <a:lnTo>
                  <a:pt x="633" y="303"/>
                </a:lnTo>
                <a:lnTo>
                  <a:pt x="598" y="277"/>
                </a:lnTo>
                <a:lnTo>
                  <a:pt x="598" y="276"/>
                </a:lnTo>
                <a:lnTo>
                  <a:pt x="599" y="274"/>
                </a:lnTo>
                <a:lnTo>
                  <a:pt x="600" y="271"/>
                </a:lnTo>
                <a:lnTo>
                  <a:pt x="603" y="267"/>
                </a:lnTo>
                <a:lnTo>
                  <a:pt x="605" y="266"/>
                </a:lnTo>
                <a:lnTo>
                  <a:pt x="608" y="266"/>
                </a:lnTo>
                <a:lnTo>
                  <a:pt x="611" y="266"/>
                </a:lnTo>
                <a:lnTo>
                  <a:pt x="612" y="263"/>
                </a:lnTo>
                <a:lnTo>
                  <a:pt x="615" y="262"/>
                </a:lnTo>
                <a:lnTo>
                  <a:pt x="617" y="256"/>
                </a:lnTo>
                <a:lnTo>
                  <a:pt x="620" y="250"/>
                </a:lnTo>
                <a:lnTo>
                  <a:pt x="622" y="247"/>
                </a:lnTo>
                <a:lnTo>
                  <a:pt x="622" y="244"/>
                </a:lnTo>
                <a:lnTo>
                  <a:pt x="626" y="239"/>
                </a:lnTo>
                <a:lnTo>
                  <a:pt x="629" y="237"/>
                </a:lnTo>
                <a:lnTo>
                  <a:pt x="630" y="235"/>
                </a:lnTo>
                <a:lnTo>
                  <a:pt x="633" y="234"/>
                </a:lnTo>
                <a:lnTo>
                  <a:pt x="635" y="233"/>
                </a:lnTo>
                <a:lnTo>
                  <a:pt x="638" y="234"/>
                </a:lnTo>
                <a:lnTo>
                  <a:pt x="639" y="235"/>
                </a:lnTo>
                <a:lnTo>
                  <a:pt x="642" y="239"/>
                </a:lnTo>
                <a:lnTo>
                  <a:pt x="643" y="243"/>
                </a:lnTo>
                <a:lnTo>
                  <a:pt x="644" y="246"/>
                </a:lnTo>
                <a:lnTo>
                  <a:pt x="645" y="274"/>
                </a:lnTo>
                <a:lnTo>
                  <a:pt x="647" y="274"/>
                </a:lnTo>
                <a:lnTo>
                  <a:pt x="648" y="273"/>
                </a:lnTo>
                <a:lnTo>
                  <a:pt x="653" y="270"/>
                </a:lnTo>
                <a:lnTo>
                  <a:pt x="656" y="266"/>
                </a:lnTo>
                <a:lnTo>
                  <a:pt x="660" y="262"/>
                </a:lnTo>
                <a:lnTo>
                  <a:pt x="664" y="258"/>
                </a:lnTo>
                <a:lnTo>
                  <a:pt x="665" y="256"/>
                </a:lnTo>
                <a:lnTo>
                  <a:pt x="667" y="254"/>
                </a:lnTo>
                <a:lnTo>
                  <a:pt x="671" y="252"/>
                </a:lnTo>
                <a:lnTo>
                  <a:pt x="674" y="252"/>
                </a:lnTo>
                <a:lnTo>
                  <a:pt x="675" y="250"/>
                </a:lnTo>
                <a:lnTo>
                  <a:pt x="678" y="248"/>
                </a:lnTo>
                <a:lnTo>
                  <a:pt x="679" y="243"/>
                </a:lnTo>
                <a:lnTo>
                  <a:pt x="686" y="233"/>
                </a:lnTo>
                <a:lnTo>
                  <a:pt x="692" y="223"/>
                </a:lnTo>
                <a:lnTo>
                  <a:pt x="696" y="219"/>
                </a:lnTo>
                <a:lnTo>
                  <a:pt x="698" y="219"/>
                </a:lnTo>
                <a:lnTo>
                  <a:pt x="700" y="220"/>
                </a:lnTo>
                <a:lnTo>
                  <a:pt x="703" y="223"/>
                </a:lnTo>
                <a:lnTo>
                  <a:pt x="714" y="223"/>
                </a:lnTo>
                <a:lnTo>
                  <a:pt x="714" y="219"/>
                </a:lnTo>
                <a:lnTo>
                  <a:pt x="714" y="217"/>
                </a:lnTo>
                <a:lnTo>
                  <a:pt x="714" y="216"/>
                </a:lnTo>
                <a:lnTo>
                  <a:pt x="714" y="213"/>
                </a:lnTo>
                <a:lnTo>
                  <a:pt x="718" y="207"/>
                </a:lnTo>
                <a:lnTo>
                  <a:pt x="722" y="201"/>
                </a:lnTo>
                <a:lnTo>
                  <a:pt x="724" y="195"/>
                </a:lnTo>
                <a:lnTo>
                  <a:pt x="728" y="199"/>
                </a:lnTo>
                <a:lnTo>
                  <a:pt x="729" y="200"/>
                </a:lnTo>
                <a:lnTo>
                  <a:pt x="731" y="201"/>
                </a:lnTo>
                <a:lnTo>
                  <a:pt x="733" y="200"/>
                </a:lnTo>
                <a:lnTo>
                  <a:pt x="735" y="200"/>
                </a:lnTo>
                <a:lnTo>
                  <a:pt x="738" y="197"/>
                </a:lnTo>
                <a:lnTo>
                  <a:pt x="738" y="194"/>
                </a:lnTo>
                <a:lnTo>
                  <a:pt x="740" y="197"/>
                </a:lnTo>
                <a:lnTo>
                  <a:pt x="737" y="187"/>
                </a:lnTo>
                <a:lnTo>
                  <a:pt x="734" y="178"/>
                </a:lnTo>
                <a:lnTo>
                  <a:pt x="732" y="174"/>
                </a:lnTo>
                <a:lnTo>
                  <a:pt x="729" y="170"/>
                </a:lnTo>
                <a:lnTo>
                  <a:pt x="727" y="167"/>
                </a:lnTo>
                <a:lnTo>
                  <a:pt x="722" y="164"/>
                </a:lnTo>
                <a:lnTo>
                  <a:pt x="722" y="149"/>
                </a:lnTo>
                <a:lnTo>
                  <a:pt x="727" y="151"/>
                </a:lnTo>
                <a:lnTo>
                  <a:pt x="733" y="153"/>
                </a:lnTo>
                <a:lnTo>
                  <a:pt x="737" y="155"/>
                </a:lnTo>
                <a:lnTo>
                  <a:pt x="740" y="158"/>
                </a:lnTo>
                <a:lnTo>
                  <a:pt x="741" y="153"/>
                </a:lnTo>
                <a:lnTo>
                  <a:pt x="741" y="150"/>
                </a:lnTo>
                <a:lnTo>
                  <a:pt x="740" y="143"/>
                </a:lnTo>
                <a:lnTo>
                  <a:pt x="740" y="129"/>
                </a:lnTo>
                <a:lnTo>
                  <a:pt x="740" y="126"/>
                </a:lnTo>
                <a:lnTo>
                  <a:pt x="738" y="122"/>
                </a:lnTo>
                <a:lnTo>
                  <a:pt x="737" y="115"/>
                </a:lnTo>
                <a:lnTo>
                  <a:pt x="737" y="109"/>
                </a:lnTo>
                <a:lnTo>
                  <a:pt x="734" y="102"/>
                </a:lnTo>
                <a:lnTo>
                  <a:pt x="731" y="97"/>
                </a:lnTo>
                <a:lnTo>
                  <a:pt x="727" y="91"/>
                </a:lnTo>
                <a:lnTo>
                  <a:pt x="724" y="93"/>
                </a:lnTo>
                <a:lnTo>
                  <a:pt x="721" y="96"/>
                </a:lnTo>
                <a:lnTo>
                  <a:pt x="715" y="102"/>
                </a:lnTo>
                <a:lnTo>
                  <a:pt x="713" y="105"/>
                </a:lnTo>
                <a:lnTo>
                  <a:pt x="709" y="106"/>
                </a:lnTo>
                <a:lnTo>
                  <a:pt x="704" y="107"/>
                </a:lnTo>
                <a:lnTo>
                  <a:pt x="700" y="108"/>
                </a:lnTo>
                <a:lnTo>
                  <a:pt x="694" y="107"/>
                </a:lnTo>
                <a:lnTo>
                  <a:pt x="689" y="105"/>
                </a:lnTo>
                <a:lnTo>
                  <a:pt x="688" y="105"/>
                </a:lnTo>
                <a:lnTo>
                  <a:pt x="686" y="102"/>
                </a:lnTo>
                <a:lnTo>
                  <a:pt x="685" y="102"/>
                </a:lnTo>
                <a:lnTo>
                  <a:pt x="683" y="100"/>
                </a:lnTo>
                <a:lnTo>
                  <a:pt x="678" y="92"/>
                </a:lnTo>
                <a:lnTo>
                  <a:pt x="675" y="88"/>
                </a:lnTo>
                <a:lnTo>
                  <a:pt x="674" y="86"/>
                </a:lnTo>
                <a:lnTo>
                  <a:pt x="671" y="85"/>
                </a:lnTo>
                <a:lnTo>
                  <a:pt x="667" y="82"/>
                </a:lnTo>
                <a:lnTo>
                  <a:pt x="661" y="79"/>
                </a:lnTo>
                <a:lnTo>
                  <a:pt x="648" y="74"/>
                </a:lnTo>
                <a:lnTo>
                  <a:pt x="635" y="69"/>
                </a:lnTo>
                <a:lnTo>
                  <a:pt x="629" y="68"/>
                </a:lnTo>
                <a:lnTo>
                  <a:pt x="624" y="65"/>
                </a:lnTo>
                <a:lnTo>
                  <a:pt x="618" y="61"/>
                </a:lnTo>
                <a:lnTo>
                  <a:pt x="612" y="56"/>
                </a:lnTo>
                <a:lnTo>
                  <a:pt x="608" y="52"/>
                </a:lnTo>
                <a:lnTo>
                  <a:pt x="603" y="47"/>
                </a:lnTo>
                <a:lnTo>
                  <a:pt x="593" y="36"/>
                </a:lnTo>
                <a:lnTo>
                  <a:pt x="584" y="26"/>
                </a:lnTo>
                <a:lnTo>
                  <a:pt x="578" y="20"/>
                </a:lnTo>
                <a:lnTo>
                  <a:pt x="573" y="16"/>
                </a:lnTo>
                <a:lnTo>
                  <a:pt x="567" y="12"/>
                </a:lnTo>
                <a:lnTo>
                  <a:pt x="560" y="7"/>
                </a:lnTo>
                <a:lnTo>
                  <a:pt x="553" y="4"/>
                </a:lnTo>
                <a:lnTo>
                  <a:pt x="546" y="3"/>
                </a:lnTo>
                <a:lnTo>
                  <a:pt x="537" y="1"/>
                </a:lnTo>
                <a:lnTo>
                  <a:pt x="528" y="0"/>
                </a:lnTo>
                <a:lnTo>
                  <a:pt x="522" y="0"/>
                </a:lnTo>
                <a:lnTo>
                  <a:pt x="516" y="1"/>
                </a:lnTo>
                <a:lnTo>
                  <a:pt x="511" y="2"/>
                </a:lnTo>
                <a:lnTo>
                  <a:pt x="507" y="3"/>
                </a:lnTo>
                <a:lnTo>
                  <a:pt x="502" y="6"/>
                </a:lnTo>
                <a:lnTo>
                  <a:pt x="500" y="8"/>
                </a:lnTo>
                <a:lnTo>
                  <a:pt x="497" y="13"/>
                </a:lnTo>
                <a:lnTo>
                  <a:pt x="496" y="17"/>
                </a:lnTo>
                <a:lnTo>
                  <a:pt x="497" y="19"/>
                </a:lnTo>
                <a:lnTo>
                  <a:pt x="500" y="20"/>
                </a:lnTo>
                <a:lnTo>
                  <a:pt x="501" y="21"/>
                </a:lnTo>
                <a:lnTo>
                  <a:pt x="502" y="23"/>
                </a:lnTo>
                <a:lnTo>
                  <a:pt x="505" y="26"/>
                </a:lnTo>
                <a:lnTo>
                  <a:pt x="506" y="31"/>
                </a:lnTo>
                <a:lnTo>
                  <a:pt x="508" y="37"/>
                </a:lnTo>
                <a:lnTo>
                  <a:pt x="509" y="42"/>
                </a:lnTo>
                <a:lnTo>
                  <a:pt x="510" y="52"/>
                </a:lnTo>
                <a:lnTo>
                  <a:pt x="511" y="60"/>
                </a:lnTo>
                <a:lnTo>
                  <a:pt x="510" y="62"/>
                </a:lnTo>
                <a:lnTo>
                  <a:pt x="510" y="65"/>
                </a:lnTo>
                <a:lnTo>
                  <a:pt x="510" y="66"/>
                </a:lnTo>
                <a:lnTo>
                  <a:pt x="508" y="69"/>
                </a:lnTo>
                <a:lnTo>
                  <a:pt x="507" y="69"/>
                </a:lnTo>
                <a:lnTo>
                  <a:pt x="505" y="70"/>
                </a:lnTo>
                <a:lnTo>
                  <a:pt x="502" y="71"/>
                </a:lnTo>
                <a:lnTo>
                  <a:pt x="500" y="71"/>
                </a:lnTo>
                <a:lnTo>
                  <a:pt x="496" y="71"/>
                </a:lnTo>
                <a:lnTo>
                  <a:pt x="490" y="69"/>
                </a:lnTo>
                <a:lnTo>
                  <a:pt x="484" y="69"/>
                </a:lnTo>
                <a:lnTo>
                  <a:pt x="484" y="74"/>
                </a:lnTo>
                <a:lnTo>
                  <a:pt x="484" y="79"/>
                </a:lnTo>
                <a:lnTo>
                  <a:pt x="484" y="86"/>
                </a:lnTo>
                <a:lnTo>
                  <a:pt x="484" y="92"/>
                </a:lnTo>
                <a:lnTo>
                  <a:pt x="486" y="98"/>
                </a:lnTo>
                <a:lnTo>
                  <a:pt x="487" y="102"/>
                </a:lnTo>
                <a:lnTo>
                  <a:pt x="489" y="104"/>
                </a:lnTo>
                <a:lnTo>
                  <a:pt x="491" y="105"/>
                </a:lnTo>
                <a:lnTo>
                  <a:pt x="493" y="106"/>
                </a:lnTo>
                <a:lnTo>
                  <a:pt x="496" y="106"/>
                </a:lnTo>
                <a:lnTo>
                  <a:pt x="513" y="106"/>
                </a:lnTo>
                <a:lnTo>
                  <a:pt x="515" y="105"/>
                </a:lnTo>
                <a:lnTo>
                  <a:pt x="519" y="105"/>
                </a:lnTo>
                <a:lnTo>
                  <a:pt x="522" y="102"/>
                </a:lnTo>
                <a:lnTo>
                  <a:pt x="526" y="102"/>
                </a:lnTo>
                <a:lnTo>
                  <a:pt x="529" y="102"/>
                </a:lnTo>
                <a:lnTo>
                  <a:pt x="533" y="105"/>
                </a:lnTo>
                <a:lnTo>
                  <a:pt x="538" y="107"/>
                </a:lnTo>
                <a:lnTo>
                  <a:pt x="543" y="110"/>
                </a:lnTo>
                <a:lnTo>
                  <a:pt x="546" y="111"/>
                </a:lnTo>
                <a:lnTo>
                  <a:pt x="548" y="114"/>
                </a:lnTo>
                <a:lnTo>
                  <a:pt x="551" y="118"/>
                </a:lnTo>
                <a:lnTo>
                  <a:pt x="554" y="122"/>
                </a:lnTo>
                <a:lnTo>
                  <a:pt x="555" y="126"/>
                </a:lnTo>
                <a:lnTo>
                  <a:pt x="546" y="126"/>
                </a:lnTo>
                <a:lnTo>
                  <a:pt x="538" y="127"/>
                </a:lnTo>
                <a:lnTo>
                  <a:pt x="533" y="128"/>
                </a:lnTo>
                <a:lnTo>
                  <a:pt x="530" y="128"/>
                </a:lnTo>
                <a:lnTo>
                  <a:pt x="526" y="128"/>
                </a:lnTo>
                <a:lnTo>
                  <a:pt x="523" y="129"/>
                </a:lnTo>
                <a:lnTo>
                  <a:pt x="521" y="131"/>
                </a:lnTo>
                <a:lnTo>
                  <a:pt x="519" y="133"/>
                </a:lnTo>
                <a:lnTo>
                  <a:pt x="519" y="135"/>
                </a:lnTo>
                <a:lnTo>
                  <a:pt x="518" y="137"/>
                </a:lnTo>
                <a:lnTo>
                  <a:pt x="518" y="141"/>
                </a:lnTo>
                <a:lnTo>
                  <a:pt x="518" y="144"/>
                </a:lnTo>
                <a:lnTo>
                  <a:pt x="517" y="146"/>
                </a:lnTo>
                <a:lnTo>
                  <a:pt x="516" y="147"/>
                </a:lnTo>
                <a:lnTo>
                  <a:pt x="515" y="148"/>
                </a:lnTo>
                <a:lnTo>
                  <a:pt x="510" y="149"/>
                </a:lnTo>
                <a:lnTo>
                  <a:pt x="503" y="150"/>
                </a:lnTo>
                <a:lnTo>
                  <a:pt x="500" y="151"/>
                </a:lnTo>
                <a:lnTo>
                  <a:pt x="499" y="153"/>
                </a:lnTo>
                <a:lnTo>
                  <a:pt x="495" y="156"/>
                </a:lnTo>
                <a:lnTo>
                  <a:pt x="493" y="158"/>
                </a:lnTo>
                <a:lnTo>
                  <a:pt x="491" y="159"/>
                </a:lnTo>
                <a:lnTo>
                  <a:pt x="488" y="160"/>
                </a:lnTo>
                <a:lnTo>
                  <a:pt x="486" y="161"/>
                </a:lnTo>
                <a:lnTo>
                  <a:pt x="483" y="160"/>
                </a:lnTo>
                <a:lnTo>
                  <a:pt x="481" y="160"/>
                </a:lnTo>
                <a:lnTo>
                  <a:pt x="477" y="158"/>
                </a:lnTo>
                <a:lnTo>
                  <a:pt x="474" y="156"/>
                </a:lnTo>
                <a:lnTo>
                  <a:pt x="473" y="156"/>
                </a:lnTo>
                <a:lnTo>
                  <a:pt x="470" y="156"/>
                </a:lnTo>
                <a:lnTo>
                  <a:pt x="468" y="156"/>
                </a:lnTo>
                <a:lnTo>
                  <a:pt x="467" y="158"/>
                </a:lnTo>
                <a:lnTo>
                  <a:pt x="466" y="158"/>
                </a:lnTo>
                <a:lnTo>
                  <a:pt x="465" y="160"/>
                </a:lnTo>
                <a:lnTo>
                  <a:pt x="465" y="162"/>
                </a:lnTo>
                <a:lnTo>
                  <a:pt x="465" y="164"/>
                </a:lnTo>
                <a:lnTo>
                  <a:pt x="466" y="165"/>
                </a:lnTo>
                <a:lnTo>
                  <a:pt x="467" y="168"/>
                </a:lnTo>
                <a:lnTo>
                  <a:pt x="470" y="170"/>
                </a:lnTo>
                <a:lnTo>
                  <a:pt x="473" y="171"/>
                </a:lnTo>
                <a:lnTo>
                  <a:pt x="474" y="172"/>
                </a:lnTo>
                <a:lnTo>
                  <a:pt x="477" y="174"/>
                </a:lnTo>
                <a:lnTo>
                  <a:pt x="479" y="176"/>
                </a:lnTo>
                <a:lnTo>
                  <a:pt x="479" y="177"/>
                </a:lnTo>
                <a:lnTo>
                  <a:pt x="479" y="180"/>
                </a:lnTo>
                <a:lnTo>
                  <a:pt x="479" y="182"/>
                </a:lnTo>
                <a:lnTo>
                  <a:pt x="478" y="185"/>
                </a:lnTo>
                <a:lnTo>
                  <a:pt x="477" y="187"/>
                </a:lnTo>
                <a:lnTo>
                  <a:pt x="475" y="190"/>
                </a:lnTo>
                <a:lnTo>
                  <a:pt x="474" y="191"/>
                </a:lnTo>
                <a:lnTo>
                  <a:pt x="472" y="194"/>
                </a:lnTo>
                <a:lnTo>
                  <a:pt x="468" y="197"/>
                </a:lnTo>
                <a:lnTo>
                  <a:pt x="462" y="200"/>
                </a:lnTo>
                <a:lnTo>
                  <a:pt x="457" y="204"/>
                </a:lnTo>
                <a:lnTo>
                  <a:pt x="450" y="207"/>
                </a:lnTo>
                <a:lnTo>
                  <a:pt x="421" y="207"/>
                </a:lnTo>
                <a:lnTo>
                  <a:pt x="417" y="212"/>
                </a:lnTo>
                <a:lnTo>
                  <a:pt x="412" y="216"/>
                </a:lnTo>
                <a:lnTo>
                  <a:pt x="411" y="217"/>
                </a:lnTo>
                <a:lnTo>
                  <a:pt x="408" y="219"/>
                </a:lnTo>
                <a:lnTo>
                  <a:pt x="405" y="220"/>
                </a:lnTo>
                <a:lnTo>
                  <a:pt x="401" y="220"/>
                </a:lnTo>
                <a:lnTo>
                  <a:pt x="395" y="219"/>
                </a:lnTo>
                <a:lnTo>
                  <a:pt x="388" y="218"/>
                </a:lnTo>
                <a:lnTo>
                  <a:pt x="381" y="217"/>
                </a:lnTo>
                <a:lnTo>
                  <a:pt x="375" y="214"/>
                </a:lnTo>
                <a:lnTo>
                  <a:pt x="368" y="212"/>
                </a:lnTo>
                <a:lnTo>
                  <a:pt x="363" y="209"/>
                </a:lnTo>
                <a:lnTo>
                  <a:pt x="358" y="205"/>
                </a:lnTo>
                <a:lnTo>
                  <a:pt x="354" y="203"/>
                </a:lnTo>
                <a:lnTo>
                  <a:pt x="314" y="203"/>
                </a:lnTo>
                <a:lnTo>
                  <a:pt x="314" y="201"/>
                </a:lnTo>
                <a:lnTo>
                  <a:pt x="283" y="201"/>
                </a:lnTo>
                <a:lnTo>
                  <a:pt x="279" y="199"/>
                </a:lnTo>
                <a:lnTo>
                  <a:pt x="276" y="195"/>
                </a:lnTo>
                <a:lnTo>
                  <a:pt x="269" y="187"/>
                </a:lnTo>
                <a:lnTo>
                  <a:pt x="260" y="180"/>
                </a:lnTo>
                <a:lnTo>
                  <a:pt x="253" y="173"/>
                </a:lnTo>
                <a:lnTo>
                  <a:pt x="250" y="171"/>
                </a:lnTo>
                <a:lnTo>
                  <a:pt x="245" y="168"/>
                </a:lnTo>
                <a:lnTo>
                  <a:pt x="237" y="165"/>
                </a:lnTo>
                <a:lnTo>
                  <a:pt x="228" y="163"/>
                </a:lnTo>
                <a:lnTo>
                  <a:pt x="223" y="161"/>
                </a:lnTo>
                <a:lnTo>
                  <a:pt x="220" y="159"/>
                </a:lnTo>
                <a:lnTo>
                  <a:pt x="193" y="159"/>
                </a:lnTo>
                <a:lnTo>
                  <a:pt x="190" y="156"/>
                </a:lnTo>
                <a:lnTo>
                  <a:pt x="188" y="154"/>
                </a:lnTo>
                <a:lnTo>
                  <a:pt x="187" y="150"/>
                </a:lnTo>
                <a:lnTo>
                  <a:pt x="185" y="146"/>
                </a:lnTo>
                <a:lnTo>
                  <a:pt x="184" y="138"/>
                </a:lnTo>
                <a:lnTo>
                  <a:pt x="181" y="131"/>
                </a:lnTo>
                <a:lnTo>
                  <a:pt x="181" y="128"/>
                </a:lnTo>
                <a:lnTo>
                  <a:pt x="178" y="124"/>
                </a:lnTo>
                <a:lnTo>
                  <a:pt x="176" y="121"/>
                </a:lnTo>
                <a:lnTo>
                  <a:pt x="174" y="118"/>
                </a:lnTo>
                <a:lnTo>
                  <a:pt x="167" y="113"/>
                </a:lnTo>
                <a:lnTo>
                  <a:pt x="163" y="108"/>
                </a:lnTo>
                <a:lnTo>
                  <a:pt x="159" y="106"/>
                </a:lnTo>
                <a:lnTo>
                  <a:pt x="157" y="104"/>
                </a:lnTo>
                <a:lnTo>
                  <a:pt x="150" y="101"/>
                </a:lnTo>
                <a:lnTo>
                  <a:pt x="138" y="96"/>
                </a:lnTo>
                <a:lnTo>
                  <a:pt x="132" y="93"/>
                </a:lnTo>
                <a:lnTo>
                  <a:pt x="130" y="92"/>
                </a:lnTo>
                <a:lnTo>
                  <a:pt x="127" y="89"/>
                </a:lnTo>
                <a:lnTo>
                  <a:pt x="125" y="88"/>
                </a:lnTo>
                <a:lnTo>
                  <a:pt x="123" y="85"/>
                </a:lnTo>
                <a:lnTo>
                  <a:pt x="121" y="82"/>
                </a:lnTo>
                <a:lnTo>
                  <a:pt x="120" y="79"/>
                </a:lnTo>
                <a:lnTo>
                  <a:pt x="120" y="80"/>
                </a:lnTo>
                <a:lnTo>
                  <a:pt x="110" y="89"/>
                </a:lnTo>
                <a:lnTo>
                  <a:pt x="102" y="98"/>
                </a:lnTo>
                <a:lnTo>
                  <a:pt x="108" y="106"/>
                </a:lnTo>
                <a:lnTo>
                  <a:pt x="112" y="113"/>
                </a:lnTo>
                <a:lnTo>
                  <a:pt x="108" y="118"/>
                </a:lnTo>
                <a:lnTo>
                  <a:pt x="107" y="119"/>
                </a:lnTo>
                <a:lnTo>
                  <a:pt x="105" y="120"/>
                </a:lnTo>
                <a:lnTo>
                  <a:pt x="103" y="121"/>
                </a:lnTo>
                <a:lnTo>
                  <a:pt x="101" y="122"/>
                </a:lnTo>
                <a:lnTo>
                  <a:pt x="98" y="123"/>
                </a:lnTo>
                <a:lnTo>
                  <a:pt x="92" y="123"/>
                </a:lnTo>
                <a:lnTo>
                  <a:pt x="89" y="122"/>
                </a:lnTo>
                <a:lnTo>
                  <a:pt x="85" y="119"/>
                </a:lnTo>
                <a:lnTo>
                  <a:pt x="80" y="116"/>
                </a:lnTo>
                <a:lnTo>
                  <a:pt x="82" y="127"/>
                </a:lnTo>
                <a:lnTo>
                  <a:pt x="82" y="135"/>
                </a:lnTo>
                <a:lnTo>
                  <a:pt x="82" y="141"/>
                </a:lnTo>
                <a:lnTo>
                  <a:pt x="82" y="147"/>
                </a:lnTo>
                <a:lnTo>
                  <a:pt x="82" y="151"/>
                </a:lnTo>
                <a:lnTo>
                  <a:pt x="82" y="154"/>
                </a:lnTo>
                <a:lnTo>
                  <a:pt x="80" y="155"/>
                </a:lnTo>
                <a:lnTo>
                  <a:pt x="79" y="158"/>
                </a:lnTo>
                <a:lnTo>
                  <a:pt x="77" y="158"/>
                </a:lnTo>
                <a:lnTo>
                  <a:pt x="74" y="158"/>
                </a:lnTo>
                <a:lnTo>
                  <a:pt x="69" y="155"/>
                </a:lnTo>
                <a:lnTo>
                  <a:pt x="65" y="154"/>
                </a:lnTo>
                <a:lnTo>
                  <a:pt x="60" y="151"/>
                </a:lnTo>
                <a:lnTo>
                  <a:pt x="61" y="158"/>
                </a:lnTo>
                <a:lnTo>
                  <a:pt x="63" y="163"/>
                </a:lnTo>
                <a:lnTo>
                  <a:pt x="67" y="173"/>
                </a:lnTo>
                <a:lnTo>
                  <a:pt x="69" y="177"/>
                </a:lnTo>
                <a:lnTo>
                  <a:pt x="71" y="183"/>
                </a:lnTo>
                <a:lnTo>
                  <a:pt x="72" y="189"/>
                </a:lnTo>
                <a:lnTo>
                  <a:pt x="72" y="195"/>
                </a:lnTo>
                <a:lnTo>
                  <a:pt x="72" y="199"/>
                </a:lnTo>
                <a:lnTo>
                  <a:pt x="71" y="203"/>
                </a:lnTo>
                <a:lnTo>
                  <a:pt x="69" y="206"/>
                </a:lnTo>
                <a:lnTo>
                  <a:pt x="68" y="210"/>
                </a:lnTo>
                <a:lnTo>
                  <a:pt x="62" y="217"/>
                </a:lnTo>
                <a:lnTo>
                  <a:pt x="56" y="225"/>
                </a:lnTo>
                <a:lnTo>
                  <a:pt x="50" y="231"/>
                </a:lnTo>
                <a:lnTo>
                  <a:pt x="45" y="238"/>
                </a:lnTo>
                <a:lnTo>
                  <a:pt x="39" y="243"/>
                </a:lnTo>
                <a:lnTo>
                  <a:pt x="34" y="245"/>
                </a:lnTo>
                <a:lnTo>
                  <a:pt x="32" y="246"/>
                </a:lnTo>
                <a:lnTo>
                  <a:pt x="29" y="247"/>
                </a:lnTo>
                <a:lnTo>
                  <a:pt x="23" y="249"/>
                </a:lnTo>
                <a:lnTo>
                  <a:pt x="18" y="250"/>
                </a:lnTo>
                <a:lnTo>
                  <a:pt x="12" y="250"/>
                </a:lnTo>
                <a:lnTo>
                  <a:pt x="6" y="253"/>
                </a:lnTo>
                <a:lnTo>
                  <a:pt x="5" y="253"/>
                </a:lnTo>
                <a:lnTo>
                  <a:pt x="3" y="255"/>
                </a:lnTo>
                <a:lnTo>
                  <a:pt x="1" y="257"/>
                </a:lnTo>
                <a:lnTo>
                  <a:pt x="0" y="259"/>
                </a:lnTo>
                <a:lnTo>
                  <a:pt x="0" y="262"/>
                </a:lnTo>
                <a:lnTo>
                  <a:pt x="0" y="266"/>
                </a:lnTo>
                <a:lnTo>
                  <a:pt x="0" y="267"/>
                </a:lnTo>
                <a:lnTo>
                  <a:pt x="0" y="270"/>
                </a:lnTo>
                <a:lnTo>
                  <a:pt x="1" y="271"/>
                </a:lnTo>
                <a:lnTo>
                  <a:pt x="3" y="273"/>
                </a:lnTo>
                <a:lnTo>
                  <a:pt x="6" y="276"/>
                </a:lnTo>
                <a:lnTo>
                  <a:pt x="11" y="279"/>
                </a:lnTo>
                <a:lnTo>
                  <a:pt x="16" y="283"/>
                </a:lnTo>
                <a:lnTo>
                  <a:pt x="19" y="288"/>
                </a:lnTo>
                <a:lnTo>
                  <a:pt x="21" y="290"/>
                </a:lnTo>
                <a:lnTo>
                  <a:pt x="23" y="293"/>
                </a:lnTo>
                <a:lnTo>
                  <a:pt x="24" y="297"/>
                </a:lnTo>
                <a:lnTo>
                  <a:pt x="24" y="301"/>
                </a:lnTo>
                <a:lnTo>
                  <a:pt x="20" y="301"/>
                </a:lnTo>
                <a:lnTo>
                  <a:pt x="16" y="301"/>
                </a:lnTo>
                <a:lnTo>
                  <a:pt x="13" y="302"/>
                </a:lnTo>
                <a:lnTo>
                  <a:pt x="9" y="303"/>
                </a:lnTo>
                <a:lnTo>
                  <a:pt x="13" y="306"/>
                </a:lnTo>
                <a:lnTo>
                  <a:pt x="16" y="307"/>
                </a:lnTo>
                <a:lnTo>
                  <a:pt x="20" y="309"/>
                </a:lnTo>
                <a:lnTo>
                  <a:pt x="21" y="309"/>
                </a:lnTo>
                <a:lnTo>
                  <a:pt x="23" y="310"/>
                </a:lnTo>
                <a:lnTo>
                  <a:pt x="23" y="312"/>
                </a:lnTo>
                <a:lnTo>
                  <a:pt x="28" y="312"/>
                </a:lnTo>
                <a:lnTo>
                  <a:pt x="32" y="313"/>
                </a:lnTo>
                <a:lnTo>
                  <a:pt x="34" y="313"/>
                </a:lnTo>
                <a:lnTo>
                  <a:pt x="36" y="315"/>
                </a:lnTo>
                <a:lnTo>
                  <a:pt x="39" y="316"/>
                </a:lnTo>
                <a:lnTo>
                  <a:pt x="42" y="319"/>
                </a:lnTo>
                <a:lnTo>
                  <a:pt x="43" y="322"/>
                </a:lnTo>
                <a:lnTo>
                  <a:pt x="46" y="325"/>
                </a:lnTo>
                <a:lnTo>
                  <a:pt x="47" y="329"/>
                </a:lnTo>
                <a:lnTo>
                  <a:pt x="49" y="331"/>
                </a:lnTo>
                <a:lnTo>
                  <a:pt x="49" y="332"/>
                </a:lnTo>
                <a:lnTo>
                  <a:pt x="51" y="334"/>
                </a:lnTo>
                <a:lnTo>
                  <a:pt x="54" y="335"/>
                </a:lnTo>
                <a:lnTo>
                  <a:pt x="55" y="335"/>
                </a:lnTo>
                <a:lnTo>
                  <a:pt x="61" y="335"/>
                </a:lnTo>
                <a:lnTo>
                  <a:pt x="64" y="337"/>
                </a:lnTo>
                <a:lnTo>
                  <a:pt x="67" y="338"/>
                </a:lnTo>
                <a:lnTo>
                  <a:pt x="68" y="339"/>
                </a:lnTo>
                <a:lnTo>
                  <a:pt x="69" y="340"/>
                </a:lnTo>
                <a:lnTo>
                  <a:pt x="71" y="342"/>
                </a:lnTo>
                <a:lnTo>
                  <a:pt x="72" y="342"/>
                </a:lnTo>
                <a:lnTo>
                  <a:pt x="73" y="342"/>
                </a:lnTo>
                <a:lnTo>
                  <a:pt x="72" y="342"/>
                </a:lnTo>
                <a:lnTo>
                  <a:pt x="76" y="339"/>
                </a:lnTo>
                <a:lnTo>
                  <a:pt x="80" y="335"/>
                </a:lnTo>
                <a:lnTo>
                  <a:pt x="82" y="335"/>
                </a:lnTo>
                <a:lnTo>
                  <a:pt x="85" y="334"/>
                </a:lnTo>
                <a:lnTo>
                  <a:pt x="90" y="333"/>
                </a:lnTo>
                <a:lnTo>
                  <a:pt x="94" y="333"/>
                </a:lnTo>
                <a:lnTo>
                  <a:pt x="96" y="335"/>
                </a:lnTo>
                <a:lnTo>
                  <a:pt x="100" y="338"/>
                </a:lnTo>
                <a:lnTo>
                  <a:pt x="105" y="340"/>
                </a:lnTo>
                <a:lnTo>
                  <a:pt x="107" y="342"/>
                </a:lnTo>
                <a:lnTo>
                  <a:pt x="109" y="342"/>
                </a:lnTo>
                <a:lnTo>
                  <a:pt x="109" y="347"/>
                </a:lnTo>
                <a:lnTo>
                  <a:pt x="108" y="349"/>
                </a:lnTo>
                <a:lnTo>
                  <a:pt x="108" y="352"/>
                </a:lnTo>
                <a:lnTo>
                  <a:pt x="105" y="355"/>
                </a:lnTo>
                <a:lnTo>
                  <a:pt x="104" y="359"/>
                </a:lnTo>
                <a:lnTo>
                  <a:pt x="99" y="366"/>
                </a:lnTo>
                <a:lnTo>
                  <a:pt x="98" y="368"/>
                </a:lnTo>
                <a:lnTo>
                  <a:pt x="98" y="370"/>
                </a:lnTo>
                <a:lnTo>
                  <a:pt x="98" y="374"/>
                </a:lnTo>
                <a:lnTo>
                  <a:pt x="98" y="375"/>
                </a:lnTo>
                <a:lnTo>
                  <a:pt x="99" y="378"/>
                </a:lnTo>
                <a:lnTo>
                  <a:pt x="103" y="384"/>
                </a:lnTo>
                <a:lnTo>
                  <a:pt x="109" y="392"/>
                </a:lnTo>
                <a:lnTo>
                  <a:pt x="108" y="394"/>
                </a:lnTo>
                <a:lnTo>
                  <a:pt x="108" y="395"/>
                </a:lnTo>
                <a:lnTo>
                  <a:pt x="105" y="397"/>
                </a:lnTo>
                <a:lnTo>
                  <a:pt x="103" y="398"/>
                </a:lnTo>
                <a:lnTo>
                  <a:pt x="100" y="398"/>
                </a:lnTo>
                <a:lnTo>
                  <a:pt x="101" y="405"/>
                </a:lnTo>
                <a:lnTo>
                  <a:pt x="102" y="411"/>
                </a:lnTo>
                <a:lnTo>
                  <a:pt x="103" y="413"/>
                </a:lnTo>
                <a:lnTo>
                  <a:pt x="104" y="414"/>
                </a:lnTo>
                <a:lnTo>
                  <a:pt x="107" y="418"/>
                </a:lnTo>
                <a:lnTo>
                  <a:pt x="109" y="420"/>
                </a:lnTo>
                <a:lnTo>
                  <a:pt x="113" y="422"/>
                </a:lnTo>
                <a:lnTo>
                  <a:pt x="117" y="424"/>
                </a:lnTo>
                <a:lnTo>
                  <a:pt x="121" y="427"/>
                </a:lnTo>
                <a:lnTo>
                  <a:pt x="126" y="431"/>
                </a:lnTo>
                <a:lnTo>
                  <a:pt x="130" y="434"/>
                </a:lnTo>
                <a:lnTo>
                  <a:pt x="136" y="442"/>
                </a:lnTo>
                <a:lnTo>
                  <a:pt x="142" y="442"/>
                </a:lnTo>
                <a:lnTo>
                  <a:pt x="144" y="442"/>
                </a:lnTo>
                <a:lnTo>
                  <a:pt x="147" y="441"/>
                </a:lnTo>
                <a:lnTo>
                  <a:pt x="149" y="438"/>
                </a:lnTo>
                <a:lnTo>
                  <a:pt x="150" y="438"/>
                </a:lnTo>
                <a:lnTo>
                  <a:pt x="152" y="437"/>
                </a:lnTo>
                <a:lnTo>
                  <a:pt x="162" y="447"/>
                </a:lnTo>
                <a:lnTo>
                  <a:pt x="166" y="451"/>
                </a:lnTo>
                <a:lnTo>
                  <a:pt x="171" y="455"/>
                </a:lnTo>
                <a:lnTo>
                  <a:pt x="174" y="459"/>
                </a:lnTo>
                <a:lnTo>
                  <a:pt x="178" y="462"/>
                </a:lnTo>
                <a:lnTo>
                  <a:pt x="186" y="467"/>
                </a:lnTo>
                <a:lnTo>
                  <a:pt x="197" y="470"/>
                </a:lnTo>
                <a:lnTo>
                  <a:pt x="200" y="472"/>
                </a:lnTo>
                <a:lnTo>
                  <a:pt x="204" y="476"/>
                </a:lnTo>
                <a:lnTo>
                  <a:pt x="206" y="477"/>
                </a:lnTo>
                <a:lnTo>
                  <a:pt x="207" y="478"/>
                </a:lnTo>
                <a:lnTo>
                  <a:pt x="210" y="479"/>
                </a:lnTo>
                <a:lnTo>
                  <a:pt x="214" y="479"/>
                </a:lnTo>
                <a:lnTo>
                  <a:pt x="214" y="481"/>
                </a:lnTo>
                <a:lnTo>
                  <a:pt x="215" y="482"/>
                </a:lnTo>
                <a:lnTo>
                  <a:pt x="218" y="481"/>
                </a:lnTo>
                <a:lnTo>
                  <a:pt x="219" y="479"/>
                </a:lnTo>
                <a:lnTo>
                  <a:pt x="221" y="483"/>
                </a:lnTo>
                <a:lnTo>
                  <a:pt x="224" y="485"/>
                </a:lnTo>
                <a:lnTo>
                  <a:pt x="226" y="486"/>
                </a:lnTo>
                <a:lnTo>
                  <a:pt x="227" y="487"/>
                </a:lnTo>
                <a:lnTo>
                  <a:pt x="230" y="487"/>
                </a:lnTo>
                <a:lnTo>
                  <a:pt x="234" y="487"/>
                </a:lnTo>
                <a:lnTo>
                  <a:pt x="238" y="487"/>
                </a:lnTo>
                <a:lnTo>
                  <a:pt x="247" y="487"/>
                </a:lnTo>
                <a:lnTo>
                  <a:pt x="246" y="490"/>
                </a:lnTo>
                <a:lnTo>
                  <a:pt x="246" y="487"/>
                </a:lnTo>
                <a:lnTo>
                  <a:pt x="247" y="487"/>
                </a:lnTo>
                <a:lnTo>
                  <a:pt x="247" y="485"/>
                </a:lnTo>
                <a:lnTo>
                  <a:pt x="250" y="484"/>
                </a:lnTo>
                <a:lnTo>
                  <a:pt x="250" y="483"/>
                </a:lnTo>
                <a:lnTo>
                  <a:pt x="252" y="483"/>
                </a:lnTo>
                <a:lnTo>
                  <a:pt x="256" y="482"/>
                </a:lnTo>
                <a:lnTo>
                  <a:pt x="257" y="487"/>
                </a:lnTo>
                <a:lnTo>
                  <a:pt x="259" y="492"/>
                </a:lnTo>
                <a:lnTo>
                  <a:pt x="260" y="491"/>
                </a:lnTo>
                <a:lnTo>
                  <a:pt x="261" y="490"/>
                </a:lnTo>
                <a:lnTo>
                  <a:pt x="264" y="484"/>
                </a:lnTo>
                <a:lnTo>
                  <a:pt x="266" y="482"/>
                </a:lnTo>
                <a:lnTo>
                  <a:pt x="268" y="479"/>
                </a:lnTo>
                <a:lnTo>
                  <a:pt x="270" y="478"/>
                </a:lnTo>
                <a:lnTo>
                  <a:pt x="270" y="477"/>
                </a:lnTo>
                <a:lnTo>
                  <a:pt x="272" y="477"/>
                </a:lnTo>
                <a:lnTo>
                  <a:pt x="276" y="478"/>
                </a:lnTo>
                <a:lnTo>
                  <a:pt x="281" y="480"/>
                </a:lnTo>
                <a:lnTo>
                  <a:pt x="286" y="483"/>
                </a:lnTo>
                <a:lnTo>
                  <a:pt x="290" y="486"/>
                </a:lnTo>
                <a:lnTo>
                  <a:pt x="295" y="490"/>
                </a:lnTo>
                <a:lnTo>
                  <a:pt x="299" y="493"/>
                </a:lnTo>
                <a:lnTo>
                  <a:pt x="301" y="497"/>
                </a:lnTo>
                <a:lnTo>
                  <a:pt x="303" y="500"/>
                </a:lnTo>
                <a:lnTo>
                  <a:pt x="305" y="497"/>
                </a:lnTo>
                <a:lnTo>
                  <a:pt x="304" y="500"/>
                </a:lnTo>
                <a:lnTo>
                  <a:pt x="306" y="496"/>
                </a:lnTo>
                <a:lnTo>
                  <a:pt x="307" y="491"/>
                </a:lnTo>
                <a:lnTo>
                  <a:pt x="308" y="487"/>
                </a:lnTo>
                <a:lnTo>
                  <a:pt x="309" y="482"/>
                </a:lnTo>
                <a:lnTo>
                  <a:pt x="312" y="478"/>
                </a:lnTo>
                <a:lnTo>
                  <a:pt x="314" y="474"/>
                </a:lnTo>
                <a:lnTo>
                  <a:pt x="317" y="470"/>
                </a:lnTo>
                <a:lnTo>
                  <a:pt x="321" y="467"/>
                </a:lnTo>
                <a:lnTo>
                  <a:pt x="323" y="464"/>
                </a:lnTo>
                <a:lnTo>
                  <a:pt x="327" y="462"/>
                </a:lnTo>
                <a:lnTo>
                  <a:pt x="332" y="460"/>
                </a:lnTo>
                <a:lnTo>
                  <a:pt x="335" y="458"/>
                </a:lnTo>
                <a:lnTo>
                  <a:pt x="336" y="460"/>
                </a:lnTo>
                <a:lnTo>
                  <a:pt x="339" y="461"/>
                </a:lnTo>
                <a:lnTo>
                  <a:pt x="340" y="462"/>
                </a:lnTo>
                <a:lnTo>
                  <a:pt x="342" y="462"/>
                </a:lnTo>
                <a:lnTo>
                  <a:pt x="344" y="461"/>
                </a:lnTo>
                <a:lnTo>
                  <a:pt x="345" y="461"/>
                </a:lnTo>
                <a:lnTo>
                  <a:pt x="346" y="458"/>
                </a:lnTo>
                <a:lnTo>
                  <a:pt x="349" y="456"/>
                </a:lnTo>
                <a:lnTo>
                  <a:pt x="351" y="456"/>
                </a:lnTo>
                <a:lnTo>
                  <a:pt x="353" y="455"/>
                </a:lnTo>
                <a:lnTo>
                  <a:pt x="361" y="464"/>
                </a:lnTo>
                <a:lnTo>
                  <a:pt x="361" y="468"/>
                </a:lnTo>
                <a:lnTo>
                  <a:pt x="361" y="469"/>
                </a:lnTo>
                <a:lnTo>
                  <a:pt x="361" y="470"/>
                </a:lnTo>
                <a:lnTo>
                  <a:pt x="362" y="472"/>
                </a:lnTo>
                <a:lnTo>
                  <a:pt x="363" y="474"/>
                </a:lnTo>
                <a:lnTo>
                  <a:pt x="366" y="474"/>
                </a:lnTo>
                <a:lnTo>
                  <a:pt x="368" y="476"/>
                </a:lnTo>
                <a:lnTo>
                  <a:pt x="371" y="476"/>
                </a:lnTo>
                <a:lnTo>
                  <a:pt x="373" y="476"/>
                </a:lnTo>
                <a:lnTo>
                  <a:pt x="375" y="473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30" name="Freeform 129">
            <a:extLst>
              <a:ext uri="{FF2B5EF4-FFF2-40B4-BE49-F238E27FC236}">
                <a16:creationId xmlns:a16="http://schemas.microsoft.com/office/drawing/2014/main" id="{4BF409B0-1717-FCB9-A442-8FC23C23BE38}"/>
              </a:ext>
            </a:extLst>
          </p:cNvPr>
          <p:cNvSpPr>
            <a:spLocks/>
          </p:cNvSpPr>
          <p:nvPr/>
        </p:nvSpPr>
        <p:spPr bwMode="auto">
          <a:xfrm>
            <a:off x="7093913" y="3871759"/>
            <a:ext cx="38100" cy="125413"/>
          </a:xfrm>
          <a:custGeom>
            <a:avLst/>
            <a:gdLst>
              <a:gd name="T0" fmla="*/ 12 w 19"/>
              <a:gd name="T1" fmla="*/ 0 h 67"/>
              <a:gd name="T2" fmla="*/ 17 w 19"/>
              <a:gd name="T3" fmla="*/ 0 h 67"/>
              <a:gd name="T4" fmla="*/ 17 w 19"/>
              <a:gd name="T5" fmla="*/ 10 h 67"/>
              <a:gd name="T6" fmla="*/ 13 w 19"/>
              <a:gd name="T7" fmla="*/ 10 h 67"/>
              <a:gd name="T8" fmla="*/ 12 w 19"/>
              <a:gd name="T9" fmla="*/ 29 h 67"/>
              <a:gd name="T10" fmla="*/ 18 w 19"/>
              <a:gd name="T11" fmla="*/ 29 h 67"/>
              <a:gd name="T12" fmla="*/ 13 w 19"/>
              <a:gd name="T13" fmla="*/ 66 h 67"/>
              <a:gd name="T14" fmla="*/ 12 w 19"/>
              <a:gd name="T15" fmla="*/ 60 h 67"/>
              <a:gd name="T16" fmla="*/ 11 w 19"/>
              <a:gd name="T17" fmla="*/ 55 h 67"/>
              <a:gd name="T18" fmla="*/ 8 w 19"/>
              <a:gd name="T19" fmla="*/ 49 h 67"/>
              <a:gd name="T20" fmla="*/ 4 w 19"/>
              <a:gd name="T21" fmla="*/ 43 h 67"/>
              <a:gd name="T22" fmla="*/ 0 w 19"/>
              <a:gd name="T23" fmla="*/ 37 h 67"/>
              <a:gd name="T24" fmla="*/ 0 w 19"/>
              <a:gd name="T25" fmla="*/ 34 h 67"/>
              <a:gd name="T26" fmla="*/ 0 w 19"/>
              <a:gd name="T27" fmla="*/ 32 h 67"/>
              <a:gd name="T28" fmla="*/ 0 w 19"/>
              <a:gd name="T29" fmla="*/ 29 h 67"/>
              <a:gd name="T30" fmla="*/ 0 w 19"/>
              <a:gd name="T31" fmla="*/ 26 h 67"/>
              <a:gd name="T32" fmla="*/ 3 w 19"/>
              <a:gd name="T33" fmla="*/ 22 h 67"/>
              <a:gd name="T34" fmla="*/ 6 w 19"/>
              <a:gd name="T35" fmla="*/ 18 h 67"/>
              <a:gd name="T36" fmla="*/ 8 w 19"/>
              <a:gd name="T37" fmla="*/ 16 h 67"/>
              <a:gd name="T38" fmla="*/ 8 w 19"/>
              <a:gd name="T39" fmla="*/ 14 h 67"/>
              <a:gd name="T40" fmla="*/ 12 w 19"/>
              <a:gd name="T41" fmla="*/ 0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9" h="67">
                <a:moveTo>
                  <a:pt x="12" y="0"/>
                </a:moveTo>
                <a:lnTo>
                  <a:pt x="17" y="0"/>
                </a:lnTo>
                <a:lnTo>
                  <a:pt x="17" y="10"/>
                </a:lnTo>
                <a:lnTo>
                  <a:pt x="13" y="10"/>
                </a:lnTo>
                <a:lnTo>
                  <a:pt x="12" y="29"/>
                </a:lnTo>
                <a:lnTo>
                  <a:pt x="18" y="29"/>
                </a:lnTo>
                <a:lnTo>
                  <a:pt x="13" y="66"/>
                </a:lnTo>
                <a:lnTo>
                  <a:pt x="12" y="60"/>
                </a:lnTo>
                <a:lnTo>
                  <a:pt x="11" y="55"/>
                </a:lnTo>
                <a:lnTo>
                  <a:pt x="8" y="49"/>
                </a:lnTo>
                <a:lnTo>
                  <a:pt x="4" y="43"/>
                </a:lnTo>
                <a:lnTo>
                  <a:pt x="0" y="37"/>
                </a:lnTo>
                <a:lnTo>
                  <a:pt x="0" y="34"/>
                </a:lnTo>
                <a:lnTo>
                  <a:pt x="0" y="32"/>
                </a:lnTo>
                <a:lnTo>
                  <a:pt x="0" y="29"/>
                </a:lnTo>
                <a:lnTo>
                  <a:pt x="0" y="26"/>
                </a:lnTo>
                <a:lnTo>
                  <a:pt x="3" y="22"/>
                </a:lnTo>
                <a:lnTo>
                  <a:pt x="6" y="18"/>
                </a:lnTo>
                <a:lnTo>
                  <a:pt x="8" y="16"/>
                </a:lnTo>
                <a:lnTo>
                  <a:pt x="8" y="14"/>
                </a:lnTo>
                <a:lnTo>
                  <a:pt x="12" y="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31" name="Freeform 130">
            <a:extLst>
              <a:ext uri="{FF2B5EF4-FFF2-40B4-BE49-F238E27FC236}">
                <a16:creationId xmlns:a16="http://schemas.microsoft.com/office/drawing/2014/main" id="{611B80B1-28DA-854B-E9E3-7056A92E6424}"/>
              </a:ext>
            </a:extLst>
          </p:cNvPr>
          <p:cNvSpPr>
            <a:spLocks/>
          </p:cNvSpPr>
          <p:nvPr/>
        </p:nvSpPr>
        <p:spPr bwMode="auto">
          <a:xfrm>
            <a:off x="7119313" y="3814609"/>
            <a:ext cx="38100" cy="61913"/>
          </a:xfrm>
          <a:custGeom>
            <a:avLst/>
            <a:gdLst>
              <a:gd name="T0" fmla="*/ 0 w 18"/>
              <a:gd name="T1" fmla="*/ 32 h 33"/>
              <a:gd name="T2" fmla="*/ 4 w 18"/>
              <a:gd name="T3" fmla="*/ 14 h 33"/>
              <a:gd name="T4" fmla="*/ 6 w 18"/>
              <a:gd name="T5" fmla="*/ 0 h 33"/>
              <a:gd name="T6" fmla="*/ 12 w 18"/>
              <a:gd name="T7" fmla="*/ 2 h 33"/>
              <a:gd name="T8" fmla="*/ 14 w 18"/>
              <a:gd name="T9" fmla="*/ 3 h 33"/>
              <a:gd name="T10" fmla="*/ 17 w 18"/>
              <a:gd name="T11" fmla="*/ 4 h 33"/>
              <a:gd name="T12" fmla="*/ 14 w 18"/>
              <a:gd name="T13" fmla="*/ 9 h 33"/>
              <a:gd name="T14" fmla="*/ 13 w 18"/>
              <a:gd name="T15" fmla="*/ 13 h 33"/>
              <a:gd name="T16" fmla="*/ 12 w 18"/>
              <a:gd name="T17" fmla="*/ 14 h 33"/>
              <a:gd name="T18" fmla="*/ 10 w 18"/>
              <a:gd name="T19" fmla="*/ 15 h 33"/>
              <a:gd name="T20" fmla="*/ 9 w 18"/>
              <a:gd name="T21" fmla="*/ 15 h 33"/>
              <a:gd name="T22" fmla="*/ 8 w 18"/>
              <a:gd name="T23" fmla="*/ 16 h 33"/>
              <a:gd name="T24" fmla="*/ 8 w 18"/>
              <a:gd name="T25" fmla="*/ 19 h 33"/>
              <a:gd name="T26" fmla="*/ 8 w 18"/>
              <a:gd name="T27" fmla="*/ 20 h 33"/>
              <a:gd name="T28" fmla="*/ 9 w 18"/>
              <a:gd name="T29" fmla="*/ 21 h 33"/>
              <a:gd name="T30" fmla="*/ 8 w 18"/>
              <a:gd name="T31" fmla="*/ 27 h 33"/>
              <a:gd name="T32" fmla="*/ 6 w 18"/>
              <a:gd name="T33" fmla="*/ 28 h 33"/>
              <a:gd name="T34" fmla="*/ 5 w 18"/>
              <a:gd name="T35" fmla="*/ 31 h 33"/>
              <a:gd name="T36" fmla="*/ 0 w 18"/>
              <a:gd name="T37" fmla="*/ 31 h 33"/>
              <a:gd name="T38" fmla="*/ 0 w 18"/>
              <a:gd name="T39" fmla="*/ 32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8" h="33">
                <a:moveTo>
                  <a:pt x="0" y="32"/>
                </a:moveTo>
                <a:lnTo>
                  <a:pt x="4" y="14"/>
                </a:lnTo>
                <a:lnTo>
                  <a:pt x="6" y="0"/>
                </a:lnTo>
                <a:lnTo>
                  <a:pt x="12" y="2"/>
                </a:lnTo>
                <a:lnTo>
                  <a:pt x="14" y="3"/>
                </a:lnTo>
                <a:lnTo>
                  <a:pt x="17" y="4"/>
                </a:lnTo>
                <a:lnTo>
                  <a:pt x="14" y="9"/>
                </a:lnTo>
                <a:lnTo>
                  <a:pt x="13" y="13"/>
                </a:lnTo>
                <a:lnTo>
                  <a:pt x="12" y="14"/>
                </a:lnTo>
                <a:lnTo>
                  <a:pt x="10" y="15"/>
                </a:lnTo>
                <a:lnTo>
                  <a:pt x="9" y="15"/>
                </a:lnTo>
                <a:lnTo>
                  <a:pt x="8" y="16"/>
                </a:lnTo>
                <a:lnTo>
                  <a:pt x="8" y="19"/>
                </a:lnTo>
                <a:lnTo>
                  <a:pt x="8" y="20"/>
                </a:lnTo>
                <a:lnTo>
                  <a:pt x="9" y="21"/>
                </a:lnTo>
                <a:lnTo>
                  <a:pt x="8" y="27"/>
                </a:lnTo>
                <a:lnTo>
                  <a:pt x="6" y="28"/>
                </a:lnTo>
                <a:lnTo>
                  <a:pt x="5" y="31"/>
                </a:lnTo>
                <a:lnTo>
                  <a:pt x="0" y="31"/>
                </a:lnTo>
                <a:lnTo>
                  <a:pt x="0" y="32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32" name="Freeform 131">
            <a:extLst>
              <a:ext uri="{FF2B5EF4-FFF2-40B4-BE49-F238E27FC236}">
                <a16:creationId xmlns:a16="http://schemas.microsoft.com/office/drawing/2014/main" id="{3E14D6C5-089B-3E7B-B8A3-90BAC5D9D18B}"/>
              </a:ext>
            </a:extLst>
          </p:cNvPr>
          <p:cNvSpPr>
            <a:spLocks/>
          </p:cNvSpPr>
          <p:nvPr/>
        </p:nvSpPr>
        <p:spPr bwMode="auto">
          <a:xfrm>
            <a:off x="7127250" y="3722534"/>
            <a:ext cx="180975" cy="177800"/>
          </a:xfrm>
          <a:custGeom>
            <a:avLst/>
            <a:gdLst>
              <a:gd name="T0" fmla="*/ 3 w 89"/>
              <a:gd name="T1" fmla="*/ 86 h 95"/>
              <a:gd name="T2" fmla="*/ 13 w 89"/>
              <a:gd name="T3" fmla="*/ 93 h 95"/>
              <a:gd name="T4" fmla="*/ 16 w 89"/>
              <a:gd name="T5" fmla="*/ 94 h 95"/>
              <a:gd name="T6" fmla="*/ 72 w 89"/>
              <a:gd name="T7" fmla="*/ 55 h 95"/>
              <a:gd name="T8" fmla="*/ 72 w 89"/>
              <a:gd name="T9" fmla="*/ 48 h 95"/>
              <a:gd name="T10" fmla="*/ 75 w 89"/>
              <a:gd name="T11" fmla="*/ 36 h 95"/>
              <a:gd name="T12" fmla="*/ 75 w 89"/>
              <a:gd name="T13" fmla="*/ 28 h 95"/>
              <a:gd name="T14" fmla="*/ 73 w 89"/>
              <a:gd name="T15" fmla="*/ 24 h 95"/>
              <a:gd name="T16" fmla="*/ 73 w 89"/>
              <a:gd name="T17" fmla="*/ 19 h 95"/>
              <a:gd name="T18" fmla="*/ 75 w 89"/>
              <a:gd name="T19" fmla="*/ 16 h 95"/>
              <a:gd name="T20" fmla="*/ 79 w 89"/>
              <a:gd name="T21" fmla="*/ 14 h 95"/>
              <a:gd name="T22" fmla="*/ 86 w 89"/>
              <a:gd name="T23" fmla="*/ 0 h 95"/>
              <a:gd name="T24" fmla="*/ 72 w 89"/>
              <a:gd name="T25" fmla="*/ 4 h 95"/>
              <a:gd name="T26" fmla="*/ 65 w 89"/>
              <a:gd name="T27" fmla="*/ 5 h 95"/>
              <a:gd name="T28" fmla="*/ 59 w 89"/>
              <a:gd name="T29" fmla="*/ 4 h 95"/>
              <a:gd name="T30" fmla="*/ 53 w 89"/>
              <a:gd name="T31" fmla="*/ 8 h 95"/>
              <a:gd name="T32" fmla="*/ 47 w 89"/>
              <a:gd name="T33" fmla="*/ 11 h 95"/>
              <a:gd name="T34" fmla="*/ 41 w 89"/>
              <a:gd name="T35" fmla="*/ 11 h 95"/>
              <a:gd name="T36" fmla="*/ 33 w 89"/>
              <a:gd name="T37" fmla="*/ 8 h 95"/>
              <a:gd name="T38" fmla="*/ 31 w 89"/>
              <a:gd name="T39" fmla="*/ 6 h 95"/>
              <a:gd name="T40" fmla="*/ 27 w 89"/>
              <a:gd name="T41" fmla="*/ 9 h 95"/>
              <a:gd name="T42" fmla="*/ 23 w 89"/>
              <a:gd name="T43" fmla="*/ 10 h 95"/>
              <a:gd name="T44" fmla="*/ 16 w 89"/>
              <a:gd name="T45" fmla="*/ 9 h 95"/>
              <a:gd name="T46" fmla="*/ 9 w 89"/>
              <a:gd name="T47" fmla="*/ 6 h 95"/>
              <a:gd name="T48" fmla="*/ 6 w 89"/>
              <a:gd name="T49" fmla="*/ 13 h 95"/>
              <a:gd name="T50" fmla="*/ 3 w 89"/>
              <a:gd name="T51" fmla="*/ 24 h 95"/>
              <a:gd name="T52" fmla="*/ 3 w 89"/>
              <a:gd name="T53" fmla="*/ 32 h 95"/>
              <a:gd name="T54" fmla="*/ 1 w 89"/>
              <a:gd name="T55" fmla="*/ 48 h 95"/>
              <a:gd name="T56" fmla="*/ 10 w 89"/>
              <a:gd name="T57" fmla="*/ 52 h 95"/>
              <a:gd name="T58" fmla="*/ 10 w 89"/>
              <a:gd name="T59" fmla="*/ 58 h 95"/>
              <a:gd name="T60" fmla="*/ 7 w 89"/>
              <a:gd name="T61" fmla="*/ 62 h 95"/>
              <a:gd name="T62" fmla="*/ 4 w 89"/>
              <a:gd name="T63" fmla="*/ 64 h 95"/>
              <a:gd name="T64" fmla="*/ 3 w 89"/>
              <a:gd name="T65" fmla="*/ 68 h 95"/>
              <a:gd name="T66" fmla="*/ 3 w 89"/>
              <a:gd name="T67" fmla="*/ 75 h 95"/>
              <a:gd name="T68" fmla="*/ 0 w 89"/>
              <a:gd name="T69" fmla="*/ 79 h 95"/>
              <a:gd name="T70" fmla="*/ 0 w 89"/>
              <a:gd name="T71" fmla="*/ 84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89" h="95">
                <a:moveTo>
                  <a:pt x="0" y="84"/>
                </a:moveTo>
                <a:lnTo>
                  <a:pt x="3" y="86"/>
                </a:lnTo>
                <a:lnTo>
                  <a:pt x="8" y="90"/>
                </a:lnTo>
                <a:lnTo>
                  <a:pt x="13" y="93"/>
                </a:lnTo>
                <a:lnTo>
                  <a:pt x="14" y="94"/>
                </a:lnTo>
                <a:lnTo>
                  <a:pt x="16" y="94"/>
                </a:lnTo>
                <a:lnTo>
                  <a:pt x="19" y="94"/>
                </a:lnTo>
                <a:lnTo>
                  <a:pt x="72" y="55"/>
                </a:lnTo>
                <a:lnTo>
                  <a:pt x="72" y="52"/>
                </a:lnTo>
                <a:lnTo>
                  <a:pt x="72" y="48"/>
                </a:lnTo>
                <a:lnTo>
                  <a:pt x="73" y="42"/>
                </a:lnTo>
                <a:lnTo>
                  <a:pt x="75" y="36"/>
                </a:lnTo>
                <a:lnTo>
                  <a:pt x="76" y="30"/>
                </a:lnTo>
                <a:lnTo>
                  <a:pt x="75" y="28"/>
                </a:lnTo>
                <a:lnTo>
                  <a:pt x="74" y="26"/>
                </a:lnTo>
                <a:lnTo>
                  <a:pt x="73" y="24"/>
                </a:lnTo>
                <a:lnTo>
                  <a:pt x="72" y="22"/>
                </a:lnTo>
                <a:lnTo>
                  <a:pt x="73" y="19"/>
                </a:lnTo>
                <a:lnTo>
                  <a:pt x="74" y="17"/>
                </a:lnTo>
                <a:lnTo>
                  <a:pt x="75" y="16"/>
                </a:lnTo>
                <a:lnTo>
                  <a:pt x="76" y="15"/>
                </a:lnTo>
                <a:lnTo>
                  <a:pt x="79" y="14"/>
                </a:lnTo>
                <a:lnTo>
                  <a:pt x="88" y="5"/>
                </a:lnTo>
                <a:lnTo>
                  <a:pt x="86" y="0"/>
                </a:lnTo>
                <a:lnTo>
                  <a:pt x="78" y="2"/>
                </a:lnTo>
                <a:lnTo>
                  <a:pt x="72" y="4"/>
                </a:lnTo>
                <a:lnTo>
                  <a:pt x="68" y="5"/>
                </a:lnTo>
                <a:lnTo>
                  <a:pt x="65" y="5"/>
                </a:lnTo>
                <a:lnTo>
                  <a:pt x="62" y="4"/>
                </a:lnTo>
                <a:lnTo>
                  <a:pt x="59" y="4"/>
                </a:lnTo>
                <a:lnTo>
                  <a:pt x="54" y="5"/>
                </a:lnTo>
                <a:lnTo>
                  <a:pt x="53" y="8"/>
                </a:lnTo>
                <a:lnTo>
                  <a:pt x="50" y="9"/>
                </a:lnTo>
                <a:lnTo>
                  <a:pt x="47" y="11"/>
                </a:lnTo>
                <a:lnTo>
                  <a:pt x="44" y="11"/>
                </a:lnTo>
                <a:lnTo>
                  <a:pt x="41" y="11"/>
                </a:lnTo>
                <a:lnTo>
                  <a:pt x="37" y="9"/>
                </a:lnTo>
                <a:lnTo>
                  <a:pt x="33" y="8"/>
                </a:lnTo>
                <a:lnTo>
                  <a:pt x="32" y="6"/>
                </a:lnTo>
                <a:lnTo>
                  <a:pt x="31" y="6"/>
                </a:lnTo>
                <a:lnTo>
                  <a:pt x="30" y="8"/>
                </a:lnTo>
                <a:lnTo>
                  <a:pt x="27" y="9"/>
                </a:lnTo>
                <a:lnTo>
                  <a:pt x="25" y="9"/>
                </a:lnTo>
                <a:lnTo>
                  <a:pt x="23" y="10"/>
                </a:lnTo>
                <a:lnTo>
                  <a:pt x="19" y="10"/>
                </a:lnTo>
                <a:lnTo>
                  <a:pt x="16" y="9"/>
                </a:lnTo>
                <a:lnTo>
                  <a:pt x="13" y="9"/>
                </a:lnTo>
                <a:lnTo>
                  <a:pt x="9" y="6"/>
                </a:lnTo>
                <a:lnTo>
                  <a:pt x="6" y="6"/>
                </a:lnTo>
                <a:lnTo>
                  <a:pt x="6" y="13"/>
                </a:lnTo>
                <a:lnTo>
                  <a:pt x="6" y="24"/>
                </a:lnTo>
                <a:lnTo>
                  <a:pt x="3" y="24"/>
                </a:lnTo>
                <a:lnTo>
                  <a:pt x="3" y="27"/>
                </a:lnTo>
                <a:lnTo>
                  <a:pt x="3" y="32"/>
                </a:lnTo>
                <a:lnTo>
                  <a:pt x="3" y="39"/>
                </a:lnTo>
                <a:lnTo>
                  <a:pt x="1" y="48"/>
                </a:lnTo>
                <a:lnTo>
                  <a:pt x="7" y="51"/>
                </a:lnTo>
                <a:lnTo>
                  <a:pt x="10" y="52"/>
                </a:lnTo>
                <a:lnTo>
                  <a:pt x="12" y="53"/>
                </a:lnTo>
                <a:lnTo>
                  <a:pt x="10" y="58"/>
                </a:lnTo>
                <a:lnTo>
                  <a:pt x="8" y="61"/>
                </a:lnTo>
                <a:lnTo>
                  <a:pt x="7" y="62"/>
                </a:lnTo>
                <a:lnTo>
                  <a:pt x="5" y="64"/>
                </a:lnTo>
                <a:lnTo>
                  <a:pt x="4" y="64"/>
                </a:lnTo>
                <a:lnTo>
                  <a:pt x="3" y="64"/>
                </a:lnTo>
                <a:lnTo>
                  <a:pt x="3" y="68"/>
                </a:lnTo>
                <a:lnTo>
                  <a:pt x="4" y="70"/>
                </a:lnTo>
                <a:lnTo>
                  <a:pt x="3" y="75"/>
                </a:lnTo>
                <a:lnTo>
                  <a:pt x="1" y="77"/>
                </a:lnTo>
                <a:lnTo>
                  <a:pt x="0" y="79"/>
                </a:lnTo>
                <a:lnTo>
                  <a:pt x="0" y="86"/>
                </a:lnTo>
                <a:lnTo>
                  <a:pt x="0" y="84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33" name="Freeform 132">
            <a:extLst>
              <a:ext uri="{FF2B5EF4-FFF2-40B4-BE49-F238E27FC236}">
                <a16:creationId xmlns:a16="http://schemas.microsoft.com/office/drawing/2014/main" id="{445AECF8-3197-AB7B-D74D-65430AFC17E1}"/>
              </a:ext>
            </a:extLst>
          </p:cNvPr>
          <p:cNvSpPr>
            <a:spLocks/>
          </p:cNvSpPr>
          <p:nvPr/>
        </p:nvSpPr>
        <p:spPr bwMode="auto">
          <a:xfrm>
            <a:off x="7117725" y="3890809"/>
            <a:ext cx="34925" cy="41275"/>
          </a:xfrm>
          <a:custGeom>
            <a:avLst/>
            <a:gdLst>
              <a:gd name="T0" fmla="*/ 12 w 17"/>
              <a:gd name="T1" fmla="*/ 21 h 22"/>
              <a:gd name="T2" fmla="*/ 14 w 17"/>
              <a:gd name="T3" fmla="*/ 0 h 22"/>
              <a:gd name="T4" fmla="*/ 5 w 17"/>
              <a:gd name="T5" fmla="*/ 0 h 22"/>
              <a:gd name="T6" fmla="*/ 0 w 17"/>
              <a:gd name="T7" fmla="*/ 19 h 22"/>
              <a:gd name="T8" fmla="*/ 16 w 17"/>
              <a:gd name="T9" fmla="*/ 19 h 22"/>
              <a:gd name="T10" fmla="*/ 12 w 17"/>
              <a:gd name="T11" fmla="*/ 21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" h="22">
                <a:moveTo>
                  <a:pt x="12" y="21"/>
                </a:moveTo>
                <a:lnTo>
                  <a:pt x="14" y="0"/>
                </a:lnTo>
                <a:lnTo>
                  <a:pt x="5" y="0"/>
                </a:lnTo>
                <a:lnTo>
                  <a:pt x="0" y="19"/>
                </a:lnTo>
                <a:lnTo>
                  <a:pt x="16" y="19"/>
                </a:lnTo>
                <a:lnTo>
                  <a:pt x="12" y="21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34" name="Freeform 133">
            <a:extLst>
              <a:ext uri="{FF2B5EF4-FFF2-40B4-BE49-F238E27FC236}">
                <a16:creationId xmlns:a16="http://schemas.microsoft.com/office/drawing/2014/main" id="{F59118EB-415C-D7A2-92B2-12FF08E8B8B8}"/>
              </a:ext>
            </a:extLst>
          </p:cNvPr>
          <p:cNvSpPr>
            <a:spLocks/>
          </p:cNvSpPr>
          <p:nvPr/>
        </p:nvSpPr>
        <p:spPr bwMode="auto">
          <a:xfrm>
            <a:off x="7122488" y="3862234"/>
            <a:ext cx="115888" cy="157163"/>
          </a:xfrm>
          <a:custGeom>
            <a:avLst/>
            <a:gdLst>
              <a:gd name="T0" fmla="*/ 0 w 57"/>
              <a:gd name="T1" fmla="*/ 80 h 84"/>
              <a:gd name="T2" fmla="*/ 16 w 57"/>
              <a:gd name="T3" fmla="*/ 83 h 84"/>
              <a:gd name="T4" fmla="*/ 17 w 57"/>
              <a:gd name="T5" fmla="*/ 80 h 84"/>
              <a:gd name="T6" fmla="*/ 19 w 57"/>
              <a:gd name="T7" fmla="*/ 78 h 84"/>
              <a:gd name="T8" fmla="*/ 21 w 57"/>
              <a:gd name="T9" fmla="*/ 70 h 84"/>
              <a:gd name="T10" fmla="*/ 27 w 57"/>
              <a:gd name="T11" fmla="*/ 67 h 84"/>
              <a:gd name="T12" fmla="*/ 30 w 57"/>
              <a:gd name="T13" fmla="*/ 67 h 84"/>
              <a:gd name="T14" fmla="*/ 34 w 57"/>
              <a:gd name="T15" fmla="*/ 60 h 84"/>
              <a:gd name="T16" fmla="*/ 41 w 57"/>
              <a:gd name="T17" fmla="*/ 60 h 84"/>
              <a:gd name="T18" fmla="*/ 28 w 57"/>
              <a:gd name="T19" fmla="*/ 34 h 84"/>
              <a:gd name="T20" fmla="*/ 56 w 57"/>
              <a:gd name="T21" fmla="*/ 24 h 84"/>
              <a:gd name="T22" fmla="*/ 48 w 57"/>
              <a:gd name="T23" fmla="*/ 0 h 84"/>
              <a:gd name="T24" fmla="*/ 22 w 57"/>
              <a:gd name="T25" fmla="*/ 18 h 84"/>
              <a:gd name="T26" fmla="*/ 20 w 57"/>
              <a:gd name="T27" fmla="*/ 18 h 84"/>
              <a:gd name="T28" fmla="*/ 18 w 57"/>
              <a:gd name="T29" fmla="*/ 18 h 84"/>
              <a:gd name="T30" fmla="*/ 16 w 57"/>
              <a:gd name="T31" fmla="*/ 17 h 84"/>
              <a:gd name="T32" fmla="*/ 12 w 57"/>
              <a:gd name="T33" fmla="*/ 14 h 84"/>
              <a:gd name="T34" fmla="*/ 7 w 57"/>
              <a:gd name="T35" fmla="*/ 10 h 84"/>
              <a:gd name="T36" fmla="*/ 5 w 57"/>
              <a:gd name="T37" fmla="*/ 10 h 84"/>
              <a:gd name="T38" fmla="*/ 3 w 57"/>
              <a:gd name="T39" fmla="*/ 9 h 84"/>
              <a:gd name="T40" fmla="*/ 3 w 57"/>
              <a:gd name="T41" fmla="*/ 10 h 84"/>
              <a:gd name="T42" fmla="*/ 3 w 57"/>
              <a:gd name="T43" fmla="*/ 14 h 84"/>
              <a:gd name="T44" fmla="*/ 3 w 57"/>
              <a:gd name="T45" fmla="*/ 35 h 84"/>
              <a:gd name="T46" fmla="*/ 4 w 57"/>
              <a:gd name="T47" fmla="*/ 34 h 84"/>
              <a:gd name="T48" fmla="*/ 0 w 57"/>
              <a:gd name="T49" fmla="*/ 70 h 84"/>
              <a:gd name="T50" fmla="*/ 0 w 57"/>
              <a:gd name="T51" fmla="*/ 8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7" h="84">
                <a:moveTo>
                  <a:pt x="0" y="80"/>
                </a:moveTo>
                <a:lnTo>
                  <a:pt x="16" y="83"/>
                </a:lnTo>
                <a:lnTo>
                  <a:pt x="17" y="80"/>
                </a:lnTo>
                <a:lnTo>
                  <a:pt x="19" y="78"/>
                </a:lnTo>
                <a:lnTo>
                  <a:pt x="21" y="70"/>
                </a:lnTo>
                <a:lnTo>
                  <a:pt x="27" y="67"/>
                </a:lnTo>
                <a:lnTo>
                  <a:pt x="30" y="67"/>
                </a:lnTo>
                <a:lnTo>
                  <a:pt x="34" y="60"/>
                </a:lnTo>
                <a:lnTo>
                  <a:pt x="41" y="60"/>
                </a:lnTo>
                <a:lnTo>
                  <a:pt x="28" y="34"/>
                </a:lnTo>
                <a:lnTo>
                  <a:pt x="56" y="24"/>
                </a:lnTo>
                <a:lnTo>
                  <a:pt x="48" y="0"/>
                </a:lnTo>
                <a:lnTo>
                  <a:pt x="22" y="18"/>
                </a:lnTo>
                <a:lnTo>
                  <a:pt x="20" y="18"/>
                </a:lnTo>
                <a:lnTo>
                  <a:pt x="18" y="18"/>
                </a:lnTo>
                <a:lnTo>
                  <a:pt x="16" y="17"/>
                </a:lnTo>
                <a:lnTo>
                  <a:pt x="12" y="14"/>
                </a:lnTo>
                <a:lnTo>
                  <a:pt x="7" y="10"/>
                </a:lnTo>
                <a:lnTo>
                  <a:pt x="5" y="10"/>
                </a:lnTo>
                <a:lnTo>
                  <a:pt x="3" y="9"/>
                </a:lnTo>
                <a:lnTo>
                  <a:pt x="3" y="10"/>
                </a:lnTo>
                <a:lnTo>
                  <a:pt x="3" y="14"/>
                </a:lnTo>
                <a:lnTo>
                  <a:pt x="3" y="35"/>
                </a:lnTo>
                <a:lnTo>
                  <a:pt x="4" y="34"/>
                </a:lnTo>
                <a:lnTo>
                  <a:pt x="0" y="70"/>
                </a:lnTo>
                <a:lnTo>
                  <a:pt x="0" y="8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35" name="Freeform 134">
            <a:extLst>
              <a:ext uri="{FF2B5EF4-FFF2-40B4-BE49-F238E27FC236}">
                <a16:creationId xmlns:a16="http://schemas.microsoft.com/office/drawing/2014/main" id="{69A76A14-285E-9506-8BFF-C25C44BC98BC}"/>
              </a:ext>
            </a:extLst>
          </p:cNvPr>
          <p:cNvSpPr>
            <a:spLocks/>
          </p:cNvSpPr>
          <p:nvPr/>
        </p:nvSpPr>
        <p:spPr bwMode="auto">
          <a:xfrm>
            <a:off x="7220913" y="3719359"/>
            <a:ext cx="287338" cy="298450"/>
          </a:xfrm>
          <a:custGeom>
            <a:avLst/>
            <a:gdLst>
              <a:gd name="T0" fmla="*/ 56 w 142"/>
              <a:gd name="T1" fmla="*/ 3 h 160"/>
              <a:gd name="T2" fmla="*/ 59 w 142"/>
              <a:gd name="T3" fmla="*/ 0 h 160"/>
              <a:gd name="T4" fmla="*/ 64 w 142"/>
              <a:gd name="T5" fmla="*/ 2 h 160"/>
              <a:gd name="T6" fmla="*/ 69 w 142"/>
              <a:gd name="T7" fmla="*/ 3 h 160"/>
              <a:gd name="T8" fmla="*/ 71 w 142"/>
              <a:gd name="T9" fmla="*/ 8 h 160"/>
              <a:gd name="T10" fmla="*/ 76 w 142"/>
              <a:gd name="T11" fmla="*/ 17 h 160"/>
              <a:gd name="T12" fmla="*/ 84 w 142"/>
              <a:gd name="T13" fmla="*/ 23 h 160"/>
              <a:gd name="T14" fmla="*/ 93 w 142"/>
              <a:gd name="T15" fmla="*/ 28 h 160"/>
              <a:gd name="T16" fmla="*/ 95 w 142"/>
              <a:gd name="T17" fmla="*/ 35 h 160"/>
              <a:gd name="T18" fmla="*/ 91 w 142"/>
              <a:gd name="T19" fmla="*/ 51 h 160"/>
              <a:gd name="T20" fmla="*/ 89 w 142"/>
              <a:gd name="T21" fmla="*/ 58 h 160"/>
              <a:gd name="T22" fmla="*/ 91 w 142"/>
              <a:gd name="T23" fmla="*/ 65 h 160"/>
              <a:gd name="T24" fmla="*/ 93 w 142"/>
              <a:gd name="T25" fmla="*/ 72 h 160"/>
              <a:gd name="T26" fmla="*/ 97 w 142"/>
              <a:gd name="T27" fmla="*/ 77 h 160"/>
              <a:gd name="T28" fmla="*/ 111 w 142"/>
              <a:gd name="T29" fmla="*/ 89 h 160"/>
              <a:gd name="T30" fmla="*/ 120 w 142"/>
              <a:gd name="T31" fmla="*/ 97 h 160"/>
              <a:gd name="T32" fmla="*/ 123 w 142"/>
              <a:gd name="T33" fmla="*/ 104 h 160"/>
              <a:gd name="T34" fmla="*/ 124 w 142"/>
              <a:gd name="T35" fmla="*/ 110 h 160"/>
              <a:gd name="T36" fmla="*/ 127 w 142"/>
              <a:gd name="T37" fmla="*/ 120 h 160"/>
              <a:gd name="T38" fmla="*/ 131 w 142"/>
              <a:gd name="T39" fmla="*/ 125 h 160"/>
              <a:gd name="T40" fmla="*/ 137 w 142"/>
              <a:gd name="T41" fmla="*/ 132 h 160"/>
              <a:gd name="T42" fmla="*/ 141 w 142"/>
              <a:gd name="T43" fmla="*/ 138 h 160"/>
              <a:gd name="T44" fmla="*/ 136 w 142"/>
              <a:gd name="T45" fmla="*/ 139 h 160"/>
              <a:gd name="T46" fmla="*/ 128 w 142"/>
              <a:gd name="T47" fmla="*/ 138 h 160"/>
              <a:gd name="T48" fmla="*/ 124 w 142"/>
              <a:gd name="T49" fmla="*/ 138 h 160"/>
              <a:gd name="T50" fmla="*/ 122 w 142"/>
              <a:gd name="T51" fmla="*/ 142 h 160"/>
              <a:gd name="T52" fmla="*/ 114 w 142"/>
              <a:gd name="T53" fmla="*/ 159 h 160"/>
              <a:gd name="T54" fmla="*/ 72 w 142"/>
              <a:gd name="T55" fmla="*/ 146 h 160"/>
              <a:gd name="T56" fmla="*/ 69 w 142"/>
              <a:gd name="T57" fmla="*/ 136 h 160"/>
              <a:gd name="T58" fmla="*/ 65 w 142"/>
              <a:gd name="T59" fmla="*/ 132 h 160"/>
              <a:gd name="T60" fmla="*/ 60 w 142"/>
              <a:gd name="T61" fmla="*/ 128 h 160"/>
              <a:gd name="T62" fmla="*/ 7 w 142"/>
              <a:gd name="T63" fmla="*/ 101 h 160"/>
              <a:gd name="T64" fmla="*/ 26 w 142"/>
              <a:gd name="T65" fmla="*/ 58 h 160"/>
              <a:gd name="T66" fmla="*/ 26 w 142"/>
              <a:gd name="T67" fmla="*/ 51 h 160"/>
              <a:gd name="T68" fmla="*/ 29 w 142"/>
              <a:gd name="T69" fmla="*/ 38 h 160"/>
              <a:gd name="T70" fmla="*/ 29 w 142"/>
              <a:gd name="T71" fmla="*/ 30 h 160"/>
              <a:gd name="T72" fmla="*/ 27 w 142"/>
              <a:gd name="T73" fmla="*/ 26 h 160"/>
              <a:gd name="T74" fmla="*/ 27 w 142"/>
              <a:gd name="T75" fmla="*/ 22 h 160"/>
              <a:gd name="T76" fmla="*/ 30 w 142"/>
              <a:gd name="T77" fmla="*/ 17 h 160"/>
              <a:gd name="T78" fmla="*/ 42 w 142"/>
              <a:gd name="T79" fmla="*/ 7 h 160"/>
              <a:gd name="T80" fmla="*/ 39 w 142"/>
              <a:gd name="T81" fmla="*/ 3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42" h="160">
                <a:moveTo>
                  <a:pt x="39" y="3"/>
                </a:moveTo>
                <a:lnTo>
                  <a:pt x="56" y="3"/>
                </a:lnTo>
                <a:lnTo>
                  <a:pt x="57" y="1"/>
                </a:lnTo>
                <a:lnTo>
                  <a:pt x="59" y="0"/>
                </a:lnTo>
                <a:lnTo>
                  <a:pt x="61" y="1"/>
                </a:lnTo>
                <a:lnTo>
                  <a:pt x="64" y="2"/>
                </a:lnTo>
                <a:lnTo>
                  <a:pt x="66" y="3"/>
                </a:lnTo>
                <a:lnTo>
                  <a:pt x="69" y="3"/>
                </a:lnTo>
                <a:lnTo>
                  <a:pt x="70" y="6"/>
                </a:lnTo>
                <a:lnTo>
                  <a:pt x="71" y="8"/>
                </a:lnTo>
                <a:lnTo>
                  <a:pt x="73" y="12"/>
                </a:lnTo>
                <a:lnTo>
                  <a:pt x="76" y="17"/>
                </a:lnTo>
                <a:lnTo>
                  <a:pt x="79" y="20"/>
                </a:lnTo>
                <a:lnTo>
                  <a:pt x="84" y="23"/>
                </a:lnTo>
                <a:lnTo>
                  <a:pt x="88" y="25"/>
                </a:lnTo>
                <a:lnTo>
                  <a:pt x="93" y="28"/>
                </a:lnTo>
                <a:lnTo>
                  <a:pt x="98" y="29"/>
                </a:lnTo>
                <a:lnTo>
                  <a:pt x="95" y="35"/>
                </a:lnTo>
                <a:lnTo>
                  <a:pt x="93" y="43"/>
                </a:lnTo>
                <a:lnTo>
                  <a:pt x="91" y="51"/>
                </a:lnTo>
                <a:lnTo>
                  <a:pt x="91" y="55"/>
                </a:lnTo>
                <a:lnTo>
                  <a:pt x="89" y="58"/>
                </a:lnTo>
                <a:lnTo>
                  <a:pt x="91" y="61"/>
                </a:lnTo>
                <a:lnTo>
                  <a:pt x="91" y="65"/>
                </a:lnTo>
                <a:lnTo>
                  <a:pt x="92" y="69"/>
                </a:lnTo>
                <a:lnTo>
                  <a:pt x="93" y="72"/>
                </a:lnTo>
                <a:lnTo>
                  <a:pt x="95" y="74"/>
                </a:lnTo>
                <a:lnTo>
                  <a:pt x="97" y="77"/>
                </a:lnTo>
                <a:lnTo>
                  <a:pt x="101" y="82"/>
                </a:lnTo>
                <a:lnTo>
                  <a:pt x="111" y="89"/>
                </a:lnTo>
                <a:lnTo>
                  <a:pt x="115" y="93"/>
                </a:lnTo>
                <a:lnTo>
                  <a:pt x="120" y="97"/>
                </a:lnTo>
                <a:lnTo>
                  <a:pt x="122" y="101"/>
                </a:lnTo>
                <a:lnTo>
                  <a:pt x="123" y="104"/>
                </a:lnTo>
                <a:lnTo>
                  <a:pt x="124" y="106"/>
                </a:lnTo>
                <a:lnTo>
                  <a:pt x="124" y="110"/>
                </a:lnTo>
                <a:lnTo>
                  <a:pt x="124" y="116"/>
                </a:lnTo>
                <a:lnTo>
                  <a:pt x="127" y="120"/>
                </a:lnTo>
                <a:lnTo>
                  <a:pt x="128" y="123"/>
                </a:lnTo>
                <a:lnTo>
                  <a:pt x="131" y="125"/>
                </a:lnTo>
                <a:lnTo>
                  <a:pt x="132" y="127"/>
                </a:lnTo>
                <a:lnTo>
                  <a:pt x="137" y="132"/>
                </a:lnTo>
                <a:lnTo>
                  <a:pt x="138" y="135"/>
                </a:lnTo>
                <a:lnTo>
                  <a:pt x="141" y="138"/>
                </a:lnTo>
                <a:lnTo>
                  <a:pt x="137" y="139"/>
                </a:lnTo>
                <a:lnTo>
                  <a:pt x="136" y="139"/>
                </a:lnTo>
                <a:lnTo>
                  <a:pt x="132" y="139"/>
                </a:lnTo>
                <a:lnTo>
                  <a:pt x="128" y="138"/>
                </a:lnTo>
                <a:lnTo>
                  <a:pt x="127" y="138"/>
                </a:lnTo>
                <a:lnTo>
                  <a:pt x="124" y="138"/>
                </a:lnTo>
                <a:lnTo>
                  <a:pt x="124" y="139"/>
                </a:lnTo>
                <a:lnTo>
                  <a:pt x="122" y="142"/>
                </a:lnTo>
                <a:lnTo>
                  <a:pt x="118" y="149"/>
                </a:lnTo>
                <a:lnTo>
                  <a:pt x="114" y="159"/>
                </a:lnTo>
                <a:lnTo>
                  <a:pt x="88" y="158"/>
                </a:lnTo>
                <a:lnTo>
                  <a:pt x="72" y="146"/>
                </a:lnTo>
                <a:lnTo>
                  <a:pt x="72" y="136"/>
                </a:lnTo>
                <a:lnTo>
                  <a:pt x="69" y="136"/>
                </a:lnTo>
                <a:lnTo>
                  <a:pt x="67" y="135"/>
                </a:lnTo>
                <a:lnTo>
                  <a:pt x="65" y="132"/>
                </a:lnTo>
                <a:lnTo>
                  <a:pt x="62" y="129"/>
                </a:lnTo>
                <a:lnTo>
                  <a:pt x="60" y="128"/>
                </a:lnTo>
                <a:lnTo>
                  <a:pt x="58" y="127"/>
                </a:lnTo>
                <a:lnTo>
                  <a:pt x="7" y="101"/>
                </a:lnTo>
                <a:lnTo>
                  <a:pt x="0" y="77"/>
                </a:lnTo>
                <a:lnTo>
                  <a:pt x="26" y="58"/>
                </a:lnTo>
                <a:lnTo>
                  <a:pt x="26" y="55"/>
                </a:lnTo>
                <a:lnTo>
                  <a:pt x="26" y="51"/>
                </a:lnTo>
                <a:lnTo>
                  <a:pt x="27" y="44"/>
                </a:lnTo>
                <a:lnTo>
                  <a:pt x="29" y="38"/>
                </a:lnTo>
                <a:lnTo>
                  <a:pt x="30" y="32"/>
                </a:lnTo>
                <a:lnTo>
                  <a:pt x="29" y="30"/>
                </a:lnTo>
                <a:lnTo>
                  <a:pt x="29" y="29"/>
                </a:lnTo>
                <a:lnTo>
                  <a:pt x="27" y="26"/>
                </a:lnTo>
                <a:lnTo>
                  <a:pt x="26" y="25"/>
                </a:lnTo>
                <a:lnTo>
                  <a:pt x="27" y="22"/>
                </a:lnTo>
                <a:lnTo>
                  <a:pt x="29" y="19"/>
                </a:lnTo>
                <a:lnTo>
                  <a:pt x="30" y="17"/>
                </a:lnTo>
                <a:lnTo>
                  <a:pt x="33" y="16"/>
                </a:lnTo>
                <a:lnTo>
                  <a:pt x="42" y="7"/>
                </a:lnTo>
                <a:lnTo>
                  <a:pt x="40" y="2"/>
                </a:lnTo>
                <a:lnTo>
                  <a:pt x="39" y="3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36" name="Freeform 135">
            <a:extLst>
              <a:ext uri="{FF2B5EF4-FFF2-40B4-BE49-F238E27FC236}">
                <a16:creationId xmlns:a16="http://schemas.microsoft.com/office/drawing/2014/main" id="{379683BF-AAD7-786B-CE6D-E155F5E7FB8E}"/>
              </a:ext>
            </a:extLst>
          </p:cNvPr>
          <p:cNvSpPr>
            <a:spLocks/>
          </p:cNvSpPr>
          <p:nvPr/>
        </p:nvSpPr>
        <p:spPr bwMode="auto">
          <a:xfrm>
            <a:off x="7333625" y="3620934"/>
            <a:ext cx="608013" cy="523875"/>
          </a:xfrm>
          <a:custGeom>
            <a:avLst/>
            <a:gdLst>
              <a:gd name="T0" fmla="*/ 91 w 301"/>
              <a:gd name="T1" fmla="*/ 181 h 281"/>
              <a:gd name="T2" fmla="*/ 110 w 301"/>
              <a:gd name="T3" fmla="*/ 200 h 281"/>
              <a:gd name="T4" fmla="*/ 147 w 301"/>
              <a:gd name="T5" fmla="*/ 240 h 281"/>
              <a:gd name="T6" fmla="*/ 166 w 301"/>
              <a:gd name="T7" fmla="*/ 250 h 281"/>
              <a:gd name="T8" fmla="*/ 183 w 301"/>
              <a:gd name="T9" fmla="*/ 250 h 281"/>
              <a:gd name="T10" fmla="*/ 202 w 301"/>
              <a:gd name="T11" fmla="*/ 240 h 281"/>
              <a:gd name="T12" fmla="*/ 213 w 301"/>
              <a:gd name="T13" fmla="*/ 243 h 281"/>
              <a:gd name="T14" fmla="*/ 215 w 301"/>
              <a:gd name="T15" fmla="*/ 252 h 281"/>
              <a:gd name="T16" fmla="*/ 218 w 301"/>
              <a:gd name="T17" fmla="*/ 263 h 281"/>
              <a:gd name="T18" fmla="*/ 245 w 301"/>
              <a:gd name="T19" fmla="*/ 274 h 281"/>
              <a:gd name="T20" fmla="*/ 273 w 301"/>
              <a:gd name="T21" fmla="*/ 280 h 281"/>
              <a:gd name="T22" fmla="*/ 277 w 301"/>
              <a:gd name="T23" fmla="*/ 270 h 281"/>
              <a:gd name="T24" fmla="*/ 283 w 301"/>
              <a:gd name="T25" fmla="*/ 260 h 281"/>
              <a:gd name="T26" fmla="*/ 297 w 301"/>
              <a:gd name="T27" fmla="*/ 250 h 281"/>
              <a:gd name="T28" fmla="*/ 291 w 301"/>
              <a:gd name="T29" fmla="*/ 238 h 281"/>
              <a:gd name="T30" fmla="*/ 288 w 301"/>
              <a:gd name="T31" fmla="*/ 222 h 281"/>
              <a:gd name="T32" fmla="*/ 276 w 301"/>
              <a:gd name="T33" fmla="*/ 217 h 281"/>
              <a:gd name="T34" fmla="*/ 263 w 301"/>
              <a:gd name="T35" fmla="*/ 202 h 281"/>
              <a:gd name="T36" fmla="*/ 254 w 301"/>
              <a:gd name="T37" fmla="*/ 191 h 281"/>
              <a:gd name="T38" fmla="*/ 260 w 301"/>
              <a:gd name="T39" fmla="*/ 180 h 281"/>
              <a:gd name="T40" fmla="*/ 267 w 301"/>
              <a:gd name="T41" fmla="*/ 167 h 281"/>
              <a:gd name="T42" fmla="*/ 258 w 301"/>
              <a:gd name="T43" fmla="*/ 163 h 281"/>
              <a:gd name="T44" fmla="*/ 250 w 301"/>
              <a:gd name="T45" fmla="*/ 150 h 281"/>
              <a:gd name="T46" fmla="*/ 242 w 301"/>
              <a:gd name="T47" fmla="*/ 125 h 281"/>
              <a:gd name="T48" fmla="*/ 244 w 301"/>
              <a:gd name="T49" fmla="*/ 100 h 281"/>
              <a:gd name="T50" fmla="*/ 246 w 301"/>
              <a:gd name="T51" fmla="*/ 77 h 281"/>
              <a:gd name="T52" fmla="*/ 239 w 301"/>
              <a:gd name="T53" fmla="*/ 66 h 281"/>
              <a:gd name="T54" fmla="*/ 220 w 301"/>
              <a:gd name="T55" fmla="*/ 56 h 281"/>
              <a:gd name="T56" fmla="*/ 189 w 301"/>
              <a:gd name="T57" fmla="*/ 33 h 281"/>
              <a:gd name="T58" fmla="*/ 169 w 301"/>
              <a:gd name="T59" fmla="*/ 31 h 281"/>
              <a:gd name="T60" fmla="*/ 155 w 301"/>
              <a:gd name="T61" fmla="*/ 36 h 281"/>
              <a:gd name="T62" fmla="*/ 137 w 301"/>
              <a:gd name="T63" fmla="*/ 51 h 281"/>
              <a:gd name="T64" fmla="*/ 120 w 301"/>
              <a:gd name="T65" fmla="*/ 56 h 281"/>
              <a:gd name="T66" fmla="*/ 93 w 301"/>
              <a:gd name="T67" fmla="*/ 51 h 281"/>
              <a:gd name="T68" fmla="*/ 73 w 301"/>
              <a:gd name="T69" fmla="*/ 37 h 281"/>
              <a:gd name="T70" fmla="*/ 68 w 301"/>
              <a:gd name="T71" fmla="*/ 26 h 281"/>
              <a:gd name="T72" fmla="*/ 59 w 301"/>
              <a:gd name="T73" fmla="*/ 22 h 281"/>
              <a:gd name="T74" fmla="*/ 55 w 301"/>
              <a:gd name="T75" fmla="*/ 10 h 281"/>
              <a:gd name="T76" fmla="*/ 39 w 301"/>
              <a:gd name="T77" fmla="*/ 16 h 281"/>
              <a:gd name="T78" fmla="*/ 26 w 301"/>
              <a:gd name="T79" fmla="*/ 24 h 281"/>
              <a:gd name="T80" fmla="*/ 15 w 301"/>
              <a:gd name="T81" fmla="*/ 18 h 281"/>
              <a:gd name="T82" fmla="*/ 4 w 301"/>
              <a:gd name="T83" fmla="*/ 0 h 281"/>
              <a:gd name="T84" fmla="*/ 4 w 301"/>
              <a:gd name="T85" fmla="*/ 7 h 281"/>
              <a:gd name="T86" fmla="*/ 0 w 301"/>
              <a:gd name="T87" fmla="*/ 19 h 281"/>
              <a:gd name="T88" fmla="*/ 4 w 301"/>
              <a:gd name="T89" fmla="*/ 42 h 281"/>
              <a:gd name="T90" fmla="*/ 13 w 301"/>
              <a:gd name="T91" fmla="*/ 55 h 281"/>
              <a:gd name="T92" fmla="*/ 20 w 301"/>
              <a:gd name="T93" fmla="*/ 70 h 281"/>
              <a:gd name="T94" fmla="*/ 37 w 301"/>
              <a:gd name="T95" fmla="*/ 80 h 281"/>
              <a:gd name="T96" fmla="*/ 35 w 301"/>
              <a:gd name="T97" fmla="*/ 104 h 281"/>
              <a:gd name="T98" fmla="*/ 35 w 301"/>
              <a:gd name="T99" fmla="*/ 118 h 281"/>
              <a:gd name="T100" fmla="*/ 41 w 301"/>
              <a:gd name="T101" fmla="*/ 130 h 281"/>
              <a:gd name="T102" fmla="*/ 64 w 301"/>
              <a:gd name="T103" fmla="*/ 150 h 281"/>
              <a:gd name="T104" fmla="*/ 68 w 301"/>
              <a:gd name="T105" fmla="*/ 163 h 281"/>
              <a:gd name="T106" fmla="*/ 75 w 301"/>
              <a:gd name="T107" fmla="*/ 178 h 281"/>
              <a:gd name="T108" fmla="*/ 84 w 301"/>
              <a:gd name="T109" fmla="*/ 191 h 2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01" h="281">
                <a:moveTo>
                  <a:pt x="84" y="193"/>
                </a:moveTo>
                <a:lnTo>
                  <a:pt x="86" y="190"/>
                </a:lnTo>
                <a:lnTo>
                  <a:pt x="88" y="189"/>
                </a:lnTo>
                <a:lnTo>
                  <a:pt x="91" y="181"/>
                </a:lnTo>
                <a:lnTo>
                  <a:pt x="97" y="185"/>
                </a:lnTo>
                <a:lnTo>
                  <a:pt x="101" y="190"/>
                </a:lnTo>
                <a:lnTo>
                  <a:pt x="106" y="194"/>
                </a:lnTo>
                <a:lnTo>
                  <a:pt x="110" y="200"/>
                </a:lnTo>
                <a:lnTo>
                  <a:pt x="129" y="223"/>
                </a:lnTo>
                <a:lnTo>
                  <a:pt x="139" y="234"/>
                </a:lnTo>
                <a:lnTo>
                  <a:pt x="144" y="239"/>
                </a:lnTo>
                <a:lnTo>
                  <a:pt x="147" y="240"/>
                </a:lnTo>
                <a:lnTo>
                  <a:pt x="150" y="243"/>
                </a:lnTo>
                <a:lnTo>
                  <a:pt x="156" y="246"/>
                </a:lnTo>
                <a:lnTo>
                  <a:pt x="163" y="249"/>
                </a:lnTo>
                <a:lnTo>
                  <a:pt x="166" y="250"/>
                </a:lnTo>
                <a:lnTo>
                  <a:pt x="169" y="251"/>
                </a:lnTo>
                <a:lnTo>
                  <a:pt x="177" y="251"/>
                </a:lnTo>
                <a:lnTo>
                  <a:pt x="182" y="251"/>
                </a:lnTo>
                <a:lnTo>
                  <a:pt x="183" y="250"/>
                </a:lnTo>
                <a:lnTo>
                  <a:pt x="186" y="249"/>
                </a:lnTo>
                <a:lnTo>
                  <a:pt x="192" y="245"/>
                </a:lnTo>
                <a:lnTo>
                  <a:pt x="200" y="242"/>
                </a:lnTo>
                <a:lnTo>
                  <a:pt x="202" y="240"/>
                </a:lnTo>
                <a:lnTo>
                  <a:pt x="206" y="240"/>
                </a:lnTo>
                <a:lnTo>
                  <a:pt x="209" y="240"/>
                </a:lnTo>
                <a:lnTo>
                  <a:pt x="212" y="240"/>
                </a:lnTo>
                <a:lnTo>
                  <a:pt x="213" y="243"/>
                </a:lnTo>
                <a:lnTo>
                  <a:pt x="214" y="244"/>
                </a:lnTo>
                <a:lnTo>
                  <a:pt x="214" y="245"/>
                </a:lnTo>
                <a:lnTo>
                  <a:pt x="215" y="249"/>
                </a:lnTo>
                <a:lnTo>
                  <a:pt x="215" y="252"/>
                </a:lnTo>
                <a:lnTo>
                  <a:pt x="214" y="259"/>
                </a:lnTo>
                <a:lnTo>
                  <a:pt x="215" y="260"/>
                </a:lnTo>
                <a:lnTo>
                  <a:pt x="215" y="262"/>
                </a:lnTo>
                <a:lnTo>
                  <a:pt x="218" y="263"/>
                </a:lnTo>
                <a:lnTo>
                  <a:pt x="221" y="265"/>
                </a:lnTo>
                <a:lnTo>
                  <a:pt x="228" y="269"/>
                </a:lnTo>
                <a:lnTo>
                  <a:pt x="236" y="271"/>
                </a:lnTo>
                <a:lnTo>
                  <a:pt x="245" y="274"/>
                </a:lnTo>
                <a:lnTo>
                  <a:pt x="254" y="276"/>
                </a:lnTo>
                <a:lnTo>
                  <a:pt x="266" y="280"/>
                </a:lnTo>
                <a:lnTo>
                  <a:pt x="271" y="280"/>
                </a:lnTo>
                <a:lnTo>
                  <a:pt x="273" y="280"/>
                </a:lnTo>
                <a:lnTo>
                  <a:pt x="277" y="280"/>
                </a:lnTo>
                <a:lnTo>
                  <a:pt x="277" y="275"/>
                </a:lnTo>
                <a:lnTo>
                  <a:pt x="277" y="272"/>
                </a:lnTo>
                <a:lnTo>
                  <a:pt x="277" y="270"/>
                </a:lnTo>
                <a:lnTo>
                  <a:pt x="278" y="266"/>
                </a:lnTo>
                <a:lnTo>
                  <a:pt x="280" y="263"/>
                </a:lnTo>
                <a:lnTo>
                  <a:pt x="281" y="262"/>
                </a:lnTo>
                <a:lnTo>
                  <a:pt x="283" y="260"/>
                </a:lnTo>
                <a:lnTo>
                  <a:pt x="285" y="258"/>
                </a:lnTo>
                <a:lnTo>
                  <a:pt x="293" y="253"/>
                </a:lnTo>
                <a:lnTo>
                  <a:pt x="295" y="251"/>
                </a:lnTo>
                <a:lnTo>
                  <a:pt x="297" y="250"/>
                </a:lnTo>
                <a:lnTo>
                  <a:pt x="300" y="246"/>
                </a:lnTo>
                <a:lnTo>
                  <a:pt x="297" y="244"/>
                </a:lnTo>
                <a:lnTo>
                  <a:pt x="294" y="243"/>
                </a:lnTo>
                <a:lnTo>
                  <a:pt x="291" y="238"/>
                </a:lnTo>
                <a:lnTo>
                  <a:pt x="290" y="234"/>
                </a:lnTo>
                <a:lnTo>
                  <a:pt x="289" y="231"/>
                </a:lnTo>
                <a:lnTo>
                  <a:pt x="288" y="226"/>
                </a:lnTo>
                <a:lnTo>
                  <a:pt x="288" y="222"/>
                </a:lnTo>
                <a:lnTo>
                  <a:pt x="285" y="222"/>
                </a:lnTo>
                <a:lnTo>
                  <a:pt x="283" y="221"/>
                </a:lnTo>
                <a:lnTo>
                  <a:pt x="280" y="220"/>
                </a:lnTo>
                <a:lnTo>
                  <a:pt x="276" y="217"/>
                </a:lnTo>
                <a:lnTo>
                  <a:pt x="273" y="213"/>
                </a:lnTo>
                <a:lnTo>
                  <a:pt x="268" y="207"/>
                </a:lnTo>
                <a:lnTo>
                  <a:pt x="266" y="204"/>
                </a:lnTo>
                <a:lnTo>
                  <a:pt x="263" y="202"/>
                </a:lnTo>
                <a:lnTo>
                  <a:pt x="257" y="199"/>
                </a:lnTo>
                <a:lnTo>
                  <a:pt x="255" y="197"/>
                </a:lnTo>
                <a:lnTo>
                  <a:pt x="254" y="196"/>
                </a:lnTo>
                <a:lnTo>
                  <a:pt x="254" y="191"/>
                </a:lnTo>
                <a:lnTo>
                  <a:pt x="255" y="190"/>
                </a:lnTo>
                <a:lnTo>
                  <a:pt x="256" y="188"/>
                </a:lnTo>
                <a:lnTo>
                  <a:pt x="258" y="184"/>
                </a:lnTo>
                <a:lnTo>
                  <a:pt x="260" y="180"/>
                </a:lnTo>
                <a:lnTo>
                  <a:pt x="264" y="173"/>
                </a:lnTo>
                <a:lnTo>
                  <a:pt x="266" y="172"/>
                </a:lnTo>
                <a:lnTo>
                  <a:pt x="267" y="170"/>
                </a:lnTo>
                <a:lnTo>
                  <a:pt x="267" y="167"/>
                </a:lnTo>
                <a:lnTo>
                  <a:pt x="267" y="166"/>
                </a:lnTo>
                <a:lnTo>
                  <a:pt x="264" y="164"/>
                </a:lnTo>
                <a:lnTo>
                  <a:pt x="260" y="163"/>
                </a:lnTo>
                <a:lnTo>
                  <a:pt x="258" y="163"/>
                </a:lnTo>
                <a:lnTo>
                  <a:pt x="255" y="161"/>
                </a:lnTo>
                <a:lnTo>
                  <a:pt x="254" y="158"/>
                </a:lnTo>
                <a:lnTo>
                  <a:pt x="253" y="156"/>
                </a:lnTo>
                <a:lnTo>
                  <a:pt x="250" y="150"/>
                </a:lnTo>
                <a:lnTo>
                  <a:pt x="248" y="143"/>
                </a:lnTo>
                <a:lnTo>
                  <a:pt x="246" y="136"/>
                </a:lnTo>
                <a:lnTo>
                  <a:pt x="244" y="130"/>
                </a:lnTo>
                <a:lnTo>
                  <a:pt x="242" y="125"/>
                </a:lnTo>
                <a:lnTo>
                  <a:pt x="242" y="116"/>
                </a:lnTo>
                <a:lnTo>
                  <a:pt x="242" y="113"/>
                </a:lnTo>
                <a:lnTo>
                  <a:pt x="244" y="108"/>
                </a:lnTo>
                <a:lnTo>
                  <a:pt x="244" y="100"/>
                </a:lnTo>
                <a:lnTo>
                  <a:pt x="246" y="90"/>
                </a:lnTo>
                <a:lnTo>
                  <a:pt x="246" y="86"/>
                </a:lnTo>
                <a:lnTo>
                  <a:pt x="247" y="80"/>
                </a:lnTo>
                <a:lnTo>
                  <a:pt x="246" y="77"/>
                </a:lnTo>
                <a:lnTo>
                  <a:pt x="246" y="76"/>
                </a:lnTo>
                <a:lnTo>
                  <a:pt x="244" y="71"/>
                </a:lnTo>
                <a:lnTo>
                  <a:pt x="241" y="68"/>
                </a:lnTo>
                <a:lnTo>
                  <a:pt x="239" y="66"/>
                </a:lnTo>
                <a:lnTo>
                  <a:pt x="231" y="63"/>
                </a:lnTo>
                <a:lnTo>
                  <a:pt x="228" y="61"/>
                </a:lnTo>
                <a:lnTo>
                  <a:pt x="225" y="60"/>
                </a:lnTo>
                <a:lnTo>
                  <a:pt x="220" y="56"/>
                </a:lnTo>
                <a:lnTo>
                  <a:pt x="215" y="51"/>
                </a:lnTo>
                <a:lnTo>
                  <a:pt x="202" y="42"/>
                </a:lnTo>
                <a:lnTo>
                  <a:pt x="196" y="37"/>
                </a:lnTo>
                <a:lnTo>
                  <a:pt x="189" y="33"/>
                </a:lnTo>
                <a:lnTo>
                  <a:pt x="182" y="32"/>
                </a:lnTo>
                <a:lnTo>
                  <a:pt x="179" y="31"/>
                </a:lnTo>
                <a:lnTo>
                  <a:pt x="175" y="31"/>
                </a:lnTo>
                <a:lnTo>
                  <a:pt x="169" y="31"/>
                </a:lnTo>
                <a:lnTo>
                  <a:pt x="166" y="32"/>
                </a:lnTo>
                <a:lnTo>
                  <a:pt x="162" y="33"/>
                </a:lnTo>
                <a:lnTo>
                  <a:pt x="158" y="34"/>
                </a:lnTo>
                <a:lnTo>
                  <a:pt x="155" y="36"/>
                </a:lnTo>
                <a:lnTo>
                  <a:pt x="152" y="40"/>
                </a:lnTo>
                <a:lnTo>
                  <a:pt x="146" y="44"/>
                </a:lnTo>
                <a:lnTo>
                  <a:pt x="141" y="49"/>
                </a:lnTo>
                <a:lnTo>
                  <a:pt x="137" y="51"/>
                </a:lnTo>
                <a:lnTo>
                  <a:pt x="133" y="53"/>
                </a:lnTo>
                <a:lnTo>
                  <a:pt x="130" y="55"/>
                </a:lnTo>
                <a:lnTo>
                  <a:pt x="125" y="56"/>
                </a:lnTo>
                <a:lnTo>
                  <a:pt x="120" y="56"/>
                </a:lnTo>
                <a:lnTo>
                  <a:pt x="114" y="56"/>
                </a:lnTo>
                <a:lnTo>
                  <a:pt x="107" y="56"/>
                </a:lnTo>
                <a:lnTo>
                  <a:pt x="101" y="54"/>
                </a:lnTo>
                <a:lnTo>
                  <a:pt x="93" y="51"/>
                </a:lnTo>
                <a:lnTo>
                  <a:pt x="85" y="47"/>
                </a:lnTo>
                <a:lnTo>
                  <a:pt x="79" y="43"/>
                </a:lnTo>
                <a:lnTo>
                  <a:pt x="76" y="40"/>
                </a:lnTo>
                <a:lnTo>
                  <a:pt x="73" y="37"/>
                </a:lnTo>
                <a:lnTo>
                  <a:pt x="71" y="34"/>
                </a:lnTo>
                <a:lnTo>
                  <a:pt x="70" y="32"/>
                </a:lnTo>
                <a:lnTo>
                  <a:pt x="68" y="29"/>
                </a:lnTo>
                <a:lnTo>
                  <a:pt x="68" y="26"/>
                </a:lnTo>
                <a:lnTo>
                  <a:pt x="65" y="25"/>
                </a:lnTo>
                <a:lnTo>
                  <a:pt x="62" y="23"/>
                </a:lnTo>
                <a:lnTo>
                  <a:pt x="60" y="23"/>
                </a:lnTo>
                <a:lnTo>
                  <a:pt x="59" y="22"/>
                </a:lnTo>
                <a:lnTo>
                  <a:pt x="58" y="20"/>
                </a:lnTo>
                <a:lnTo>
                  <a:pt x="57" y="17"/>
                </a:lnTo>
                <a:lnTo>
                  <a:pt x="55" y="13"/>
                </a:lnTo>
                <a:lnTo>
                  <a:pt x="55" y="10"/>
                </a:lnTo>
                <a:lnTo>
                  <a:pt x="55" y="5"/>
                </a:lnTo>
                <a:lnTo>
                  <a:pt x="48" y="5"/>
                </a:lnTo>
                <a:lnTo>
                  <a:pt x="44" y="10"/>
                </a:lnTo>
                <a:lnTo>
                  <a:pt x="39" y="16"/>
                </a:lnTo>
                <a:lnTo>
                  <a:pt x="36" y="19"/>
                </a:lnTo>
                <a:lnTo>
                  <a:pt x="32" y="22"/>
                </a:lnTo>
                <a:lnTo>
                  <a:pt x="29" y="23"/>
                </a:lnTo>
                <a:lnTo>
                  <a:pt x="26" y="24"/>
                </a:lnTo>
                <a:lnTo>
                  <a:pt x="23" y="23"/>
                </a:lnTo>
                <a:lnTo>
                  <a:pt x="22" y="23"/>
                </a:lnTo>
                <a:lnTo>
                  <a:pt x="18" y="20"/>
                </a:lnTo>
                <a:lnTo>
                  <a:pt x="15" y="18"/>
                </a:lnTo>
                <a:lnTo>
                  <a:pt x="13" y="14"/>
                </a:lnTo>
                <a:lnTo>
                  <a:pt x="9" y="6"/>
                </a:lnTo>
                <a:lnTo>
                  <a:pt x="6" y="2"/>
                </a:lnTo>
                <a:lnTo>
                  <a:pt x="4" y="0"/>
                </a:lnTo>
                <a:lnTo>
                  <a:pt x="3" y="0"/>
                </a:lnTo>
                <a:lnTo>
                  <a:pt x="4" y="3"/>
                </a:lnTo>
                <a:lnTo>
                  <a:pt x="4" y="6"/>
                </a:lnTo>
                <a:lnTo>
                  <a:pt x="4" y="7"/>
                </a:lnTo>
                <a:lnTo>
                  <a:pt x="3" y="10"/>
                </a:lnTo>
                <a:lnTo>
                  <a:pt x="2" y="13"/>
                </a:lnTo>
                <a:lnTo>
                  <a:pt x="0" y="14"/>
                </a:lnTo>
                <a:lnTo>
                  <a:pt x="0" y="19"/>
                </a:lnTo>
                <a:lnTo>
                  <a:pt x="1" y="23"/>
                </a:lnTo>
                <a:lnTo>
                  <a:pt x="3" y="27"/>
                </a:lnTo>
                <a:lnTo>
                  <a:pt x="3" y="32"/>
                </a:lnTo>
                <a:lnTo>
                  <a:pt x="4" y="42"/>
                </a:lnTo>
                <a:lnTo>
                  <a:pt x="6" y="49"/>
                </a:lnTo>
                <a:lnTo>
                  <a:pt x="8" y="53"/>
                </a:lnTo>
                <a:lnTo>
                  <a:pt x="10" y="55"/>
                </a:lnTo>
                <a:lnTo>
                  <a:pt x="13" y="55"/>
                </a:lnTo>
                <a:lnTo>
                  <a:pt x="14" y="58"/>
                </a:lnTo>
                <a:lnTo>
                  <a:pt x="15" y="60"/>
                </a:lnTo>
                <a:lnTo>
                  <a:pt x="17" y="65"/>
                </a:lnTo>
                <a:lnTo>
                  <a:pt x="20" y="70"/>
                </a:lnTo>
                <a:lnTo>
                  <a:pt x="23" y="73"/>
                </a:lnTo>
                <a:lnTo>
                  <a:pt x="28" y="76"/>
                </a:lnTo>
                <a:lnTo>
                  <a:pt x="32" y="78"/>
                </a:lnTo>
                <a:lnTo>
                  <a:pt x="37" y="80"/>
                </a:lnTo>
                <a:lnTo>
                  <a:pt x="42" y="81"/>
                </a:lnTo>
                <a:lnTo>
                  <a:pt x="39" y="87"/>
                </a:lnTo>
                <a:lnTo>
                  <a:pt x="37" y="96"/>
                </a:lnTo>
                <a:lnTo>
                  <a:pt x="35" y="104"/>
                </a:lnTo>
                <a:lnTo>
                  <a:pt x="35" y="108"/>
                </a:lnTo>
                <a:lnTo>
                  <a:pt x="33" y="110"/>
                </a:lnTo>
                <a:lnTo>
                  <a:pt x="35" y="114"/>
                </a:lnTo>
                <a:lnTo>
                  <a:pt x="35" y="118"/>
                </a:lnTo>
                <a:lnTo>
                  <a:pt x="36" y="122"/>
                </a:lnTo>
                <a:lnTo>
                  <a:pt x="37" y="125"/>
                </a:lnTo>
                <a:lnTo>
                  <a:pt x="39" y="127"/>
                </a:lnTo>
                <a:lnTo>
                  <a:pt x="41" y="130"/>
                </a:lnTo>
                <a:lnTo>
                  <a:pt x="45" y="135"/>
                </a:lnTo>
                <a:lnTo>
                  <a:pt x="55" y="142"/>
                </a:lnTo>
                <a:lnTo>
                  <a:pt x="59" y="146"/>
                </a:lnTo>
                <a:lnTo>
                  <a:pt x="64" y="150"/>
                </a:lnTo>
                <a:lnTo>
                  <a:pt x="66" y="154"/>
                </a:lnTo>
                <a:lnTo>
                  <a:pt x="67" y="157"/>
                </a:lnTo>
                <a:lnTo>
                  <a:pt x="68" y="159"/>
                </a:lnTo>
                <a:lnTo>
                  <a:pt x="68" y="163"/>
                </a:lnTo>
                <a:lnTo>
                  <a:pt x="68" y="169"/>
                </a:lnTo>
                <a:lnTo>
                  <a:pt x="71" y="173"/>
                </a:lnTo>
                <a:lnTo>
                  <a:pt x="72" y="176"/>
                </a:lnTo>
                <a:lnTo>
                  <a:pt x="75" y="178"/>
                </a:lnTo>
                <a:lnTo>
                  <a:pt x="76" y="180"/>
                </a:lnTo>
                <a:lnTo>
                  <a:pt x="81" y="185"/>
                </a:lnTo>
                <a:lnTo>
                  <a:pt x="82" y="188"/>
                </a:lnTo>
                <a:lnTo>
                  <a:pt x="84" y="191"/>
                </a:lnTo>
                <a:lnTo>
                  <a:pt x="84" y="193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37" name="Freeform 136">
            <a:extLst>
              <a:ext uri="{FF2B5EF4-FFF2-40B4-BE49-F238E27FC236}">
                <a16:creationId xmlns:a16="http://schemas.microsoft.com/office/drawing/2014/main" id="{F317AF56-2F45-F56D-2FDF-54718DBF3473}"/>
              </a:ext>
            </a:extLst>
          </p:cNvPr>
          <p:cNvSpPr>
            <a:spLocks/>
          </p:cNvSpPr>
          <p:nvPr/>
        </p:nvSpPr>
        <p:spPr bwMode="auto">
          <a:xfrm>
            <a:off x="6841500" y="3541559"/>
            <a:ext cx="509588" cy="228600"/>
          </a:xfrm>
          <a:custGeom>
            <a:avLst/>
            <a:gdLst>
              <a:gd name="T0" fmla="*/ 151 w 252"/>
              <a:gd name="T1" fmla="*/ 102 h 122"/>
              <a:gd name="T2" fmla="*/ 161 w 252"/>
              <a:gd name="T3" fmla="*/ 107 h 122"/>
              <a:gd name="T4" fmla="*/ 172 w 252"/>
              <a:gd name="T5" fmla="*/ 104 h 122"/>
              <a:gd name="T6" fmla="*/ 184 w 252"/>
              <a:gd name="T7" fmla="*/ 107 h 122"/>
              <a:gd name="T8" fmla="*/ 195 w 252"/>
              <a:gd name="T9" fmla="*/ 104 h 122"/>
              <a:gd name="T10" fmla="*/ 203 w 252"/>
              <a:gd name="T11" fmla="*/ 101 h 122"/>
              <a:gd name="T12" fmla="*/ 212 w 252"/>
              <a:gd name="T13" fmla="*/ 101 h 122"/>
              <a:gd name="T14" fmla="*/ 228 w 252"/>
              <a:gd name="T15" fmla="*/ 96 h 122"/>
              <a:gd name="T16" fmla="*/ 247 w 252"/>
              <a:gd name="T17" fmla="*/ 95 h 122"/>
              <a:gd name="T18" fmla="*/ 247 w 252"/>
              <a:gd name="T19" fmla="*/ 74 h 122"/>
              <a:gd name="T20" fmla="*/ 244 w 252"/>
              <a:gd name="T21" fmla="*/ 56 h 122"/>
              <a:gd name="T22" fmla="*/ 248 w 252"/>
              <a:gd name="T23" fmla="*/ 45 h 122"/>
              <a:gd name="T24" fmla="*/ 239 w 252"/>
              <a:gd name="T25" fmla="*/ 38 h 122"/>
              <a:gd name="T26" fmla="*/ 235 w 252"/>
              <a:gd name="T27" fmla="*/ 30 h 122"/>
              <a:gd name="T28" fmla="*/ 231 w 252"/>
              <a:gd name="T29" fmla="*/ 16 h 122"/>
              <a:gd name="T30" fmla="*/ 221 w 252"/>
              <a:gd name="T31" fmla="*/ 9 h 122"/>
              <a:gd name="T32" fmla="*/ 191 w 252"/>
              <a:gd name="T33" fmla="*/ 15 h 122"/>
              <a:gd name="T34" fmla="*/ 160 w 252"/>
              <a:gd name="T35" fmla="*/ 20 h 122"/>
              <a:gd name="T36" fmla="*/ 147 w 252"/>
              <a:gd name="T37" fmla="*/ 17 h 122"/>
              <a:gd name="T38" fmla="*/ 121 w 252"/>
              <a:gd name="T39" fmla="*/ 3 h 122"/>
              <a:gd name="T40" fmla="*/ 105 w 252"/>
              <a:gd name="T41" fmla="*/ 0 h 122"/>
              <a:gd name="T42" fmla="*/ 88 w 252"/>
              <a:gd name="T43" fmla="*/ 3 h 122"/>
              <a:gd name="T44" fmla="*/ 68 w 252"/>
              <a:gd name="T45" fmla="*/ 16 h 122"/>
              <a:gd name="T46" fmla="*/ 56 w 252"/>
              <a:gd name="T47" fmla="*/ 16 h 122"/>
              <a:gd name="T48" fmla="*/ 47 w 252"/>
              <a:gd name="T49" fmla="*/ 15 h 122"/>
              <a:gd name="T50" fmla="*/ 31 w 252"/>
              <a:gd name="T51" fmla="*/ 13 h 122"/>
              <a:gd name="T52" fmla="*/ 38 w 252"/>
              <a:gd name="T53" fmla="*/ 22 h 122"/>
              <a:gd name="T54" fmla="*/ 11 w 252"/>
              <a:gd name="T55" fmla="*/ 29 h 122"/>
              <a:gd name="T56" fmla="*/ 0 w 252"/>
              <a:gd name="T57" fmla="*/ 42 h 122"/>
              <a:gd name="T58" fmla="*/ 5 w 252"/>
              <a:gd name="T59" fmla="*/ 46 h 122"/>
              <a:gd name="T60" fmla="*/ 13 w 252"/>
              <a:gd name="T61" fmla="*/ 58 h 122"/>
              <a:gd name="T62" fmla="*/ 9 w 252"/>
              <a:gd name="T63" fmla="*/ 70 h 122"/>
              <a:gd name="T64" fmla="*/ 18 w 252"/>
              <a:gd name="T65" fmla="*/ 78 h 122"/>
              <a:gd name="T66" fmla="*/ 26 w 252"/>
              <a:gd name="T67" fmla="*/ 89 h 122"/>
              <a:gd name="T68" fmla="*/ 35 w 252"/>
              <a:gd name="T69" fmla="*/ 98 h 122"/>
              <a:gd name="T70" fmla="*/ 62 w 252"/>
              <a:gd name="T71" fmla="*/ 107 h 122"/>
              <a:gd name="T72" fmla="*/ 70 w 252"/>
              <a:gd name="T73" fmla="*/ 101 h 122"/>
              <a:gd name="T74" fmla="*/ 71 w 252"/>
              <a:gd name="T75" fmla="*/ 96 h 122"/>
              <a:gd name="T76" fmla="*/ 82 w 252"/>
              <a:gd name="T77" fmla="*/ 98 h 122"/>
              <a:gd name="T78" fmla="*/ 94 w 252"/>
              <a:gd name="T79" fmla="*/ 111 h 122"/>
              <a:gd name="T80" fmla="*/ 105 w 252"/>
              <a:gd name="T81" fmla="*/ 113 h 122"/>
              <a:gd name="T82" fmla="*/ 114 w 252"/>
              <a:gd name="T83" fmla="*/ 105 h 122"/>
              <a:gd name="T84" fmla="*/ 125 w 252"/>
              <a:gd name="T85" fmla="*/ 96 h 122"/>
              <a:gd name="T86" fmla="*/ 132 w 252"/>
              <a:gd name="T87" fmla="*/ 101 h 122"/>
              <a:gd name="T88" fmla="*/ 137 w 252"/>
              <a:gd name="T89" fmla="*/ 101 h 122"/>
              <a:gd name="T90" fmla="*/ 146 w 252"/>
              <a:gd name="T91" fmla="*/ 100 h 122"/>
              <a:gd name="T92" fmla="*/ 141 w 252"/>
              <a:gd name="T93" fmla="*/ 105 h 122"/>
              <a:gd name="T94" fmla="*/ 149 w 252"/>
              <a:gd name="T95" fmla="*/ 120 h 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52" h="122">
                <a:moveTo>
                  <a:pt x="149" y="120"/>
                </a:moveTo>
                <a:lnTo>
                  <a:pt x="149" y="110"/>
                </a:lnTo>
                <a:lnTo>
                  <a:pt x="149" y="102"/>
                </a:lnTo>
                <a:lnTo>
                  <a:pt x="151" y="102"/>
                </a:lnTo>
                <a:lnTo>
                  <a:pt x="154" y="104"/>
                </a:lnTo>
                <a:lnTo>
                  <a:pt x="155" y="105"/>
                </a:lnTo>
                <a:lnTo>
                  <a:pt x="159" y="106"/>
                </a:lnTo>
                <a:lnTo>
                  <a:pt x="161" y="107"/>
                </a:lnTo>
                <a:lnTo>
                  <a:pt x="165" y="107"/>
                </a:lnTo>
                <a:lnTo>
                  <a:pt x="168" y="106"/>
                </a:lnTo>
                <a:lnTo>
                  <a:pt x="170" y="105"/>
                </a:lnTo>
                <a:lnTo>
                  <a:pt x="172" y="104"/>
                </a:lnTo>
                <a:lnTo>
                  <a:pt x="174" y="103"/>
                </a:lnTo>
                <a:lnTo>
                  <a:pt x="176" y="104"/>
                </a:lnTo>
                <a:lnTo>
                  <a:pt x="179" y="106"/>
                </a:lnTo>
                <a:lnTo>
                  <a:pt x="184" y="107"/>
                </a:lnTo>
                <a:lnTo>
                  <a:pt x="187" y="107"/>
                </a:lnTo>
                <a:lnTo>
                  <a:pt x="190" y="107"/>
                </a:lnTo>
                <a:lnTo>
                  <a:pt x="192" y="106"/>
                </a:lnTo>
                <a:lnTo>
                  <a:pt x="195" y="104"/>
                </a:lnTo>
                <a:lnTo>
                  <a:pt x="197" y="101"/>
                </a:lnTo>
                <a:lnTo>
                  <a:pt x="200" y="101"/>
                </a:lnTo>
                <a:lnTo>
                  <a:pt x="201" y="101"/>
                </a:lnTo>
                <a:lnTo>
                  <a:pt x="203" y="101"/>
                </a:lnTo>
                <a:lnTo>
                  <a:pt x="204" y="101"/>
                </a:lnTo>
                <a:lnTo>
                  <a:pt x="208" y="101"/>
                </a:lnTo>
                <a:lnTo>
                  <a:pt x="211" y="101"/>
                </a:lnTo>
                <a:lnTo>
                  <a:pt x="212" y="101"/>
                </a:lnTo>
                <a:lnTo>
                  <a:pt x="214" y="101"/>
                </a:lnTo>
                <a:lnTo>
                  <a:pt x="221" y="98"/>
                </a:lnTo>
                <a:lnTo>
                  <a:pt x="226" y="97"/>
                </a:lnTo>
                <a:lnTo>
                  <a:pt x="228" y="96"/>
                </a:lnTo>
                <a:lnTo>
                  <a:pt x="227" y="97"/>
                </a:lnTo>
                <a:lnTo>
                  <a:pt x="244" y="97"/>
                </a:lnTo>
                <a:lnTo>
                  <a:pt x="245" y="96"/>
                </a:lnTo>
                <a:lnTo>
                  <a:pt x="247" y="95"/>
                </a:lnTo>
                <a:lnTo>
                  <a:pt x="251" y="95"/>
                </a:lnTo>
                <a:lnTo>
                  <a:pt x="249" y="89"/>
                </a:lnTo>
                <a:lnTo>
                  <a:pt x="248" y="84"/>
                </a:lnTo>
                <a:lnTo>
                  <a:pt x="247" y="74"/>
                </a:lnTo>
                <a:lnTo>
                  <a:pt x="247" y="69"/>
                </a:lnTo>
                <a:lnTo>
                  <a:pt x="245" y="65"/>
                </a:lnTo>
                <a:lnTo>
                  <a:pt x="244" y="61"/>
                </a:lnTo>
                <a:lnTo>
                  <a:pt x="244" y="56"/>
                </a:lnTo>
                <a:lnTo>
                  <a:pt x="246" y="55"/>
                </a:lnTo>
                <a:lnTo>
                  <a:pt x="247" y="52"/>
                </a:lnTo>
                <a:lnTo>
                  <a:pt x="248" y="48"/>
                </a:lnTo>
                <a:lnTo>
                  <a:pt x="248" y="45"/>
                </a:lnTo>
                <a:lnTo>
                  <a:pt x="247" y="42"/>
                </a:lnTo>
                <a:lnTo>
                  <a:pt x="244" y="39"/>
                </a:lnTo>
                <a:lnTo>
                  <a:pt x="241" y="39"/>
                </a:lnTo>
                <a:lnTo>
                  <a:pt x="239" y="38"/>
                </a:lnTo>
                <a:lnTo>
                  <a:pt x="235" y="38"/>
                </a:lnTo>
                <a:lnTo>
                  <a:pt x="236" y="35"/>
                </a:lnTo>
                <a:lnTo>
                  <a:pt x="236" y="33"/>
                </a:lnTo>
                <a:lnTo>
                  <a:pt x="235" y="30"/>
                </a:lnTo>
                <a:lnTo>
                  <a:pt x="235" y="26"/>
                </a:lnTo>
                <a:lnTo>
                  <a:pt x="234" y="22"/>
                </a:lnTo>
                <a:lnTo>
                  <a:pt x="233" y="19"/>
                </a:lnTo>
                <a:lnTo>
                  <a:pt x="231" y="16"/>
                </a:lnTo>
                <a:lnTo>
                  <a:pt x="228" y="13"/>
                </a:lnTo>
                <a:lnTo>
                  <a:pt x="226" y="11"/>
                </a:lnTo>
                <a:lnTo>
                  <a:pt x="223" y="9"/>
                </a:lnTo>
                <a:lnTo>
                  <a:pt x="221" y="9"/>
                </a:lnTo>
                <a:lnTo>
                  <a:pt x="219" y="9"/>
                </a:lnTo>
                <a:lnTo>
                  <a:pt x="213" y="9"/>
                </a:lnTo>
                <a:lnTo>
                  <a:pt x="205" y="11"/>
                </a:lnTo>
                <a:lnTo>
                  <a:pt x="191" y="15"/>
                </a:lnTo>
                <a:lnTo>
                  <a:pt x="183" y="16"/>
                </a:lnTo>
                <a:lnTo>
                  <a:pt x="175" y="18"/>
                </a:lnTo>
                <a:lnTo>
                  <a:pt x="168" y="20"/>
                </a:lnTo>
                <a:lnTo>
                  <a:pt x="160" y="20"/>
                </a:lnTo>
                <a:lnTo>
                  <a:pt x="156" y="20"/>
                </a:lnTo>
                <a:lnTo>
                  <a:pt x="152" y="19"/>
                </a:lnTo>
                <a:lnTo>
                  <a:pt x="150" y="18"/>
                </a:lnTo>
                <a:lnTo>
                  <a:pt x="147" y="17"/>
                </a:lnTo>
                <a:lnTo>
                  <a:pt x="141" y="13"/>
                </a:lnTo>
                <a:lnTo>
                  <a:pt x="134" y="10"/>
                </a:lnTo>
                <a:lnTo>
                  <a:pt x="128" y="6"/>
                </a:lnTo>
                <a:lnTo>
                  <a:pt x="121" y="3"/>
                </a:lnTo>
                <a:lnTo>
                  <a:pt x="116" y="2"/>
                </a:lnTo>
                <a:lnTo>
                  <a:pt x="112" y="1"/>
                </a:lnTo>
                <a:lnTo>
                  <a:pt x="109" y="0"/>
                </a:lnTo>
                <a:lnTo>
                  <a:pt x="105" y="0"/>
                </a:lnTo>
                <a:lnTo>
                  <a:pt x="98" y="1"/>
                </a:lnTo>
                <a:lnTo>
                  <a:pt x="95" y="1"/>
                </a:lnTo>
                <a:lnTo>
                  <a:pt x="93" y="2"/>
                </a:lnTo>
                <a:lnTo>
                  <a:pt x="88" y="3"/>
                </a:lnTo>
                <a:lnTo>
                  <a:pt x="84" y="6"/>
                </a:lnTo>
                <a:lnTo>
                  <a:pt x="75" y="12"/>
                </a:lnTo>
                <a:lnTo>
                  <a:pt x="72" y="13"/>
                </a:lnTo>
                <a:lnTo>
                  <a:pt x="68" y="16"/>
                </a:lnTo>
                <a:lnTo>
                  <a:pt x="66" y="16"/>
                </a:lnTo>
                <a:lnTo>
                  <a:pt x="62" y="17"/>
                </a:lnTo>
                <a:lnTo>
                  <a:pt x="58" y="17"/>
                </a:lnTo>
                <a:lnTo>
                  <a:pt x="56" y="16"/>
                </a:lnTo>
                <a:lnTo>
                  <a:pt x="53" y="15"/>
                </a:lnTo>
                <a:lnTo>
                  <a:pt x="52" y="13"/>
                </a:lnTo>
                <a:lnTo>
                  <a:pt x="49" y="13"/>
                </a:lnTo>
                <a:lnTo>
                  <a:pt x="47" y="15"/>
                </a:lnTo>
                <a:lnTo>
                  <a:pt x="45" y="15"/>
                </a:lnTo>
                <a:lnTo>
                  <a:pt x="42" y="13"/>
                </a:lnTo>
                <a:lnTo>
                  <a:pt x="36" y="13"/>
                </a:lnTo>
                <a:lnTo>
                  <a:pt x="31" y="13"/>
                </a:lnTo>
                <a:lnTo>
                  <a:pt x="31" y="15"/>
                </a:lnTo>
                <a:lnTo>
                  <a:pt x="32" y="16"/>
                </a:lnTo>
                <a:lnTo>
                  <a:pt x="35" y="20"/>
                </a:lnTo>
                <a:lnTo>
                  <a:pt x="38" y="22"/>
                </a:lnTo>
                <a:lnTo>
                  <a:pt x="40" y="26"/>
                </a:lnTo>
                <a:lnTo>
                  <a:pt x="28" y="29"/>
                </a:lnTo>
                <a:lnTo>
                  <a:pt x="20" y="29"/>
                </a:lnTo>
                <a:lnTo>
                  <a:pt x="11" y="29"/>
                </a:lnTo>
                <a:lnTo>
                  <a:pt x="8" y="31"/>
                </a:lnTo>
                <a:lnTo>
                  <a:pt x="4" y="35"/>
                </a:lnTo>
                <a:lnTo>
                  <a:pt x="1" y="39"/>
                </a:lnTo>
                <a:lnTo>
                  <a:pt x="0" y="42"/>
                </a:lnTo>
                <a:lnTo>
                  <a:pt x="0" y="43"/>
                </a:lnTo>
                <a:lnTo>
                  <a:pt x="0" y="44"/>
                </a:lnTo>
                <a:lnTo>
                  <a:pt x="3" y="45"/>
                </a:lnTo>
                <a:lnTo>
                  <a:pt x="5" y="46"/>
                </a:lnTo>
                <a:lnTo>
                  <a:pt x="8" y="47"/>
                </a:lnTo>
                <a:lnTo>
                  <a:pt x="8" y="49"/>
                </a:lnTo>
                <a:lnTo>
                  <a:pt x="9" y="52"/>
                </a:lnTo>
                <a:lnTo>
                  <a:pt x="13" y="58"/>
                </a:lnTo>
                <a:lnTo>
                  <a:pt x="12" y="61"/>
                </a:lnTo>
                <a:lnTo>
                  <a:pt x="11" y="62"/>
                </a:lnTo>
                <a:lnTo>
                  <a:pt x="9" y="62"/>
                </a:lnTo>
                <a:lnTo>
                  <a:pt x="9" y="70"/>
                </a:lnTo>
                <a:lnTo>
                  <a:pt x="16" y="70"/>
                </a:lnTo>
                <a:lnTo>
                  <a:pt x="16" y="73"/>
                </a:lnTo>
                <a:lnTo>
                  <a:pt x="17" y="75"/>
                </a:lnTo>
                <a:lnTo>
                  <a:pt x="18" y="78"/>
                </a:lnTo>
                <a:lnTo>
                  <a:pt x="19" y="79"/>
                </a:lnTo>
                <a:lnTo>
                  <a:pt x="23" y="84"/>
                </a:lnTo>
                <a:lnTo>
                  <a:pt x="26" y="88"/>
                </a:lnTo>
                <a:lnTo>
                  <a:pt x="26" y="89"/>
                </a:lnTo>
                <a:lnTo>
                  <a:pt x="26" y="91"/>
                </a:lnTo>
                <a:lnTo>
                  <a:pt x="28" y="93"/>
                </a:lnTo>
                <a:lnTo>
                  <a:pt x="30" y="95"/>
                </a:lnTo>
                <a:lnTo>
                  <a:pt x="35" y="98"/>
                </a:lnTo>
                <a:lnTo>
                  <a:pt x="41" y="101"/>
                </a:lnTo>
                <a:lnTo>
                  <a:pt x="48" y="104"/>
                </a:lnTo>
                <a:lnTo>
                  <a:pt x="56" y="107"/>
                </a:lnTo>
                <a:lnTo>
                  <a:pt x="62" y="107"/>
                </a:lnTo>
                <a:lnTo>
                  <a:pt x="66" y="109"/>
                </a:lnTo>
                <a:lnTo>
                  <a:pt x="68" y="109"/>
                </a:lnTo>
                <a:lnTo>
                  <a:pt x="69" y="106"/>
                </a:lnTo>
                <a:lnTo>
                  <a:pt x="70" y="101"/>
                </a:lnTo>
                <a:lnTo>
                  <a:pt x="68" y="101"/>
                </a:lnTo>
                <a:lnTo>
                  <a:pt x="66" y="98"/>
                </a:lnTo>
                <a:lnTo>
                  <a:pt x="69" y="97"/>
                </a:lnTo>
                <a:lnTo>
                  <a:pt x="71" y="96"/>
                </a:lnTo>
                <a:lnTo>
                  <a:pt x="74" y="96"/>
                </a:lnTo>
                <a:lnTo>
                  <a:pt x="79" y="97"/>
                </a:lnTo>
                <a:lnTo>
                  <a:pt x="80" y="98"/>
                </a:lnTo>
                <a:lnTo>
                  <a:pt x="82" y="98"/>
                </a:lnTo>
                <a:lnTo>
                  <a:pt x="85" y="101"/>
                </a:lnTo>
                <a:lnTo>
                  <a:pt x="89" y="105"/>
                </a:lnTo>
                <a:lnTo>
                  <a:pt x="92" y="107"/>
                </a:lnTo>
                <a:lnTo>
                  <a:pt x="94" y="111"/>
                </a:lnTo>
                <a:lnTo>
                  <a:pt x="98" y="113"/>
                </a:lnTo>
                <a:lnTo>
                  <a:pt x="102" y="114"/>
                </a:lnTo>
                <a:lnTo>
                  <a:pt x="103" y="114"/>
                </a:lnTo>
                <a:lnTo>
                  <a:pt x="105" y="113"/>
                </a:lnTo>
                <a:lnTo>
                  <a:pt x="107" y="111"/>
                </a:lnTo>
                <a:lnTo>
                  <a:pt x="108" y="111"/>
                </a:lnTo>
                <a:lnTo>
                  <a:pt x="111" y="107"/>
                </a:lnTo>
                <a:lnTo>
                  <a:pt x="114" y="105"/>
                </a:lnTo>
                <a:lnTo>
                  <a:pt x="116" y="101"/>
                </a:lnTo>
                <a:lnTo>
                  <a:pt x="119" y="98"/>
                </a:lnTo>
                <a:lnTo>
                  <a:pt x="121" y="97"/>
                </a:lnTo>
                <a:lnTo>
                  <a:pt x="125" y="96"/>
                </a:lnTo>
                <a:lnTo>
                  <a:pt x="127" y="97"/>
                </a:lnTo>
                <a:lnTo>
                  <a:pt x="128" y="98"/>
                </a:lnTo>
                <a:lnTo>
                  <a:pt x="129" y="98"/>
                </a:lnTo>
                <a:lnTo>
                  <a:pt x="132" y="101"/>
                </a:lnTo>
                <a:lnTo>
                  <a:pt x="133" y="101"/>
                </a:lnTo>
                <a:lnTo>
                  <a:pt x="134" y="101"/>
                </a:lnTo>
                <a:lnTo>
                  <a:pt x="136" y="101"/>
                </a:lnTo>
                <a:lnTo>
                  <a:pt x="137" y="101"/>
                </a:lnTo>
                <a:lnTo>
                  <a:pt x="138" y="98"/>
                </a:lnTo>
                <a:lnTo>
                  <a:pt x="139" y="97"/>
                </a:lnTo>
                <a:lnTo>
                  <a:pt x="147" y="97"/>
                </a:lnTo>
                <a:lnTo>
                  <a:pt x="146" y="100"/>
                </a:lnTo>
                <a:lnTo>
                  <a:pt x="145" y="102"/>
                </a:lnTo>
                <a:lnTo>
                  <a:pt x="144" y="103"/>
                </a:lnTo>
                <a:lnTo>
                  <a:pt x="142" y="104"/>
                </a:lnTo>
                <a:lnTo>
                  <a:pt x="141" y="105"/>
                </a:lnTo>
                <a:lnTo>
                  <a:pt x="142" y="109"/>
                </a:lnTo>
                <a:lnTo>
                  <a:pt x="142" y="113"/>
                </a:lnTo>
                <a:lnTo>
                  <a:pt x="145" y="121"/>
                </a:lnTo>
                <a:lnTo>
                  <a:pt x="149" y="12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38" name="Freeform 137">
            <a:extLst>
              <a:ext uri="{FF2B5EF4-FFF2-40B4-BE49-F238E27FC236}">
                <a16:creationId xmlns:a16="http://schemas.microsoft.com/office/drawing/2014/main" id="{29F7C69A-5C44-422D-89DD-C1FFFBDC0745}"/>
              </a:ext>
            </a:extLst>
          </p:cNvPr>
          <p:cNvSpPr>
            <a:spLocks/>
          </p:cNvSpPr>
          <p:nvPr/>
        </p:nvSpPr>
        <p:spPr bwMode="auto">
          <a:xfrm>
            <a:off x="7587625" y="4101946"/>
            <a:ext cx="33338" cy="47625"/>
          </a:xfrm>
          <a:custGeom>
            <a:avLst/>
            <a:gdLst>
              <a:gd name="T0" fmla="*/ 0 w 17"/>
              <a:gd name="T1" fmla="*/ 12 h 26"/>
              <a:gd name="T2" fmla="*/ 0 w 17"/>
              <a:gd name="T3" fmla="*/ 11 h 26"/>
              <a:gd name="T4" fmla="*/ 1 w 17"/>
              <a:gd name="T5" fmla="*/ 9 h 26"/>
              <a:gd name="T6" fmla="*/ 2 w 17"/>
              <a:gd name="T7" fmla="*/ 8 h 26"/>
              <a:gd name="T8" fmla="*/ 2 w 17"/>
              <a:gd name="T9" fmla="*/ 6 h 26"/>
              <a:gd name="T10" fmla="*/ 2 w 17"/>
              <a:gd name="T11" fmla="*/ 3 h 26"/>
              <a:gd name="T12" fmla="*/ 1 w 17"/>
              <a:gd name="T13" fmla="*/ 0 h 26"/>
              <a:gd name="T14" fmla="*/ 10 w 17"/>
              <a:gd name="T15" fmla="*/ 0 h 26"/>
              <a:gd name="T16" fmla="*/ 11 w 17"/>
              <a:gd name="T17" fmla="*/ 3 h 26"/>
              <a:gd name="T18" fmla="*/ 12 w 17"/>
              <a:gd name="T19" fmla="*/ 5 h 26"/>
              <a:gd name="T20" fmla="*/ 15 w 17"/>
              <a:gd name="T21" fmla="*/ 8 h 26"/>
              <a:gd name="T22" fmla="*/ 15 w 17"/>
              <a:gd name="T23" fmla="*/ 10 h 26"/>
              <a:gd name="T24" fmla="*/ 16 w 17"/>
              <a:gd name="T25" fmla="*/ 12 h 26"/>
              <a:gd name="T26" fmla="*/ 15 w 17"/>
              <a:gd name="T27" fmla="*/ 13 h 26"/>
              <a:gd name="T28" fmla="*/ 14 w 17"/>
              <a:gd name="T29" fmla="*/ 15 h 26"/>
              <a:gd name="T30" fmla="*/ 11 w 17"/>
              <a:gd name="T31" fmla="*/ 20 h 26"/>
              <a:gd name="T32" fmla="*/ 10 w 17"/>
              <a:gd name="T33" fmla="*/ 21 h 26"/>
              <a:gd name="T34" fmla="*/ 7 w 17"/>
              <a:gd name="T35" fmla="*/ 22 h 26"/>
              <a:gd name="T36" fmla="*/ 5 w 17"/>
              <a:gd name="T37" fmla="*/ 25 h 26"/>
              <a:gd name="T38" fmla="*/ 2 w 17"/>
              <a:gd name="T39" fmla="*/ 19 h 26"/>
              <a:gd name="T40" fmla="*/ 0 w 17"/>
              <a:gd name="T41" fmla="*/ 15 h 26"/>
              <a:gd name="T42" fmla="*/ 0 w 17"/>
              <a:gd name="T43" fmla="*/ 12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7" h="26">
                <a:moveTo>
                  <a:pt x="0" y="12"/>
                </a:moveTo>
                <a:lnTo>
                  <a:pt x="0" y="11"/>
                </a:lnTo>
                <a:lnTo>
                  <a:pt x="1" y="9"/>
                </a:lnTo>
                <a:lnTo>
                  <a:pt x="2" y="8"/>
                </a:lnTo>
                <a:lnTo>
                  <a:pt x="2" y="6"/>
                </a:lnTo>
                <a:lnTo>
                  <a:pt x="2" y="3"/>
                </a:lnTo>
                <a:lnTo>
                  <a:pt x="1" y="0"/>
                </a:lnTo>
                <a:lnTo>
                  <a:pt x="10" y="0"/>
                </a:lnTo>
                <a:lnTo>
                  <a:pt x="11" y="3"/>
                </a:lnTo>
                <a:lnTo>
                  <a:pt x="12" y="5"/>
                </a:lnTo>
                <a:lnTo>
                  <a:pt x="15" y="8"/>
                </a:lnTo>
                <a:lnTo>
                  <a:pt x="15" y="10"/>
                </a:lnTo>
                <a:lnTo>
                  <a:pt x="16" y="12"/>
                </a:lnTo>
                <a:lnTo>
                  <a:pt x="15" y="13"/>
                </a:lnTo>
                <a:lnTo>
                  <a:pt x="14" y="15"/>
                </a:lnTo>
                <a:lnTo>
                  <a:pt x="11" y="20"/>
                </a:lnTo>
                <a:lnTo>
                  <a:pt x="10" y="21"/>
                </a:lnTo>
                <a:lnTo>
                  <a:pt x="7" y="22"/>
                </a:lnTo>
                <a:lnTo>
                  <a:pt x="5" y="25"/>
                </a:lnTo>
                <a:lnTo>
                  <a:pt x="2" y="19"/>
                </a:lnTo>
                <a:lnTo>
                  <a:pt x="0" y="15"/>
                </a:lnTo>
                <a:lnTo>
                  <a:pt x="0" y="12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39" name="Freeform 138">
            <a:extLst>
              <a:ext uri="{FF2B5EF4-FFF2-40B4-BE49-F238E27FC236}">
                <a16:creationId xmlns:a16="http://schemas.microsoft.com/office/drawing/2014/main" id="{19CFD734-6147-7F49-527E-A4082EA88C82}"/>
              </a:ext>
            </a:extLst>
          </p:cNvPr>
          <p:cNvSpPr>
            <a:spLocks/>
          </p:cNvSpPr>
          <p:nvPr/>
        </p:nvSpPr>
        <p:spPr bwMode="auto">
          <a:xfrm>
            <a:off x="7638425" y="4133696"/>
            <a:ext cx="217488" cy="200025"/>
          </a:xfrm>
          <a:custGeom>
            <a:avLst/>
            <a:gdLst>
              <a:gd name="T0" fmla="*/ 63 w 108"/>
              <a:gd name="T1" fmla="*/ 14 h 107"/>
              <a:gd name="T2" fmla="*/ 68 w 108"/>
              <a:gd name="T3" fmla="*/ 22 h 107"/>
              <a:gd name="T4" fmla="*/ 73 w 108"/>
              <a:gd name="T5" fmla="*/ 25 h 107"/>
              <a:gd name="T6" fmla="*/ 78 w 108"/>
              <a:gd name="T7" fmla="*/ 25 h 107"/>
              <a:gd name="T8" fmla="*/ 91 w 108"/>
              <a:gd name="T9" fmla="*/ 22 h 107"/>
              <a:gd name="T10" fmla="*/ 100 w 108"/>
              <a:gd name="T11" fmla="*/ 21 h 107"/>
              <a:gd name="T12" fmla="*/ 104 w 108"/>
              <a:gd name="T13" fmla="*/ 22 h 107"/>
              <a:gd name="T14" fmla="*/ 105 w 108"/>
              <a:gd name="T15" fmla="*/ 25 h 107"/>
              <a:gd name="T16" fmla="*/ 107 w 108"/>
              <a:gd name="T17" fmla="*/ 31 h 107"/>
              <a:gd name="T18" fmla="*/ 105 w 108"/>
              <a:gd name="T19" fmla="*/ 38 h 107"/>
              <a:gd name="T20" fmla="*/ 103 w 108"/>
              <a:gd name="T21" fmla="*/ 44 h 107"/>
              <a:gd name="T22" fmla="*/ 96 w 108"/>
              <a:gd name="T23" fmla="*/ 50 h 107"/>
              <a:gd name="T24" fmla="*/ 90 w 108"/>
              <a:gd name="T25" fmla="*/ 56 h 107"/>
              <a:gd name="T26" fmla="*/ 86 w 108"/>
              <a:gd name="T27" fmla="*/ 59 h 107"/>
              <a:gd name="T28" fmla="*/ 84 w 108"/>
              <a:gd name="T29" fmla="*/ 64 h 107"/>
              <a:gd name="T30" fmla="*/ 84 w 108"/>
              <a:gd name="T31" fmla="*/ 70 h 107"/>
              <a:gd name="T32" fmla="*/ 71 w 108"/>
              <a:gd name="T33" fmla="*/ 70 h 107"/>
              <a:gd name="T34" fmla="*/ 68 w 108"/>
              <a:gd name="T35" fmla="*/ 74 h 107"/>
              <a:gd name="T36" fmla="*/ 66 w 108"/>
              <a:gd name="T37" fmla="*/ 80 h 107"/>
              <a:gd name="T38" fmla="*/ 66 w 108"/>
              <a:gd name="T39" fmla="*/ 83 h 107"/>
              <a:gd name="T40" fmla="*/ 60 w 108"/>
              <a:gd name="T41" fmla="*/ 84 h 107"/>
              <a:gd name="T42" fmla="*/ 55 w 108"/>
              <a:gd name="T43" fmla="*/ 87 h 107"/>
              <a:gd name="T44" fmla="*/ 53 w 108"/>
              <a:gd name="T45" fmla="*/ 90 h 107"/>
              <a:gd name="T46" fmla="*/ 50 w 108"/>
              <a:gd name="T47" fmla="*/ 98 h 107"/>
              <a:gd name="T48" fmla="*/ 48 w 108"/>
              <a:gd name="T49" fmla="*/ 99 h 107"/>
              <a:gd name="T50" fmla="*/ 39 w 108"/>
              <a:gd name="T51" fmla="*/ 102 h 107"/>
              <a:gd name="T52" fmla="*/ 29 w 108"/>
              <a:gd name="T53" fmla="*/ 103 h 107"/>
              <a:gd name="T54" fmla="*/ 20 w 108"/>
              <a:gd name="T55" fmla="*/ 105 h 107"/>
              <a:gd name="T56" fmla="*/ 0 w 108"/>
              <a:gd name="T57" fmla="*/ 80 h 107"/>
              <a:gd name="T58" fmla="*/ 44 w 108"/>
              <a:gd name="T59" fmla="*/ 48 h 107"/>
              <a:gd name="T60" fmla="*/ 36 w 108"/>
              <a:gd name="T61" fmla="*/ 15 h 107"/>
              <a:gd name="T62" fmla="*/ 59 w 108"/>
              <a:gd name="T63" fmla="*/ 4 h 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08" h="107">
                <a:moveTo>
                  <a:pt x="59" y="4"/>
                </a:moveTo>
                <a:lnTo>
                  <a:pt x="63" y="14"/>
                </a:lnTo>
                <a:lnTo>
                  <a:pt x="66" y="19"/>
                </a:lnTo>
                <a:lnTo>
                  <a:pt x="68" y="22"/>
                </a:lnTo>
                <a:lnTo>
                  <a:pt x="71" y="25"/>
                </a:lnTo>
                <a:lnTo>
                  <a:pt x="73" y="25"/>
                </a:lnTo>
                <a:lnTo>
                  <a:pt x="76" y="26"/>
                </a:lnTo>
                <a:lnTo>
                  <a:pt x="78" y="25"/>
                </a:lnTo>
                <a:lnTo>
                  <a:pt x="85" y="25"/>
                </a:lnTo>
                <a:lnTo>
                  <a:pt x="91" y="22"/>
                </a:lnTo>
                <a:lnTo>
                  <a:pt x="97" y="22"/>
                </a:lnTo>
                <a:lnTo>
                  <a:pt x="100" y="21"/>
                </a:lnTo>
                <a:lnTo>
                  <a:pt x="103" y="22"/>
                </a:lnTo>
                <a:lnTo>
                  <a:pt x="104" y="22"/>
                </a:lnTo>
                <a:lnTo>
                  <a:pt x="104" y="23"/>
                </a:lnTo>
                <a:lnTo>
                  <a:pt x="105" y="25"/>
                </a:lnTo>
                <a:lnTo>
                  <a:pt x="107" y="27"/>
                </a:lnTo>
                <a:lnTo>
                  <a:pt x="107" y="31"/>
                </a:lnTo>
                <a:lnTo>
                  <a:pt x="107" y="35"/>
                </a:lnTo>
                <a:lnTo>
                  <a:pt x="105" y="38"/>
                </a:lnTo>
                <a:lnTo>
                  <a:pt x="104" y="41"/>
                </a:lnTo>
                <a:lnTo>
                  <a:pt x="103" y="44"/>
                </a:lnTo>
                <a:lnTo>
                  <a:pt x="99" y="48"/>
                </a:lnTo>
                <a:lnTo>
                  <a:pt x="96" y="50"/>
                </a:lnTo>
                <a:lnTo>
                  <a:pt x="94" y="52"/>
                </a:lnTo>
                <a:lnTo>
                  <a:pt x="90" y="56"/>
                </a:lnTo>
                <a:lnTo>
                  <a:pt x="88" y="57"/>
                </a:lnTo>
                <a:lnTo>
                  <a:pt x="86" y="59"/>
                </a:lnTo>
                <a:lnTo>
                  <a:pt x="85" y="61"/>
                </a:lnTo>
                <a:lnTo>
                  <a:pt x="84" y="64"/>
                </a:lnTo>
                <a:lnTo>
                  <a:pt x="84" y="67"/>
                </a:lnTo>
                <a:lnTo>
                  <a:pt x="84" y="70"/>
                </a:lnTo>
                <a:lnTo>
                  <a:pt x="77" y="68"/>
                </a:lnTo>
                <a:lnTo>
                  <a:pt x="71" y="70"/>
                </a:lnTo>
                <a:lnTo>
                  <a:pt x="68" y="68"/>
                </a:lnTo>
                <a:lnTo>
                  <a:pt x="68" y="74"/>
                </a:lnTo>
                <a:lnTo>
                  <a:pt x="68" y="76"/>
                </a:lnTo>
                <a:lnTo>
                  <a:pt x="66" y="80"/>
                </a:lnTo>
                <a:lnTo>
                  <a:pt x="64" y="81"/>
                </a:lnTo>
                <a:lnTo>
                  <a:pt x="66" y="83"/>
                </a:lnTo>
                <a:lnTo>
                  <a:pt x="62" y="84"/>
                </a:lnTo>
                <a:lnTo>
                  <a:pt x="60" y="84"/>
                </a:lnTo>
                <a:lnTo>
                  <a:pt x="56" y="86"/>
                </a:lnTo>
                <a:lnTo>
                  <a:pt x="55" y="87"/>
                </a:lnTo>
                <a:lnTo>
                  <a:pt x="54" y="88"/>
                </a:lnTo>
                <a:lnTo>
                  <a:pt x="53" y="90"/>
                </a:lnTo>
                <a:lnTo>
                  <a:pt x="51" y="96"/>
                </a:lnTo>
                <a:lnTo>
                  <a:pt x="50" y="98"/>
                </a:lnTo>
                <a:lnTo>
                  <a:pt x="49" y="99"/>
                </a:lnTo>
                <a:lnTo>
                  <a:pt x="48" y="99"/>
                </a:lnTo>
                <a:lnTo>
                  <a:pt x="44" y="102"/>
                </a:lnTo>
                <a:lnTo>
                  <a:pt x="39" y="102"/>
                </a:lnTo>
                <a:lnTo>
                  <a:pt x="32" y="102"/>
                </a:lnTo>
                <a:lnTo>
                  <a:pt x="29" y="103"/>
                </a:lnTo>
                <a:lnTo>
                  <a:pt x="25" y="103"/>
                </a:lnTo>
                <a:lnTo>
                  <a:pt x="20" y="105"/>
                </a:lnTo>
                <a:lnTo>
                  <a:pt x="17" y="106"/>
                </a:lnTo>
                <a:lnTo>
                  <a:pt x="0" y="80"/>
                </a:lnTo>
                <a:lnTo>
                  <a:pt x="0" y="72"/>
                </a:lnTo>
                <a:lnTo>
                  <a:pt x="44" y="48"/>
                </a:lnTo>
                <a:lnTo>
                  <a:pt x="44" y="20"/>
                </a:lnTo>
                <a:lnTo>
                  <a:pt x="36" y="15"/>
                </a:lnTo>
                <a:lnTo>
                  <a:pt x="58" y="0"/>
                </a:lnTo>
                <a:lnTo>
                  <a:pt x="59" y="4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40" name="Freeform 139">
            <a:extLst>
              <a:ext uri="{FF2B5EF4-FFF2-40B4-BE49-F238E27FC236}">
                <a16:creationId xmlns:a16="http://schemas.microsoft.com/office/drawing/2014/main" id="{07194BF2-F2D7-7069-A4CA-8EA670F16997}"/>
              </a:ext>
            </a:extLst>
          </p:cNvPr>
          <p:cNvSpPr>
            <a:spLocks/>
          </p:cNvSpPr>
          <p:nvPr/>
        </p:nvSpPr>
        <p:spPr bwMode="auto">
          <a:xfrm>
            <a:off x="7732088" y="4090834"/>
            <a:ext cx="34925" cy="31750"/>
          </a:xfrm>
          <a:custGeom>
            <a:avLst/>
            <a:gdLst>
              <a:gd name="T0" fmla="*/ 1 w 17"/>
              <a:gd name="T1" fmla="*/ 6 h 17"/>
              <a:gd name="T2" fmla="*/ 8 w 17"/>
              <a:gd name="T3" fmla="*/ 0 h 17"/>
              <a:gd name="T4" fmla="*/ 12 w 17"/>
              <a:gd name="T5" fmla="*/ 6 h 17"/>
              <a:gd name="T6" fmla="*/ 16 w 17"/>
              <a:gd name="T7" fmla="*/ 13 h 17"/>
              <a:gd name="T8" fmla="*/ 12 w 17"/>
              <a:gd name="T9" fmla="*/ 16 h 17"/>
              <a:gd name="T10" fmla="*/ 8 w 17"/>
              <a:gd name="T11" fmla="*/ 16 h 17"/>
              <a:gd name="T12" fmla="*/ 6 w 17"/>
              <a:gd name="T13" fmla="*/ 16 h 17"/>
              <a:gd name="T14" fmla="*/ 5 w 17"/>
              <a:gd name="T15" fmla="*/ 14 h 17"/>
              <a:gd name="T16" fmla="*/ 3 w 17"/>
              <a:gd name="T17" fmla="*/ 13 h 17"/>
              <a:gd name="T18" fmla="*/ 2 w 17"/>
              <a:gd name="T19" fmla="*/ 12 h 17"/>
              <a:gd name="T20" fmla="*/ 0 w 17"/>
              <a:gd name="T21" fmla="*/ 5 h 17"/>
              <a:gd name="T22" fmla="*/ 1 w 17"/>
              <a:gd name="T23" fmla="*/ 6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7" h="17">
                <a:moveTo>
                  <a:pt x="1" y="6"/>
                </a:moveTo>
                <a:lnTo>
                  <a:pt x="8" y="0"/>
                </a:lnTo>
                <a:lnTo>
                  <a:pt x="12" y="6"/>
                </a:lnTo>
                <a:lnTo>
                  <a:pt x="16" y="13"/>
                </a:lnTo>
                <a:lnTo>
                  <a:pt x="12" y="16"/>
                </a:lnTo>
                <a:lnTo>
                  <a:pt x="8" y="16"/>
                </a:lnTo>
                <a:lnTo>
                  <a:pt x="6" y="16"/>
                </a:lnTo>
                <a:lnTo>
                  <a:pt x="5" y="14"/>
                </a:lnTo>
                <a:lnTo>
                  <a:pt x="3" y="13"/>
                </a:lnTo>
                <a:lnTo>
                  <a:pt x="2" y="12"/>
                </a:lnTo>
                <a:lnTo>
                  <a:pt x="0" y="5"/>
                </a:lnTo>
                <a:lnTo>
                  <a:pt x="1" y="6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41" name="Freeform 140">
            <a:extLst>
              <a:ext uri="{FF2B5EF4-FFF2-40B4-BE49-F238E27FC236}">
                <a16:creationId xmlns:a16="http://schemas.microsoft.com/office/drawing/2014/main" id="{C15FB874-4594-A523-535B-31F43D165838}"/>
              </a:ext>
            </a:extLst>
          </p:cNvPr>
          <p:cNvSpPr>
            <a:spLocks/>
          </p:cNvSpPr>
          <p:nvPr/>
        </p:nvSpPr>
        <p:spPr bwMode="auto">
          <a:xfrm>
            <a:off x="7590800" y="4101946"/>
            <a:ext cx="169863" cy="73025"/>
          </a:xfrm>
          <a:custGeom>
            <a:avLst/>
            <a:gdLst>
              <a:gd name="T0" fmla="*/ 60 w 84"/>
              <a:gd name="T1" fmla="*/ 32 h 39"/>
              <a:gd name="T2" fmla="*/ 83 w 84"/>
              <a:gd name="T3" fmla="*/ 17 h 39"/>
              <a:gd name="T4" fmla="*/ 82 w 84"/>
              <a:gd name="T5" fmla="*/ 13 h 39"/>
              <a:gd name="T6" fmla="*/ 80 w 84"/>
              <a:gd name="T7" fmla="*/ 8 h 39"/>
              <a:gd name="T8" fmla="*/ 78 w 84"/>
              <a:gd name="T9" fmla="*/ 10 h 39"/>
              <a:gd name="T10" fmla="*/ 75 w 84"/>
              <a:gd name="T11" fmla="*/ 10 h 39"/>
              <a:gd name="T12" fmla="*/ 73 w 84"/>
              <a:gd name="T13" fmla="*/ 10 h 39"/>
              <a:gd name="T14" fmla="*/ 73 w 84"/>
              <a:gd name="T15" fmla="*/ 9 h 39"/>
              <a:gd name="T16" fmla="*/ 71 w 84"/>
              <a:gd name="T17" fmla="*/ 8 h 39"/>
              <a:gd name="T18" fmla="*/ 70 w 84"/>
              <a:gd name="T19" fmla="*/ 6 h 39"/>
              <a:gd name="T20" fmla="*/ 69 w 84"/>
              <a:gd name="T21" fmla="*/ 0 h 39"/>
              <a:gd name="T22" fmla="*/ 66 w 84"/>
              <a:gd name="T23" fmla="*/ 7 h 39"/>
              <a:gd name="T24" fmla="*/ 61 w 84"/>
              <a:gd name="T25" fmla="*/ 13 h 39"/>
              <a:gd name="T26" fmla="*/ 56 w 84"/>
              <a:gd name="T27" fmla="*/ 20 h 39"/>
              <a:gd name="T28" fmla="*/ 52 w 84"/>
              <a:gd name="T29" fmla="*/ 26 h 39"/>
              <a:gd name="T30" fmla="*/ 50 w 84"/>
              <a:gd name="T31" fmla="*/ 27 h 39"/>
              <a:gd name="T32" fmla="*/ 47 w 84"/>
              <a:gd name="T33" fmla="*/ 31 h 39"/>
              <a:gd name="T34" fmla="*/ 44 w 84"/>
              <a:gd name="T35" fmla="*/ 32 h 39"/>
              <a:gd name="T36" fmla="*/ 41 w 84"/>
              <a:gd name="T37" fmla="*/ 34 h 39"/>
              <a:gd name="T38" fmla="*/ 37 w 84"/>
              <a:gd name="T39" fmla="*/ 35 h 39"/>
              <a:gd name="T40" fmla="*/ 33 w 84"/>
              <a:gd name="T41" fmla="*/ 36 h 39"/>
              <a:gd name="T42" fmla="*/ 29 w 84"/>
              <a:gd name="T43" fmla="*/ 38 h 39"/>
              <a:gd name="T44" fmla="*/ 24 w 84"/>
              <a:gd name="T45" fmla="*/ 38 h 39"/>
              <a:gd name="T46" fmla="*/ 21 w 84"/>
              <a:gd name="T47" fmla="*/ 36 h 39"/>
              <a:gd name="T48" fmla="*/ 19 w 84"/>
              <a:gd name="T49" fmla="*/ 36 h 39"/>
              <a:gd name="T50" fmla="*/ 16 w 84"/>
              <a:gd name="T51" fmla="*/ 34 h 39"/>
              <a:gd name="T52" fmla="*/ 13 w 84"/>
              <a:gd name="T53" fmla="*/ 34 h 39"/>
              <a:gd name="T54" fmla="*/ 7 w 84"/>
              <a:gd name="T55" fmla="*/ 30 h 39"/>
              <a:gd name="T56" fmla="*/ 3 w 84"/>
              <a:gd name="T57" fmla="*/ 25 h 39"/>
              <a:gd name="T58" fmla="*/ 0 w 84"/>
              <a:gd name="T59" fmla="*/ 31 h 39"/>
              <a:gd name="T60" fmla="*/ 1 w 84"/>
              <a:gd name="T61" fmla="*/ 31 h 39"/>
              <a:gd name="T62" fmla="*/ 2 w 84"/>
              <a:gd name="T63" fmla="*/ 31 h 39"/>
              <a:gd name="T64" fmla="*/ 3 w 84"/>
              <a:gd name="T65" fmla="*/ 31 h 39"/>
              <a:gd name="T66" fmla="*/ 10 w 84"/>
              <a:gd name="T67" fmla="*/ 27 h 39"/>
              <a:gd name="T68" fmla="*/ 16 w 84"/>
              <a:gd name="T69" fmla="*/ 22 h 39"/>
              <a:gd name="T70" fmla="*/ 19 w 84"/>
              <a:gd name="T71" fmla="*/ 20 h 39"/>
              <a:gd name="T72" fmla="*/ 20 w 84"/>
              <a:gd name="T73" fmla="*/ 20 h 39"/>
              <a:gd name="T74" fmla="*/ 20 w 84"/>
              <a:gd name="T75" fmla="*/ 31 h 39"/>
              <a:gd name="T76" fmla="*/ 60 w 84"/>
              <a:gd name="T77" fmla="*/ 32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" h="39">
                <a:moveTo>
                  <a:pt x="60" y="32"/>
                </a:moveTo>
                <a:lnTo>
                  <a:pt x="83" y="17"/>
                </a:lnTo>
                <a:lnTo>
                  <a:pt x="82" y="13"/>
                </a:lnTo>
                <a:lnTo>
                  <a:pt x="80" y="8"/>
                </a:lnTo>
                <a:lnTo>
                  <a:pt x="78" y="10"/>
                </a:lnTo>
                <a:lnTo>
                  <a:pt x="75" y="10"/>
                </a:lnTo>
                <a:lnTo>
                  <a:pt x="73" y="10"/>
                </a:lnTo>
                <a:lnTo>
                  <a:pt x="73" y="9"/>
                </a:lnTo>
                <a:lnTo>
                  <a:pt x="71" y="8"/>
                </a:lnTo>
                <a:lnTo>
                  <a:pt x="70" y="6"/>
                </a:lnTo>
                <a:lnTo>
                  <a:pt x="69" y="0"/>
                </a:lnTo>
                <a:lnTo>
                  <a:pt x="66" y="7"/>
                </a:lnTo>
                <a:lnTo>
                  <a:pt x="61" y="13"/>
                </a:lnTo>
                <a:lnTo>
                  <a:pt x="56" y="20"/>
                </a:lnTo>
                <a:lnTo>
                  <a:pt x="52" y="26"/>
                </a:lnTo>
                <a:lnTo>
                  <a:pt x="50" y="27"/>
                </a:lnTo>
                <a:lnTo>
                  <a:pt x="47" y="31"/>
                </a:lnTo>
                <a:lnTo>
                  <a:pt x="44" y="32"/>
                </a:lnTo>
                <a:lnTo>
                  <a:pt x="41" y="34"/>
                </a:lnTo>
                <a:lnTo>
                  <a:pt x="37" y="35"/>
                </a:lnTo>
                <a:lnTo>
                  <a:pt x="33" y="36"/>
                </a:lnTo>
                <a:lnTo>
                  <a:pt x="29" y="38"/>
                </a:lnTo>
                <a:lnTo>
                  <a:pt x="24" y="38"/>
                </a:lnTo>
                <a:lnTo>
                  <a:pt x="21" y="36"/>
                </a:lnTo>
                <a:lnTo>
                  <a:pt x="19" y="36"/>
                </a:lnTo>
                <a:lnTo>
                  <a:pt x="16" y="34"/>
                </a:lnTo>
                <a:lnTo>
                  <a:pt x="13" y="34"/>
                </a:lnTo>
                <a:lnTo>
                  <a:pt x="7" y="30"/>
                </a:lnTo>
                <a:lnTo>
                  <a:pt x="3" y="25"/>
                </a:lnTo>
                <a:lnTo>
                  <a:pt x="0" y="31"/>
                </a:lnTo>
                <a:lnTo>
                  <a:pt x="1" y="31"/>
                </a:lnTo>
                <a:lnTo>
                  <a:pt x="2" y="31"/>
                </a:lnTo>
                <a:lnTo>
                  <a:pt x="3" y="31"/>
                </a:lnTo>
                <a:lnTo>
                  <a:pt x="10" y="27"/>
                </a:lnTo>
                <a:lnTo>
                  <a:pt x="16" y="22"/>
                </a:lnTo>
                <a:lnTo>
                  <a:pt x="19" y="20"/>
                </a:lnTo>
                <a:lnTo>
                  <a:pt x="20" y="20"/>
                </a:lnTo>
                <a:lnTo>
                  <a:pt x="20" y="31"/>
                </a:lnTo>
                <a:lnTo>
                  <a:pt x="60" y="32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42" name="Freeform 141">
            <a:extLst>
              <a:ext uri="{FF2B5EF4-FFF2-40B4-BE49-F238E27FC236}">
                <a16:creationId xmlns:a16="http://schemas.microsoft.com/office/drawing/2014/main" id="{6E997BA4-0532-DE66-E907-B10D8DA1FD0A}"/>
              </a:ext>
            </a:extLst>
          </p:cNvPr>
          <p:cNvSpPr>
            <a:spLocks/>
          </p:cNvSpPr>
          <p:nvPr/>
        </p:nvSpPr>
        <p:spPr bwMode="auto">
          <a:xfrm>
            <a:off x="7374900" y="4270221"/>
            <a:ext cx="301625" cy="184150"/>
          </a:xfrm>
          <a:custGeom>
            <a:avLst/>
            <a:gdLst>
              <a:gd name="T0" fmla="*/ 131 w 150"/>
              <a:gd name="T1" fmla="*/ 7 h 98"/>
              <a:gd name="T2" fmla="*/ 86 w 150"/>
              <a:gd name="T3" fmla="*/ 12 h 98"/>
              <a:gd name="T4" fmla="*/ 44 w 150"/>
              <a:gd name="T5" fmla="*/ 34 h 98"/>
              <a:gd name="T6" fmla="*/ 24 w 150"/>
              <a:gd name="T7" fmla="*/ 27 h 98"/>
              <a:gd name="T8" fmla="*/ 22 w 150"/>
              <a:gd name="T9" fmla="*/ 29 h 98"/>
              <a:gd name="T10" fmla="*/ 19 w 150"/>
              <a:gd name="T11" fmla="*/ 27 h 98"/>
              <a:gd name="T12" fmla="*/ 15 w 150"/>
              <a:gd name="T13" fmla="*/ 25 h 98"/>
              <a:gd name="T14" fmla="*/ 11 w 150"/>
              <a:gd name="T15" fmla="*/ 25 h 98"/>
              <a:gd name="T16" fmla="*/ 8 w 150"/>
              <a:gd name="T17" fmla="*/ 27 h 98"/>
              <a:gd name="T18" fmla="*/ 6 w 150"/>
              <a:gd name="T19" fmla="*/ 35 h 98"/>
              <a:gd name="T20" fmla="*/ 3 w 150"/>
              <a:gd name="T21" fmla="*/ 48 h 98"/>
              <a:gd name="T22" fmla="*/ 0 w 150"/>
              <a:gd name="T23" fmla="*/ 56 h 98"/>
              <a:gd name="T24" fmla="*/ 3 w 150"/>
              <a:gd name="T25" fmla="*/ 66 h 98"/>
              <a:gd name="T26" fmla="*/ 10 w 150"/>
              <a:gd name="T27" fmla="*/ 77 h 98"/>
              <a:gd name="T28" fmla="*/ 11 w 150"/>
              <a:gd name="T29" fmla="*/ 83 h 98"/>
              <a:gd name="T30" fmla="*/ 12 w 150"/>
              <a:gd name="T31" fmla="*/ 97 h 98"/>
              <a:gd name="T32" fmla="*/ 23 w 150"/>
              <a:gd name="T33" fmla="*/ 97 h 98"/>
              <a:gd name="T34" fmla="*/ 30 w 150"/>
              <a:gd name="T35" fmla="*/ 93 h 98"/>
              <a:gd name="T36" fmla="*/ 40 w 150"/>
              <a:gd name="T37" fmla="*/ 87 h 98"/>
              <a:gd name="T38" fmla="*/ 47 w 150"/>
              <a:gd name="T39" fmla="*/ 82 h 98"/>
              <a:gd name="T40" fmla="*/ 57 w 150"/>
              <a:gd name="T41" fmla="*/ 78 h 98"/>
              <a:gd name="T42" fmla="*/ 77 w 150"/>
              <a:gd name="T43" fmla="*/ 74 h 98"/>
              <a:gd name="T44" fmla="*/ 86 w 150"/>
              <a:gd name="T45" fmla="*/ 71 h 98"/>
              <a:gd name="T46" fmla="*/ 91 w 150"/>
              <a:gd name="T47" fmla="*/ 69 h 98"/>
              <a:gd name="T48" fmla="*/ 97 w 150"/>
              <a:gd name="T49" fmla="*/ 70 h 98"/>
              <a:gd name="T50" fmla="*/ 101 w 150"/>
              <a:gd name="T51" fmla="*/ 70 h 98"/>
              <a:gd name="T52" fmla="*/ 118 w 150"/>
              <a:gd name="T53" fmla="*/ 65 h 98"/>
              <a:gd name="T54" fmla="*/ 126 w 150"/>
              <a:gd name="T55" fmla="*/ 61 h 98"/>
              <a:gd name="T56" fmla="*/ 134 w 150"/>
              <a:gd name="T57" fmla="*/ 56 h 98"/>
              <a:gd name="T58" fmla="*/ 138 w 150"/>
              <a:gd name="T59" fmla="*/ 51 h 98"/>
              <a:gd name="T60" fmla="*/ 141 w 150"/>
              <a:gd name="T61" fmla="*/ 40 h 98"/>
              <a:gd name="T62" fmla="*/ 145 w 150"/>
              <a:gd name="T63" fmla="*/ 35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50" h="98">
                <a:moveTo>
                  <a:pt x="149" y="33"/>
                </a:moveTo>
                <a:lnTo>
                  <a:pt x="131" y="7"/>
                </a:lnTo>
                <a:lnTo>
                  <a:pt x="131" y="0"/>
                </a:lnTo>
                <a:lnTo>
                  <a:pt x="86" y="12"/>
                </a:lnTo>
                <a:lnTo>
                  <a:pt x="47" y="59"/>
                </a:lnTo>
                <a:lnTo>
                  <a:pt x="44" y="34"/>
                </a:lnTo>
                <a:lnTo>
                  <a:pt x="26" y="29"/>
                </a:lnTo>
                <a:lnTo>
                  <a:pt x="24" y="27"/>
                </a:lnTo>
                <a:lnTo>
                  <a:pt x="23" y="27"/>
                </a:lnTo>
                <a:lnTo>
                  <a:pt x="22" y="29"/>
                </a:lnTo>
                <a:lnTo>
                  <a:pt x="20" y="29"/>
                </a:lnTo>
                <a:lnTo>
                  <a:pt x="19" y="27"/>
                </a:lnTo>
                <a:lnTo>
                  <a:pt x="16" y="26"/>
                </a:lnTo>
                <a:lnTo>
                  <a:pt x="15" y="25"/>
                </a:lnTo>
                <a:lnTo>
                  <a:pt x="13" y="25"/>
                </a:lnTo>
                <a:lnTo>
                  <a:pt x="11" y="25"/>
                </a:lnTo>
                <a:lnTo>
                  <a:pt x="10" y="25"/>
                </a:lnTo>
                <a:lnTo>
                  <a:pt x="8" y="27"/>
                </a:lnTo>
                <a:lnTo>
                  <a:pt x="8" y="29"/>
                </a:lnTo>
                <a:lnTo>
                  <a:pt x="6" y="35"/>
                </a:lnTo>
                <a:lnTo>
                  <a:pt x="5" y="38"/>
                </a:lnTo>
                <a:lnTo>
                  <a:pt x="3" y="48"/>
                </a:lnTo>
                <a:lnTo>
                  <a:pt x="1" y="53"/>
                </a:lnTo>
                <a:lnTo>
                  <a:pt x="0" y="56"/>
                </a:lnTo>
                <a:lnTo>
                  <a:pt x="2" y="61"/>
                </a:lnTo>
                <a:lnTo>
                  <a:pt x="3" y="66"/>
                </a:lnTo>
                <a:lnTo>
                  <a:pt x="7" y="74"/>
                </a:lnTo>
                <a:lnTo>
                  <a:pt x="10" y="77"/>
                </a:lnTo>
                <a:lnTo>
                  <a:pt x="10" y="80"/>
                </a:lnTo>
                <a:lnTo>
                  <a:pt x="11" y="83"/>
                </a:lnTo>
                <a:lnTo>
                  <a:pt x="12" y="88"/>
                </a:lnTo>
                <a:lnTo>
                  <a:pt x="12" y="97"/>
                </a:lnTo>
                <a:lnTo>
                  <a:pt x="19" y="97"/>
                </a:lnTo>
                <a:lnTo>
                  <a:pt x="23" y="97"/>
                </a:lnTo>
                <a:lnTo>
                  <a:pt x="27" y="95"/>
                </a:lnTo>
                <a:lnTo>
                  <a:pt x="30" y="93"/>
                </a:lnTo>
                <a:lnTo>
                  <a:pt x="33" y="91"/>
                </a:lnTo>
                <a:lnTo>
                  <a:pt x="40" y="87"/>
                </a:lnTo>
                <a:lnTo>
                  <a:pt x="43" y="84"/>
                </a:lnTo>
                <a:lnTo>
                  <a:pt x="47" y="82"/>
                </a:lnTo>
                <a:lnTo>
                  <a:pt x="52" y="80"/>
                </a:lnTo>
                <a:lnTo>
                  <a:pt x="57" y="78"/>
                </a:lnTo>
                <a:lnTo>
                  <a:pt x="68" y="75"/>
                </a:lnTo>
                <a:lnTo>
                  <a:pt x="77" y="74"/>
                </a:lnTo>
                <a:lnTo>
                  <a:pt x="82" y="73"/>
                </a:lnTo>
                <a:lnTo>
                  <a:pt x="86" y="71"/>
                </a:lnTo>
                <a:lnTo>
                  <a:pt x="88" y="70"/>
                </a:lnTo>
                <a:lnTo>
                  <a:pt x="91" y="69"/>
                </a:lnTo>
                <a:lnTo>
                  <a:pt x="93" y="70"/>
                </a:lnTo>
                <a:lnTo>
                  <a:pt x="97" y="70"/>
                </a:lnTo>
                <a:lnTo>
                  <a:pt x="99" y="70"/>
                </a:lnTo>
                <a:lnTo>
                  <a:pt x="101" y="70"/>
                </a:lnTo>
                <a:lnTo>
                  <a:pt x="110" y="67"/>
                </a:lnTo>
                <a:lnTo>
                  <a:pt x="118" y="65"/>
                </a:lnTo>
                <a:lnTo>
                  <a:pt x="122" y="64"/>
                </a:lnTo>
                <a:lnTo>
                  <a:pt x="126" y="61"/>
                </a:lnTo>
                <a:lnTo>
                  <a:pt x="131" y="60"/>
                </a:lnTo>
                <a:lnTo>
                  <a:pt x="134" y="56"/>
                </a:lnTo>
                <a:lnTo>
                  <a:pt x="136" y="54"/>
                </a:lnTo>
                <a:lnTo>
                  <a:pt x="138" y="51"/>
                </a:lnTo>
                <a:lnTo>
                  <a:pt x="140" y="44"/>
                </a:lnTo>
                <a:lnTo>
                  <a:pt x="141" y="40"/>
                </a:lnTo>
                <a:lnTo>
                  <a:pt x="142" y="38"/>
                </a:lnTo>
                <a:lnTo>
                  <a:pt x="145" y="35"/>
                </a:lnTo>
                <a:lnTo>
                  <a:pt x="149" y="33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43" name="Freeform 142">
            <a:extLst>
              <a:ext uri="{FF2B5EF4-FFF2-40B4-BE49-F238E27FC236}">
                <a16:creationId xmlns:a16="http://schemas.microsoft.com/office/drawing/2014/main" id="{F3A157F5-0BA1-87BB-9F22-EF49294C0584}"/>
              </a:ext>
            </a:extLst>
          </p:cNvPr>
          <p:cNvSpPr>
            <a:spLocks/>
          </p:cNvSpPr>
          <p:nvPr/>
        </p:nvSpPr>
        <p:spPr bwMode="auto">
          <a:xfrm>
            <a:off x="6587500" y="2612871"/>
            <a:ext cx="271463" cy="327025"/>
          </a:xfrm>
          <a:custGeom>
            <a:avLst/>
            <a:gdLst>
              <a:gd name="T0" fmla="*/ 83 w 134"/>
              <a:gd name="T1" fmla="*/ 19 h 175"/>
              <a:gd name="T2" fmla="*/ 80 w 134"/>
              <a:gd name="T3" fmla="*/ 26 h 175"/>
              <a:gd name="T4" fmla="*/ 81 w 134"/>
              <a:gd name="T5" fmla="*/ 30 h 175"/>
              <a:gd name="T6" fmla="*/ 85 w 134"/>
              <a:gd name="T7" fmla="*/ 34 h 175"/>
              <a:gd name="T8" fmla="*/ 93 w 134"/>
              <a:gd name="T9" fmla="*/ 35 h 175"/>
              <a:gd name="T10" fmla="*/ 99 w 134"/>
              <a:gd name="T11" fmla="*/ 39 h 175"/>
              <a:gd name="T12" fmla="*/ 98 w 134"/>
              <a:gd name="T13" fmla="*/ 44 h 175"/>
              <a:gd name="T14" fmla="*/ 93 w 134"/>
              <a:gd name="T15" fmla="*/ 52 h 175"/>
              <a:gd name="T16" fmla="*/ 94 w 134"/>
              <a:gd name="T17" fmla="*/ 56 h 175"/>
              <a:gd name="T18" fmla="*/ 100 w 134"/>
              <a:gd name="T19" fmla="*/ 55 h 175"/>
              <a:gd name="T20" fmla="*/ 103 w 134"/>
              <a:gd name="T21" fmla="*/ 65 h 175"/>
              <a:gd name="T22" fmla="*/ 106 w 134"/>
              <a:gd name="T23" fmla="*/ 82 h 175"/>
              <a:gd name="T24" fmla="*/ 111 w 134"/>
              <a:gd name="T25" fmla="*/ 88 h 175"/>
              <a:gd name="T26" fmla="*/ 113 w 134"/>
              <a:gd name="T27" fmla="*/ 92 h 175"/>
              <a:gd name="T28" fmla="*/ 117 w 134"/>
              <a:gd name="T29" fmla="*/ 105 h 175"/>
              <a:gd name="T30" fmla="*/ 121 w 134"/>
              <a:gd name="T31" fmla="*/ 113 h 175"/>
              <a:gd name="T32" fmla="*/ 133 w 134"/>
              <a:gd name="T33" fmla="*/ 132 h 175"/>
              <a:gd name="T34" fmla="*/ 122 w 134"/>
              <a:gd name="T35" fmla="*/ 137 h 175"/>
              <a:gd name="T36" fmla="*/ 110 w 134"/>
              <a:gd name="T37" fmla="*/ 149 h 175"/>
              <a:gd name="T38" fmla="*/ 98 w 134"/>
              <a:gd name="T39" fmla="*/ 160 h 175"/>
              <a:gd name="T40" fmla="*/ 86 w 134"/>
              <a:gd name="T41" fmla="*/ 163 h 175"/>
              <a:gd name="T42" fmla="*/ 79 w 134"/>
              <a:gd name="T43" fmla="*/ 164 h 175"/>
              <a:gd name="T44" fmla="*/ 76 w 134"/>
              <a:gd name="T45" fmla="*/ 169 h 175"/>
              <a:gd name="T46" fmla="*/ 63 w 134"/>
              <a:gd name="T47" fmla="*/ 169 h 175"/>
              <a:gd name="T48" fmla="*/ 45 w 134"/>
              <a:gd name="T49" fmla="*/ 174 h 175"/>
              <a:gd name="T50" fmla="*/ 37 w 134"/>
              <a:gd name="T51" fmla="*/ 170 h 175"/>
              <a:gd name="T52" fmla="*/ 31 w 134"/>
              <a:gd name="T53" fmla="*/ 164 h 175"/>
              <a:gd name="T54" fmla="*/ 26 w 134"/>
              <a:gd name="T55" fmla="*/ 160 h 175"/>
              <a:gd name="T56" fmla="*/ 18 w 134"/>
              <a:gd name="T57" fmla="*/ 128 h 175"/>
              <a:gd name="T58" fmla="*/ 19 w 134"/>
              <a:gd name="T59" fmla="*/ 113 h 175"/>
              <a:gd name="T60" fmla="*/ 26 w 134"/>
              <a:gd name="T61" fmla="*/ 104 h 175"/>
              <a:gd name="T62" fmla="*/ 44 w 134"/>
              <a:gd name="T63" fmla="*/ 93 h 175"/>
              <a:gd name="T64" fmla="*/ 54 w 134"/>
              <a:gd name="T65" fmla="*/ 84 h 175"/>
              <a:gd name="T66" fmla="*/ 57 w 134"/>
              <a:gd name="T67" fmla="*/ 78 h 175"/>
              <a:gd name="T68" fmla="*/ 48 w 134"/>
              <a:gd name="T69" fmla="*/ 75 h 175"/>
              <a:gd name="T70" fmla="*/ 33 w 134"/>
              <a:gd name="T71" fmla="*/ 55 h 175"/>
              <a:gd name="T72" fmla="*/ 30 w 134"/>
              <a:gd name="T73" fmla="*/ 39 h 175"/>
              <a:gd name="T74" fmla="*/ 22 w 134"/>
              <a:gd name="T75" fmla="*/ 28 h 175"/>
              <a:gd name="T76" fmla="*/ 6 w 134"/>
              <a:gd name="T77" fmla="*/ 20 h 175"/>
              <a:gd name="T78" fmla="*/ 2 w 134"/>
              <a:gd name="T79" fmla="*/ 13 h 175"/>
              <a:gd name="T80" fmla="*/ 6 w 134"/>
              <a:gd name="T81" fmla="*/ 15 h 175"/>
              <a:gd name="T82" fmla="*/ 23 w 134"/>
              <a:gd name="T83" fmla="*/ 19 h 175"/>
              <a:gd name="T84" fmla="*/ 41 w 134"/>
              <a:gd name="T85" fmla="*/ 25 h 175"/>
              <a:gd name="T86" fmla="*/ 49 w 134"/>
              <a:gd name="T87" fmla="*/ 22 h 175"/>
              <a:gd name="T88" fmla="*/ 53 w 134"/>
              <a:gd name="T89" fmla="*/ 12 h 175"/>
              <a:gd name="T90" fmla="*/ 55 w 134"/>
              <a:gd name="T91" fmla="*/ 3 h 175"/>
              <a:gd name="T92" fmla="*/ 61 w 134"/>
              <a:gd name="T93" fmla="*/ 0 h 175"/>
              <a:gd name="T94" fmla="*/ 73 w 134"/>
              <a:gd name="T95" fmla="*/ 2 h 175"/>
              <a:gd name="T96" fmla="*/ 86 w 134"/>
              <a:gd name="T97" fmla="*/ 9 h 175"/>
              <a:gd name="T98" fmla="*/ 89 w 134"/>
              <a:gd name="T99" fmla="*/ 15 h 1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34" h="175">
                <a:moveTo>
                  <a:pt x="89" y="15"/>
                </a:moveTo>
                <a:lnTo>
                  <a:pt x="85" y="16"/>
                </a:lnTo>
                <a:lnTo>
                  <a:pt x="83" y="19"/>
                </a:lnTo>
                <a:lnTo>
                  <a:pt x="81" y="22"/>
                </a:lnTo>
                <a:lnTo>
                  <a:pt x="80" y="24"/>
                </a:lnTo>
                <a:lnTo>
                  <a:pt x="80" y="26"/>
                </a:lnTo>
                <a:lnTo>
                  <a:pt x="80" y="29"/>
                </a:lnTo>
                <a:lnTo>
                  <a:pt x="81" y="29"/>
                </a:lnTo>
                <a:lnTo>
                  <a:pt x="81" y="30"/>
                </a:lnTo>
                <a:lnTo>
                  <a:pt x="82" y="32"/>
                </a:lnTo>
                <a:lnTo>
                  <a:pt x="83" y="33"/>
                </a:lnTo>
                <a:lnTo>
                  <a:pt x="85" y="34"/>
                </a:lnTo>
                <a:lnTo>
                  <a:pt x="86" y="34"/>
                </a:lnTo>
                <a:lnTo>
                  <a:pt x="89" y="34"/>
                </a:lnTo>
                <a:lnTo>
                  <a:pt x="93" y="35"/>
                </a:lnTo>
                <a:lnTo>
                  <a:pt x="96" y="35"/>
                </a:lnTo>
                <a:lnTo>
                  <a:pt x="98" y="37"/>
                </a:lnTo>
                <a:lnTo>
                  <a:pt x="99" y="39"/>
                </a:lnTo>
                <a:lnTo>
                  <a:pt x="99" y="40"/>
                </a:lnTo>
                <a:lnTo>
                  <a:pt x="99" y="42"/>
                </a:lnTo>
                <a:lnTo>
                  <a:pt x="98" y="44"/>
                </a:lnTo>
                <a:lnTo>
                  <a:pt x="96" y="47"/>
                </a:lnTo>
                <a:lnTo>
                  <a:pt x="94" y="51"/>
                </a:lnTo>
                <a:lnTo>
                  <a:pt x="93" y="52"/>
                </a:lnTo>
                <a:lnTo>
                  <a:pt x="93" y="53"/>
                </a:lnTo>
                <a:lnTo>
                  <a:pt x="93" y="55"/>
                </a:lnTo>
                <a:lnTo>
                  <a:pt x="94" y="56"/>
                </a:lnTo>
                <a:lnTo>
                  <a:pt x="96" y="56"/>
                </a:lnTo>
                <a:lnTo>
                  <a:pt x="97" y="56"/>
                </a:lnTo>
                <a:lnTo>
                  <a:pt x="100" y="55"/>
                </a:lnTo>
                <a:lnTo>
                  <a:pt x="102" y="53"/>
                </a:lnTo>
                <a:lnTo>
                  <a:pt x="102" y="59"/>
                </a:lnTo>
                <a:lnTo>
                  <a:pt x="103" y="65"/>
                </a:lnTo>
                <a:lnTo>
                  <a:pt x="103" y="70"/>
                </a:lnTo>
                <a:lnTo>
                  <a:pt x="104" y="75"/>
                </a:lnTo>
                <a:lnTo>
                  <a:pt x="106" y="82"/>
                </a:lnTo>
                <a:lnTo>
                  <a:pt x="108" y="86"/>
                </a:lnTo>
                <a:lnTo>
                  <a:pt x="110" y="88"/>
                </a:lnTo>
                <a:lnTo>
                  <a:pt x="111" y="88"/>
                </a:lnTo>
                <a:lnTo>
                  <a:pt x="112" y="89"/>
                </a:lnTo>
                <a:lnTo>
                  <a:pt x="113" y="89"/>
                </a:lnTo>
                <a:lnTo>
                  <a:pt x="113" y="92"/>
                </a:lnTo>
                <a:lnTo>
                  <a:pt x="113" y="95"/>
                </a:lnTo>
                <a:lnTo>
                  <a:pt x="116" y="100"/>
                </a:lnTo>
                <a:lnTo>
                  <a:pt x="117" y="105"/>
                </a:lnTo>
                <a:lnTo>
                  <a:pt x="117" y="106"/>
                </a:lnTo>
                <a:lnTo>
                  <a:pt x="116" y="109"/>
                </a:lnTo>
                <a:lnTo>
                  <a:pt x="121" y="113"/>
                </a:lnTo>
                <a:lnTo>
                  <a:pt x="125" y="115"/>
                </a:lnTo>
                <a:lnTo>
                  <a:pt x="133" y="122"/>
                </a:lnTo>
                <a:lnTo>
                  <a:pt x="133" y="132"/>
                </a:lnTo>
                <a:lnTo>
                  <a:pt x="127" y="133"/>
                </a:lnTo>
                <a:lnTo>
                  <a:pt x="125" y="135"/>
                </a:lnTo>
                <a:lnTo>
                  <a:pt x="122" y="137"/>
                </a:lnTo>
                <a:lnTo>
                  <a:pt x="119" y="138"/>
                </a:lnTo>
                <a:lnTo>
                  <a:pt x="115" y="143"/>
                </a:lnTo>
                <a:lnTo>
                  <a:pt x="110" y="149"/>
                </a:lnTo>
                <a:lnTo>
                  <a:pt x="105" y="154"/>
                </a:lnTo>
                <a:lnTo>
                  <a:pt x="100" y="159"/>
                </a:lnTo>
                <a:lnTo>
                  <a:pt x="98" y="160"/>
                </a:lnTo>
                <a:lnTo>
                  <a:pt x="94" y="162"/>
                </a:lnTo>
                <a:lnTo>
                  <a:pt x="90" y="163"/>
                </a:lnTo>
                <a:lnTo>
                  <a:pt x="86" y="163"/>
                </a:lnTo>
                <a:lnTo>
                  <a:pt x="83" y="163"/>
                </a:lnTo>
                <a:lnTo>
                  <a:pt x="80" y="164"/>
                </a:lnTo>
                <a:lnTo>
                  <a:pt x="79" y="164"/>
                </a:lnTo>
                <a:lnTo>
                  <a:pt x="77" y="165"/>
                </a:lnTo>
                <a:lnTo>
                  <a:pt x="77" y="167"/>
                </a:lnTo>
                <a:lnTo>
                  <a:pt x="76" y="169"/>
                </a:lnTo>
                <a:lnTo>
                  <a:pt x="73" y="168"/>
                </a:lnTo>
                <a:lnTo>
                  <a:pt x="70" y="169"/>
                </a:lnTo>
                <a:lnTo>
                  <a:pt x="63" y="169"/>
                </a:lnTo>
                <a:lnTo>
                  <a:pt x="57" y="171"/>
                </a:lnTo>
                <a:lnTo>
                  <a:pt x="50" y="173"/>
                </a:lnTo>
                <a:lnTo>
                  <a:pt x="45" y="174"/>
                </a:lnTo>
                <a:lnTo>
                  <a:pt x="42" y="173"/>
                </a:lnTo>
                <a:lnTo>
                  <a:pt x="39" y="172"/>
                </a:lnTo>
                <a:lnTo>
                  <a:pt x="37" y="170"/>
                </a:lnTo>
                <a:lnTo>
                  <a:pt x="36" y="168"/>
                </a:lnTo>
                <a:lnTo>
                  <a:pt x="33" y="164"/>
                </a:lnTo>
                <a:lnTo>
                  <a:pt x="31" y="164"/>
                </a:lnTo>
                <a:lnTo>
                  <a:pt x="28" y="163"/>
                </a:lnTo>
                <a:lnTo>
                  <a:pt x="27" y="163"/>
                </a:lnTo>
                <a:lnTo>
                  <a:pt x="26" y="160"/>
                </a:lnTo>
                <a:lnTo>
                  <a:pt x="24" y="156"/>
                </a:lnTo>
                <a:lnTo>
                  <a:pt x="22" y="142"/>
                </a:lnTo>
                <a:lnTo>
                  <a:pt x="18" y="128"/>
                </a:lnTo>
                <a:lnTo>
                  <a:pt x="17" y="121"/>
                </a:lnTo>
                <a:lnTo>
                  <a:pt x="18" y="116"/>
                </a:lnTo>
                <a:lnTo>
                  <a:pt x="19" y="113"/>
                </a:lnTo>
                <a:lnTo>
                  <a:pt x="21" y="109"/>
                </a:lnTo>
                <a:lnTo>
                  <a:pt x="23" y="106"/>
                </a:lnTo>
                <a:lnTo>
                  <a:pt x="26" y="104"/>
                </a:lnTo>
                <a:lnTo>
                  <a:pt x="29" y="101"/>
                </a:lnTo>
                <a:lnTo>
                  <a:pt x="36" y="97"/>
                </a:lnTo>
                <a:lnTo>
                  <a:pt x="44" y="93"/>
                </a:lnTo>
                <a:lnTo>
                  <a:pt x="50" y="88"/>
                </a:lnTo>
                <a:lnTo>
                  <a:pt x="53" y="86"/>
                </a:lnTo>
                <a:lnTo>
                  <a:pt x="54" y="84"/>
                </a:lnTo>
                <a:lnTo>
                  <a:pt x="55" y="83"/>
                </a:lnTo>
                <a:lnTo>
                  <a:pt x="57" y="79"/>
                </a:lnTo>
                <a:lnTo>
                  <a:pt x="57" y="78"/>
                </a:lnTo>
                <a:lnTo>
                  <a:pt x="58" y="75"/>
                </a:lnTo>
                <a:lnTo>
                  <a:pt x="53" y="75"/>
                </a:lnTo>
                <a:lnTo>
                  <a:pt x="48" y="75"/>
                </a:lnTo>
                <a:lnTo>
                  <a:pt x="39" y="75"/>
                </a:lnTo>
                <a:lnTo>
                  <a:pt x="36" y="64"/>
                </a:lnTo>
                <a:lnTo>
                  <a:pt x="33" y="55"/>
                </a:lnTo>
                <a:lnTo>
                  <a:pt x="33" y="50"/>
                </a:lnTo>
                <a:lnTo>
                  <a:pt x="32" y="45"/>
                </a:lnTo>
                <a:lnTo>
                  <a:pt x="30" y="39"/>
                </a:lnTo>
                <a:lnTo>
                  <a:pt x="27" y="35"/>
                </a:lnTo>
                <a:lnTo>
                  <a:pt x="24" y="31"/>
                </a:lnTo>
                <a:lnTo>
                  <a:pt x="22" y="28"/>
                </a:lnTo>
                <a:lnTo>
                  <a:pt x="18" y="26"/>
                </a:lnTo>
                <a:lnTo>
                  <a:pt x="14" y="24"/>
                </a:lnTo>
                <a:lnTo>
                  <a:pt x="6" y="20"/>
                </a:lnTo>
                <a:lnTo>
                  <a:pt x="3" y="19"/>
                </a:lnTo>
                <a:lnTo>
                  <a:pt x="0" y="16"/>
                </a:lnTo>
                <a:lnTo>
                  <a:pt x="2" y="13"/>
                </a:lnTo>
                <a:lnTo>
                  <a:pt x="3" y="13"/>
                </a:lnTo>
                <a:lnTo>
                  <a:pt x="4" y="13"/>
                </a:lnTo>
                <a:lnTo>
                  <a:pt x="6" y="15"/>
                </a:lnTo>
                <a:lnTo>
                  <a:pt x="10" y="15"/>
                </a:lnTo>
                <a:lnTo>
                  <a:pt x="14" y="16"/>
                </a:lnTo>
                <a:lnTo>
                  <a:pt x="23" y="19"/>
                </a:lnTo>
                <a:lnTo>
                  <a:pt x="32" y="23"/>
                </a:lnTo>
                <a:lnTo>
                  <a:pt x="36" y="24"/>
                </a:lnTo>
                <a:lnTo>
                  <a:pt x="41" y="25"/>
                </a:lnTo>
                <a:lnTo>
                  <a:pt x="44" y="24"/>
                </a:lnTo>
                <a:lnTo>
                  <a:pt x="46" y="23"/>
                </a:lnTo>
                <a:lnTo>
                  <a:pt x="49" y="22"/>
                </a:lnTo>
                <a:lnTo>
                  <a:pt x="49" y="20"/>
                </a:lnTo>
                <a:lnTo>
                  <a:pt x="51" y="16"/>
                </a:lnTo>
                <a:lnTo>
                  <a:pt x="53" y="12"/>
                </a:lnTo>
                <a:lnTo>
                  <a:pt x="53" y="7"/>
                </a:lnTo>
                <a:lnTo>
                  <a:pt x="54" y="6"/>
                </a:lnTo>
                <a:lnTo>
                  <a:pt x="55" y="3"/>
                </a:lnTo>
                <a:lnTo>
                  <a:pt x="56" y="2"/>
                </a:lnTo>
                <a:lnTo>
                  <a:pt x="58" y="1"/>
                </a:lnTo>
                <a:lnTo>
                  <a:pt x="61" y="0"/>
                </a:lnTo>
                <a:lnTo>
                  <a:pt x="63" y="0"/>
                </a:lnTo>
                <a:lnTo>
                  <a:pt x="69" y="0"/>
                </a:lnTo>
                <a:lnTo>
                  <a:pt x="73" y="2"/>
                </a:lnTo>
                <a:lnTo>
                  <a:pt x="77" y="3"/>
                </a:lnTo>
                <a:lnTo>
                  <a:pt x="81" y="6"/>
                </a:lnTo>
                <a:lnTo>
                  <a:pt x="86" y="9"/>
                </a:lnTo>
                <a:lnTo>
                  <a:pt x="89" y="12"/>
                </a:lnTo>
                <a:lnTo>
                  <a:pt x="93" y="13"/>
                </a:lnTo>
                <a:lnTo>
                  <a:pt x="89" y="15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44" name="Freeform 143">
            <a:extLst>
              <a:ext uri="{FF2B5EF4-FFF2-40B4-BE49-F238E27FC236}">
                <a16:creationId xmlns:a16="http://schemas.microsoft.com/office/drawing/2014/main" id="{CEFB6617-327A-94E7-5D87-3A60C3BC42DE}"/>
              </a:ext>
            </a:extLst>
          </p:cNvPr>
          <p:cNvSpPr>
            <a:spLocks/>
          </p:cNvSpPr>
          <p:nvPr/>
        </p:nvSpPr>
        <p:spPr bwMode="auto">
          <a:xfrm>
            <a:off x="6395413" y="2641446"/>
            <a:ext cx="273050" cy="441325"/>
          </a:xfrm>
          <a:custGeom>
            <a:avLst/>
            <a:gdLst>
              <a:gd name="T0" fmla="*/ 128 w 135"/>
              <a:gd name="T1" fmla="*/ 39 h 236"/>
              <a:gd name="T2" fmla="*/ 125 w 135"/>
              <a:gd name="T3" fmla="*/ 23 h 236"/>
              <a:gd name="T4" fmla="*/ 117 w 135"/>
              <a:gd name="T5" fmla="*/ 12 h 236"/>
              <a:gd name="T6" fmla="*/ 101 w 135"/>
              <a:gd name="T7" fmla="*/ 4 h 236"/>
              <a:gd name="T8" fmla="*/ 87 w 135"/>
              <a:gd name="T9" fmla="*/ 5 h 236"/>
              <a:gd name="T10" fmla="*/ 67 w 135"/>
              <a:gd name="T11" fmla="*/ 7 h 236"/>
              <a:gd name="T12" fmla="*/ 55 w 135"/>
              <a:gd name="T13" fmla="*/ 12 h 236"/>
              <a:gd name="T14" fmla="*/ 44 w 135"/>
              <a:gd name="T15" fmla="*/ 23 h 236"/>
              <a:gd name="T16" fmla="*/ 33 w 135"/>
              <a:gd name="T17" fmla="*/ 45 h 236"/>
              <a:gd name="T18" fmla="*/ 26 w 135"/>
              <a:gd name="T19" fmla="*/ 80 h 236"/>
              <a:gd name="T20" fmla="*/ 15 w 135"/>
              <a:gd name="T21" fmla="*/ 80 h 236"/>
              <a:gd name="T22" fmla="*/ 6 w 135"/>
              <a:gd name="T23" fmla="*/ 84 h 236"/>
              <a:gd name="T24" fmla="*/ 3 w 135"/>
              <a:gd name="T25" fmla="*/ 92 h 236"/>
              <a:gd name="T26" fmla="*/ 5 w 135"/>
              <a:gd name="T27" fmla="*/ 104 h 236"/>
              <a:gd name="T28" fmla="*/ 10 w 135"/>
              <a:gd name="T29" fmla="*/ 129 h 236"/>
              <a:gd name="T30" fmla="*/ 13 w 135"/>
              <a:gd name="T31" fmla="*/ 142 h 236"/>
              <a:gd name="T32" fmla="*/ 1 w 135"/>
              <a:gd name="T33" fmla="*/ 178 h 236"/>
              <a:gd name="T34" fmla="*/ 20 w 135"/>
              <a:gd name="T35" fmla="*/ 205 h 236"/>
              <a:gd name="T36" fmla="*/ 25 w 135"/>
              <a:gd name="T37" fmla="*/ 217 h 236"/>
              <a:gd name="T38" fmla="*/ 24 w 135"/>
              <a:gd name="T39" fmla="*/ 225 h 236"/>
              <a:gd name="T40" fmla="*/ 27 w 135"/>
              <a:gd name="T41" fmla="*/ 232 h 236"/>
              <a:gd name="T42" fmla="*/ 45 w 135"/>
              <a:gd name="T43" fmla="*/ 235 h 236"/>
              <a:gd name="T44" fmla="*/ 46 w 135"/>
              <a:gd name="T45" fmla="*/ 227 h 236"/>
              <a:gd name="T46" fmla="*/ 53 w 135"/>
              <a:gd name="T47" fmla="*/ 224 h 236"/>
              <a:gd name="T48" fmla="*/ 64 w 135"/>
              <a:gd name="T49" fmla="*/ 221 h 236"/>
              <a:gd name="T50" fmla="*/ 70 w 135"/>
              <a:gd name="T51" fmla="*/ 219 h 236"/>
              <a:gd name="T52" fmla="*/ 73 w 135"/>
              <a:gd name="T53" fmla="*/ 210 h 236"/>
              <a:gd name="T54" fmla="*/ 70 w 135"/>
              <a:gd name="T55" fmla="*/ 205 h 236"/>
              <a:gd name="T56" fmla="*/ 74 w 135"/>
              <a:gd name="T57" fmla="*/ 174 h 236"/>
              <a:gd name="T58" fmla="*/ 87 w 135"/>
              <a:gd name="T59" fmla="*/ 167 h 236"/>
              <a:gd name="T60" fmla="*/ 73 w 135"/>
              <a:gd name="T61" fmla="*/ 163 h 236"/>
              <a:gd name="T62" fmla="*/ 85 w 135"/>
              <a:gd name="T63" fmla="*/ 162 h 236"/>
              <a:gd name="T64" fmla="*/ 92 w 135"/>
              <a:gd name="T65" fmla="*/ 160 h 236"/>
              <a:gd name="T66" fmla="*/ 94 w 135"/>
              <a:gd name="T67" fmla="*/ 154 h 236"/>
              <a:gd name="T68" fmla="*/ 74 w 135"/>
              <a:gd name="T69" fmla="*/ 144 h 236"/>
              <a:gd name="T70" fmla="*/ 69 w 135"/>
              <a:gd name="T71" fmla="*/ 134 h 236"/>
              <a:gd name="T72" fmla="*/ 71 w 135"/>
              <a:gd name="T73" fmla="*/ 119 h 236"/>
              <a:gd name="T74" fmla="*/ 78 w 135"/>
              <a:gd name="T75" fmla="*/ 106 h 236"/>
              <a:gd name="T76" fmla="*/ 96 w 135"/>
              <a:gd name="T77" fmla="*/ 92 h 236"/>
              <a:gd name="T78" fmla="*/ 106 w 135"/>
              <a:gd name="T79" fmla="*/ 82 h 236"/>
              <a:gd name="T80" fmla="*/ 108 w 135"/>
              <a:gd name="T81" fmla="*/ 70 h 236"/>
              <a:gd name="T82" fmla="*/ 110 w 135"/>
              <a:gd name="T83" fmla="*/ 63 h 236"/>
              <a:gd name="T84" fmla="*/ 119 w 135"/>
              <a:gd name="T85" fmla="*/ 59 h 236"/>
              <a:gd name="T86" fmla="*/ 134 w 135"/>
              <a:gd name="T87" fmla="*/ 59 h 2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35" h="236">
                <a:moveTo>
                  <a:pt x="134" y="59"/>
                </a:moveTo>
                <a:lnTo>
                  <a:pt x="130" y="48"/>
                </a:lnTo>
                <a:lnTo>
                  <a:pt x="128" y="39"/>
                </a:lnTo>
                <a:lnTo>
                  <a:pt x="127" y="34"/>
                </a:lnTo>
                <a:lnTo>
                  <a:pt x="127" y="29"/>
                </a:lnTo>
                <a:lnTo>
                  <a:pt x="125" y="23"/>
                </a:lnTo>
                <a:lnTo>
                  <a:pt x="122" y="19"/>
                </a:lnTo>
                <a:lnTo>
                  <a:pt x="119" y="15"/>
                </a:lnTo>
                <a:lnTo>
                  <a:pt x="117" y="12"/>
                </a:lnTo>
                <a:lnTo>
                  <a:pt x="113" y="9"/>
                </a:lnTo>
                <a:lnTo>
                  <a:pt x="109" y="8"/>
                </a:lnTo>
                <a:lnTo>
                  <a:pt x="101" y="4"/>
                </a:lnTo>
                <a:lnTo>
                  <a:pt x="98" y="3"/>
                </a:lnTo>
                <a:lnTo>
                  <a:pt x="94" y="0"/>
                </a:lnTo>
                <a:lnTo>
                  <a:pt x="87" y="5"/>
                </a:lnTo>
                <a:lnTo>
                  <a:pt x="83" y="6"/>
                </a:lnTo>
                <a:lnTo>
                  <a:pt x="80" y="7"/>
                </a:lnTo>
                <a:lnTo>
                  <a:pt x="67" y="7"/>
                </a:lnTo>
                <a:lnTo>
                  <a:pt x="63" y="8"/>
                </a:lnTo>
                <a:lnTo>
                  <a:pt x="59" y="9"/>
                </a:lnTo>
                <a:lnTo>
                  <a:pt x="55" y="12"/>
                </a:lnTo>
                <a:lnTo>
                  <a:pt x="50" y="14"/>
                </a:lnTo>
                <a:lnTo>
                  <a:pt x="47" y="19"/>
                </a:lnTo>
                <a:lnTo>
                  <a:pt x="44" y="23"/>
                </a:lnTo>
                <a:lnTo>
                  <a:pt x="38" y="34"/>
                </a:lnTo>
                <a:lnTo>
                  <a:pt x="36" y="39"/>
                </a:lnTo>
                <a:lnTo>
                  <a:pt x="33" y="45"/>
                </a:lnTo>
                <a:lnTo>
                  <a:pt x="29" y="57"/>
                </a:lnTo>
                <a:lnTo>
                  <a:pt x="27" y="69"/>
                </a:lnTo>
                <a:lnTo>
                  <a:pt x="26" y="80"/>
                </a:lnTo>
                <a:lnTo>
                  <a:pt x="23" y="79"/>
                </a:lnTo>
                <a:lnTo>
                  <a:pt x="19" y="79"/>
                </a:lnTo>
                <a:lnTo>
                  <a:pt x="15" y="80"/>
                </a:lnTo>
                <a:lnTo>
                  <a:pt x="11" y="81"/>
                </a:lnTo>
                <a:lnTo>
                  <a:pt x="7" y="82"/>
                </a:lnTo>
                <a:lnTo>
                  <a:pt x="6" y="84"/>
                </a:lnTo>
                <a:lnTo>
                  <a:pt x="6" y="86"/>
                </a:lnTo>
                <a:lnTo>
                  <a:pt x="4" y="89"/>
                </a:lnTo>
                <a:lnTo>
                  <a:pt x="3" y="92"/>
                </a:lnTo>
                <a:lnTo>
                  <a:pt x="3" y="95"/>
                </a:lnTo>
                <a:lnTo>
                  <a:pt x="4" y="99"/>
                </a:lnTo>
                <a:lnTo>
                  <a:pt x="5" y="104"/>
                </a:lnTo>
                <a:lnTo>
                  <a:pt x="6" y="115"/>
                </a:lnTo>
                <a:lnTo>
                  <a:pt x="10" y="122"/>
                </a:lnTo>
                <a:lnTo>
                  <a:pt x="10" y="129"/>
                </a:lnTo>
                <a:lnTo>
                  <a:pt x="10" y="136"/>
                </a:lnTo>
                <a:lnTo>
                  <a:pt x="11" y="139"/>
                </a:lnTo>
                <a:lnTo>
                  <a:pt x="13" y="142"/>
                </a:lnTo>
                <a:lnTo>
                  <a:pt x="17" y="145"/>
                </a:lnTo>
                <a:lnTo>
                  <a:pt x="0" y="176"/>
                </a:lnTo>
                <a:lnTo>
                  <a:pt x="1" y="178"/>
                </a:lnTo>
                <a:lnTo>
                  <a:pt x="5" y="181"/>
                </a:lnTo>
                <a:lnTo>
                  <a:pt x="12" y="192"/>
                </a:lnTo>
                <a:lnTo>
                  <a:pt x="20" y="205"/>
                </a:lnTo>
                <a:lnTo>
                  <a:pt x="24" y="212"/>
                </a:lnTo>
                <a:lnTo>
                  <a:pt x="25" y="215"/>
                </a:lnTo>
                <a:lnTo>
                  <a:pt x="25" y="217"/>
                </a:lnTo>
                <a:lnTo>
                  <a:pt x="25" y="219"/>
                </a:lnTo>
                <a:lnTo>
                  <a:pt x="24" y="221"/>
                </a:lnTo>
                <a:lnTo>
                  <a:pt x="24" y="225"/>
                </a:lnTo>
                <a:lnTo>
                  <a:pt x="24" y="228"/>
                </a:lnTo>
                <a:lnTo>
                  <a:pt x="25" y="229"/>
                </a:lnTo>
                <a:lnTo>
                  <a:pt x="27" y="232"/>
                </a:lnTo>
                <a:lnTo>
                  <a:pt x="30" y="234"/>
                </a:lnTo>
                <a:lnTo>
                  <a:pt x="33" y="235"/>
                </a:lnTo>
                <a:lnTo>
                  <a:pt x="45" y="235"/>
                </a:lnTo>
                <a:lnTo>
                  <a:pt x="45" y="230"/>
                </a:lnTo>
                <a:lnTo>
                  <a:pt x="46" y="228"/>
                </a:lnTo>
                <a:lnTo>
                  <a:pt x="46" y="227"/>
                </a:lnTo>
                <a:lnTo>
                  <a:pt x="47" y="225"/>
                </a:lnTo>
                <a:lnTo>
                  <a:pt x="50" y="224"/>
                </a:lnTo>
                <a:lnTo>
                  <a:pt x="53" y="224"/>
                </a:lnTo>
                <a:lnTo>
                  <a:pt x="56" y="223"/>
                </a:lnTo>
                <a:lnTo>
                  <a:pt x="64" y="223"/>
                </a:lnTo>
                <a:lnTo>
                  <a:pt x="64" y="221"/>
                </a:lnTo>
                <a:lnTo>
                  <a:pt x="65" y="220"/>
                </a:lnTo>
                <a:lnTo>
                  <a:pt x="67" y="219"/>
                </a:lnTo>
                <a:lnTo>
                  <a:pt x="70" y="219"/>
                </a:lnTo>
                <a:lnTo>
                  <a:pt x="71" y="215"/>
                </a:lnTo>
                <a:lnTo>
                  <a:pt x="73" y="211"/>
                </a:lnTo>
                <a:lnTo>
                  <a:pt x="73" y="210"/>
                </a:lnTo>
                <a:lnTo>
                  <a:pt x="73" y="209"/>
                </a:lnTo>
                <a:lnTo>
                  <a:pt x="72" y="207"/>
                </a:lnTo>
                <a:lnTo>
                  <a:pt x="70" y="205"/>
                </a:lnTo>
                <a:lnTo>
                  <a:pt x="70" y="178"/>
                </a:lnTo>
                <a:lnTo>
                  <a:pt x="72" y="175"/>
                </a:lnTo>
                <a:lnTo>
                  <a:pt x="74" y="174"/>
                </a:lnTo>
                <a:lnTo>
                  <a:pt x="79" y="172"/>
                </a:lnTo>
                <a:lnTo>
                  <a:pt x="85" y="169"/>
                </a:lnTo>
                <a:lnTo>
                  <a:pt x="87" y="167"/>
                </a:lnTo>
                <a:lnTo>
                  <a:pt x="90" y="165"/>
                </a:lnTo>
                <a:lnTo>
                  <a:pt x="70" y="165"/>
                </a:lnTo>
                <a:lnTo>
                  <a:pt x="73" y="163"/>
                </a:lnTo>
                <a:lnTo>
                  <a:pt x="77" y="163"/>
                </a:lnTo>
                <a:lnTo>
                  <a:pt x="81" y="163"/>
                </a:lnTo>
                <a:lnTo>
                  <a:pt x="85" y="162"/>
                </a:lnTo>
                <a:lnTo>
                  <a:pt x="87" y="162"/>
                </a:lnTo>
                <a:lnTo>
                  <a:pt x="90" y="161"/>
                </a:lnTo>
                <a:lnTo>
                  <a:pt x="92" y="160"/>
                </a:lnTo>
                <a:lnTo>
                  <a:pt x="93" y="158"/>
                </a:lnTo>
                <a:lnTo>
                  <a:pt x="94" y="156"/>
                </a:lnTo>
                <a:lnTo>
                  <a:pt x="94" y="154"/>
                </a:lnTo>
                <a:lnTo>
                  <a:pt x="87" y="152"/>
                </a:lnTo>
                <a:lnTo>
                  <a:pt x="79" y="147"/>
                </a:lnTo>
                <a:lnTo>
                  <a:pt x="74" y="144"/>
                </a:lnTo>
                <a:lnTo>
                  <a:pt x="72" y="140"/>
                </a:lnTo>
                <a:lnTo>
                  <a:pt x="70" y="136"/>
                </a:lnTo>
                <a:lnTo>
                  <a:pt x="69" y="134"/>
                </a:lnTo>
                <a:lnTo>
                  <a:pt x="69" y="131"/>
                </a:lnTo>
                <a:lnTo>
                  <a:pt x="69" y="125"/>
                </a:lnTo>
                <a:lnTo>
                  <a:pt x="71" y="119"/>
                </a:lnTo>
                <a:lnTo>
                  <a:pt x="73" y="115"/>
                </a:lnTo>
                <a:lnTo>
                  <a:pt x="76" y="109"/>
                </a:lnTo>
                <a:lnTo>
                  <a:pt x="78" y="106"/>
                </a:lnTo>
                <a:lnTo>
                  <a:pt x="81" y="103"/>
                </a:lnTo>
                <a:lnTo>
                  <a:pt x="89" y="97"/>
                </a:lnTo>
                <a:lnTo>
                  <a:pt x="96" y="92"/>
                </a:lnTo>
                <a:lnTo>
                  <a:pt x="101" y="88"/>
                </a:lnTo>
                <a:lnTo>
                  <a:pt x="104" y="86"/>
                </a:lnTo>
                <a:lnTo>
                  <a:pt x="106" y="82"/>
                </a:lnTo>
                <a:lnTo>
                  <a:pt x="107" y="80"/>
                </a:lnTo>
                <a:lnTo>
                  <a:pt x="108" y="77"/>
                </a:lnTo>
                <a:lnTo>
                  <a:pt x="108" y="70"/>
                </a:lnTo>
                <a:lnTo>
                  <a:pt x="108" y="68"/>
                </a:lnTo>
                <a:lnTo>
                  <a:pt x="109" y="66"/>
                </a:lnTo>
                <a:lnTo>
                  <a:pt x="110" y="63"/>
                </a:lnTo>
                <a:lnTo>
                  <a:pt x="113" y="62"/>
                </a:lnTo>
                <a:lnTo>
                  <a:pt x="116" y="61"/>
                </a:lnTo>
                <a:lnTo>
                  <a:pt x="119" y="59"/>
                </a:lnTo>
                <a:lnTo>
                  <a:pt x="122" y="59"/>
                </a:lnTo>
                <a:lnTo>
                  <a:pt x="128" y="59"/>
                </a:lnTo>
                <a:lnTo>
                  <a:pt x="134" y="59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45" name="Freeform 144">
            <a:extLst>
              <a:ext uri="{FF2B5EF4-FFF2-40B4-BE49-F238E27FC236}">
                <a16:creationId xmlns:a16="http://schemas.microsoft.com/office/drawing/2014/main" id="{68B7A19E-E634-2573-95F0-29F498F667AC}"/>
              </a:ext>
            </a:extLst>
          </p:cNvPr>
          <p:cNvSpPr>
            <a:spLocks/>
          </p:cNvSpPr>
          <p:nvPr/>
        </p:nvSpPr>
        <p:spPr bwMode="auto">
          <a:xfrm>
            <a:off x="6257300" y="2584296"/>
            <a:ext cx="538163" cy="415925"/>
          </a:xfrm>
          <a:custGeom>
            <a:avLst/>
            <a:gdLst>
              <a:gd name="T0" fmla="*/ 245 w 267"/>
              <a:gd name="T1" fmla="*/ 21 h 222"/>
              <a:gd name="T2" fmla="*/ 227 w 267"/>
              <a:gd name="T3" fmla="*/ 15 h 222"/>
              <a:gd name="T4" fmla="*/ 219 w 267"/>
              <a:gd name="T5" fmla="*/ 19 h 222"/>
              <a:gd name="T6" fmla="*/ 213 w 267"/>
              <a:gd name="T7" fmla="*/ 35 h 222"/>
              <a:gd name="T8" fmla="*/ 205 w 267"/>
              <a:gd name="T9" fmla="*/ 40 h 222"/>
              <a:gd name="T10" fmla="*/ 178 w 267"/>
              <a:gd name="T11" fmla="*/ 31 h 222"/>
              <a:gd name="T12" fmla="*/ 167 w 267"/>
              <a:gd name="T13" fmla="*/ 29 h 222"/>
              <a:gd name="T14" fmla="*/ 152 w 267"/>
              <a:gd name="T15" fmla="*/ 37 h 222"/>
              <a:gd name="T16" fmla="*/ 128 w 267"/>
              <a:gd name="T17" fmla="*/ 40 h 222"/>
              <a:gd name="T18" fmla="*/ 113 w 267"/>
              <a:gd name="T19" fmla="*/ 54 h 222"/>
              <a:gd name="T20" fmla="*/ 98 w 267"/>
              <a:gd name="T21" fmla="*/ 88 h 222"/>
              <a:gd name="T22" fmla="*/ 88 w 267"/>
              <a:gd name="T23" fmla="*/ 110 h 222"/>
              <a:gd name="T24" fmla="*/ 76 w 267"/>
              <a:gd name="T25" fmla="*/ 115 h 222"/>
              <a:gd name="T26" fmla="*/ 72 w 267"/>
              <a:gd name="T27" fmla="*/ 126 h 222"/>
              <a:gd name="T28" fmla="*/ 79 w 267"/>
              <a:gd name="T29" fmla="*/ 153 h 222"/>
              <a:gd name="T30" fmla="*/ 83 w 267"/>
              <a:gd name="T31" fmla="*/ 173 h 222"/>
              <a:gd name="T32" fmla="*/ 64 w 267"/>
              <a:gd name="T33" fmla="*/ 205 h 222"/>
              <a:gd name="T34" fmla="*/ 58 w 267"/>
              <a:gd name="T35" fmla="*/ 195 h 222"/>
              <a:gd name="T36" fmla="*/ 49 w 267"/>
              <a:gd name="T37" fmla="*/ 208 h 222"/>
              <a:gd name="T38" fmla="*/ 35 w 267"/>
              <a:gd name="T39" fmla="*/ 221 h 222"/>
              <a:gd name="T40" fmla="*/ 20 w 267"/>
              <a:gd name="T41" fmla="*/ 218 h 222"/>
              <a:gd name="T42" fmla="*/ 7 w 267"/>
              <a:gd name="T43" fmla="*/ 209 h 222"/>
              <a:gd name="T44" fmla="*/ 9 w 267"/>
              <a:gd name="T45" fmla="*/ 202 h 222"/>
              <a:gd name="T46" fmla="*/ 3 w 267"/>
              <a:gd name="T47" fmla="*/ 198 h 222"/>
              <a:gd name="T48" fmla="*/ 4 w 267"/>
              <a:gd name="T49" fmla="*/ 186 h 222"/>
              <a:gd name="T50" fmla="*/ 3 w 267"/>
              <a:gd name="T51" fmla="*/ 165 h 222"/>
              <a:gd name="T52" fmla="*/ 4 w 267"/>
              <a:gd name="T53" fmla="*/ 148 h 222"/>
              <a:gd name="T54" fmla="*/ 17 w 267"/>
              <a:gd name="T55" fmla="*/ 143 h 222"/>
              <a:gd name="T56" fmla="*/ 26 w 267"/>
              <a:gd name="T57" fmla="*/ 133 h 222"/>
              <a:gd name="T58" fmla="*/ 39 w 267"/>
              <a:gd name="T59" fmla="*/ 126 h 222"/>
              <a:gd name="T60" fmla="*/ 49 w 267"/>
              <a:gd name="T61" fmla="*/ 122 h 222"/>
              <a:gd name="T62" fmla="*/ 56 w 267"/>
              <a:gd name="T63" fmla="*/ 122 h 222"/>
              <a:gd name="T64" fmla="*/ 64 w 267"/>
              <a:gd name="T65" fmla="*/ 120 h 222"/>
              <a:gd name="T66" fmla="*/ 56 w 267"/>
              <a:gd name="T67" fmla="*/ 120 h 222"/>
              <a:gd name="T68" fmla="*/ 53 w 267"/>
              <a:gd name="T69" fmla="*/ 113 h 222"/>
              <a:gd name="T70" fmla="*/ 57 w 267"/>
              <a:gd name="T71" fmla="*/ 107 h 222"/>
              <a:gd name="T72" fmla="*/ 70 w 267"/>
              <a:gd name="T73" fmla="*/ 99 h 222"/>
              <a:gd name="T74" fmla="*/ 80 w 267"/>
              <a:gd name="T75" fmla="*/ 81 h 222"/>
              <a:gd name="T76" fmla="*/ 87 w 267"/>
              <a:gd name="T77" fmla="*/ 68 h 222"/>
              <a:gd name="T78" fmla="*/ 97 w 267"/>
              <a:gd name="T79" fmla="*/ 59 h 222"/>
              <a:gd name="T80" fmla="*/ 101 w 267"/>
              <a:gd name="T81" fmla="*/ 52 h 222"/>
              <a:gd name="T82" fmla="*/ 106 w 267"/>
              <a:gd name="T83" fmla="*/ 45 h 222"/>
              <a:gd name="T84" fmla="*/ 96 w 267"/>
              <a:gd name="T85" fmla="*/ 46 h 222"/>
              <a:gd name="T86" fmla="*/ 94 w 267"/>
              <a:gd name="T87" fmla="*/ 44 h 222"/>
              <a:gd name="T88" fmla="*/ 102 w 267"/>
              <a:gd name="T89" fmla="*/ 35 h 222"/>
              <a:gd name="T90" fmla="*/ 109 w 267"/>
              <a:gd name="T91" fmla="*/ 35 h 222"/>
              <a:gd name="T92" fmla="*/ 121 w 267"/>
              <a:gd name="T93" fmla="*/ 26 h 222"/>
              <a:gd name="T94" fmla="*/ 128 w 267"/>
              <a:gd name="T95" fmla="*/ 27 h 222"/>
              <a:gd name="T96" fmla="*/ 138 w 267"/>
              <a:gd name="T97" fmla="*/ 21 h 222"/>
              <a:gd name="T98" fmla="*/ 150 w 267"/>
              <a:gd name="T99" fmla="*/ 15 h 222"/>
              <a:gd name="T100" fmla="*/ 160 w 267"/>
              <a:gd name="T101" fmla="*/ 17 h 222"/>
              <a:gd name="T102" fmla="*/ 170 w 267"/>
              <a:gd name="T103" fmla="*/ 6 h 222"/>
              <a:gd name="T104" fmla="*/ 205 w 267"/>
              <a:gd name="T105" fmla="*/ 0 h 222"/>
              <a:gd name="T106" fmla="*/ 215 w 267"/>
              <a:gd name="T107" fmla="*/ 3 h 222"/>
              <a:gd name="T108" fmla="*/ 219 w 267"/>
              <a:gd name="T109" fmla="*/ 10 h 222"/>
              <a:gd name="T110" fmla="*/ 227 w 267"/>
              <a:gd name="T111" fmla="*/ 1 h 222"/>
              <a:gd name="T112" fmla="*/ 239 w 267"/>
              <a:gd name="T113" fmla="*/ 1 h 222"/>
              <a:gd name="T114" fmla="*/ 261 w 267"/>
              <a:gd name="T115" fmla="*/ 5 h 222"/>
              <a:gd name="T116" fmla="*/ 258 w 267"/>
              <a:gd name="T117" fmla="*/ 18 h 222"/>
              <a:gd name="T118" fmla="*/ 266 w 267"/>
              <a:gd name="T119" fmla="*/ 26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67" h="222">
                <a:moveTo>
                  <a:pt x="257" y="28"/>
                </a:moveTo>
                <a:lnTo>
                  <a:pt x="253" y="27"/>
                </a:lnTo>
                <a:lnTo>
                  <a:pt x="250" y="24"/>
                </a:lnTo>
                <a:lnTo>
                  <a:pt x="245" y="21"/>
                </a:lnTo>
                <a:lnTo>
                  <a:pt x="241" y="18"/>
                </a:lnTo>
                <a:lnTo>
                  <a:pt x="237" y="17"/>
                </a:lnTo>
                <a:lnTo>
                  <a:pt x="232" y="15"/>
                </a:lnTo>
                <a:lnTo>
                  <a:pt x="227" y="15"/>
                </a:lnTo>
                <a:lnTo>
                  <a:pt x="225" y="15"/>
                </a:lnTo>
                <a:lnTo>
                  <a:pt x="222" y="16"/>
                </a:lnTo>
                <a:lnTo>
                  <a:pt x="219" y="17"/>
                </a:lnTo>
                <a:lnTo>
                  <a:pt x="219" y="19"/>
                </a:lnTo>
                <a:lnTo>
                  <a:pt x="217" y="22"/>
                </a:lnTo>
                <a:lnTo>
                  <a:pt x="216" y="27"/>
                </a:lnTo>
                <a:lnTo>
                  <a:pt x="215" y="32"/>
                </a:lnTo>
                <a:lnTo>
                  <a:pt x="213" y="35"/>
                </a:lnTo>
                <a:lnTo>
                  <a:pt x="212" y="37"/>
                </a:lnTo>
                <a:lnTo>
                  <a:pt x="210" y="39"/>
                </a:lnTo>
                <a:lnTo>
                  <a:pt x="208" y="39"/>
                </a:lnTo>
                <a:lnTo>
                  <a:pt x="205" y="40"/>
                </a:lnTo>
                <a:lnTo>
                  <a:pt x="200" y="39"/>
                </a:lnTo>
                <a:lnTo>
                  <a:pt x="196" y="39"/>
                </a:lnTo>
                <a:lnTo>
                  <a:pt x="186" y="35"/>
                </a:lnTo>
                <a:lnTo>
                  <a:pt x="178" y="31"/>
                </a:lnTo>
                <a:lnTo>
                  <a:pt x="174" y="30"/>
                </a:lnTo>
                <a:lnTo>
                  <a:pt x="170" y="30"/>
                </a:lnTo>
                <a:lnTo>
                  <a:pt x="168" y="29"/>
                </a:lnTo>
                <a:lnTo>
                  <a:pt x="167" y="29"/>
                </a:lnTo>
                <a:lnTo>
                  <a:pt x="166" y="29"/>
                </a:lnTo>
                <a:lnTo>
                  <a:pt x="163" y="31"/>
                </a:lnTo>
                <a:lnTo>
                  <a:pt x="156" y="36"/>
                </a:lnTo>
                <a:lnTo>
                  <a:pt x="152" y="37"/>
                </a:lnTo>
                <a:lnTo>
                  <a:pt x="149" y="39"/>
                </a:lnTo>
                <a:lnTo>
                  <a:pt x="136" y="39"/>
                </a:lnTo>
                <a:lnTo>
                  <a:pt x="133" y="39"/>
                </a:lnTo>
                <a:lnTo>
                  <a:pt x="128" y="40"/>
                </a:lnTo>
                <a:lnTo>
                  <a:pt x="124" y="43"/>
                </a:lnTo>
                <a:lnTo>
                  <a:pt x="119" y="45"/>
                </a:lnTo>
                <a:lnTo>
                  <a:pt x="116" y="50"/>
                </a:lnTo>
                <a:lnTo>
                  <a:pt x="113" y="54"/>
                </a:lnTo>
                <a:lnTo>
                  <a:pt x="107" y="65"/>
                </a:lnTo>
                <a:lnTo>
                  <a:pt x="105" y="71"/>
                </a:lnTo>
                <a:lnTo>
                  <a:pt x="102" y="76"/>
                </a:lnTo>
                <a:lnTo>
                  <a:pt x="98" y="88"/>
                </a:lnTo>
                <a:lnTo>
                  <a:pt x="96" y="100"/>
                </a:lnTo>
                <a:lnTo>
                  <a:pt x="96" y="111"/>
                </a:lnTo>
                <a:lnTo>
                  <a:pt x="92" y="110"/>
                </a:lnTo>
                <a:lnTo>
                  <a:pt x="88" y="110"/>
                </a:lnTo>
                <a:lnTo>
                  <a:pt x="84" y="111"/>
                </a:lnTo>
                <a:lnTo>
                  <a:pt x="80" y="112"/>
                </a:lnTo>
                <a:lnTo>
                  <a:pt x="76" y="113"/>
                </a:lnTo>
                <a:lnTo>
                  <a:pt x="76" y="115"/>
                </a:lnTo>
                <a:lnTo>
                  <a:pt x="75" y="117"/>
                </a:lnTo>
                <a:lnTo>
                  <a:pt x="73" y="120"/>
                </a:lnTo>
                <a:lnTo>
                  <a:pt x="72" y="123"/>
                </a:lnTo>
                <a:lnTo>
                  <a:pt x="72" y="126"/>
                </a:lnTo>
                <a:lnTo>
                  <a:pt x="73" y="130"/>
                </a:lnTo>
                <a:lnTo>
                  <a:pt x="74" y="135"/>
                </a:lnTo>
                <a:lnTo>
                  <a:pt x="76" y="146"/>
                </a:lnTo>
                <a:lnTo>
                  <a:pt x="79" y="153"/>
                </a:lnTo>
                <a:lnTo>
                  <a:pt x="79" y="159"/>
                </a:lnTo>
                <a:lnTo>
                  <a:pt x="79" y="167"/>
                </a:lnTo>
                <a:lnTo>
                  <a:pt x="80" y="170"/>
                </a:lnTo>
                <a:lnTo>
                  <a:pt x="83" y="173"/>
                </a:lnTo>
                <a:lnTo>
                  <a:pt x="86" y="175"/>
                </a:lnTo>
                <a:lnTo>
                  <a:pt x="69" y="207"/>
                </a:lnTo>
                <a:lnTo>
                  <a:pt x="66" y="206"/>
                </a:lnTo>
                <a:lnTo>
                  <a:pt x="64" y="205"/>
                </a:lnTo>
                <a:lnTo>
                  <a:pt x="62" y="204"/>
                </a:lnTo>
                <a:lnTo>
                  <a:pt x="61" y="202"/>
                </a:lnTo>
                <a:lnTo>
                  <a:pt x="60" y="198"/>
                </a:lnTo>
                <a:lnTo>
                  <a:pt x="58" y="195"/>
                </a:lnTo>
                <a:lnTo>
                  <a:pt x="56" y="198"/>
                </a:lnTo>
                <a:lnTo>
                  <a:pt x="56" y="201"/>
                </a:lnTo>
                <a:lnTo>
                  <a:pt x="56" y="202"/>
                </a:lnTo>
                <a:lnTo>
                  <a:pt x="49" y="208"/>
                </a:lnTo>
                <a:lnTo>
                  <a:pt x="44" y="214"/>
                </a:lnTo>
                <a:lnTo>
                  <a:pt x="40" y="217"/>
                </a:lnTo>
                <a:lnTo>
                  <a:pt x="38" y="219"/>
                </a:lnTo>
                <a:lnTo>
                  <a:pt x="35" y="221"/>
                </a:lnTo>
                <a:lnTo>
                  <a:pt x="32" y="221"/>
                </a:lnTo>
                <a:lnTo>
                  <a:pt x="29" y="221"/>
                </a:lnTo>
                <a:lnTo>
                  <a:pt x="25" y="220"/>
                </a:lnTo>
                <a:lnTo>
                  <a:pt x="20" y="218"/>
                </a:lnTo>
                <a:lnTo>
                  <a:pt x="16" y="216"/>
                </a:lnTo>
                <a:lnTo>
                  <a:pt x="13" y="214"/>
                </a:lnTo>
                <a:lnTo>
                  <a:pt x="9" y="211"/>
                </a:lnTo>
                <a:lnTo>
                  <a:pt x="7" y="209"/>
                </a:lnTo>
                <a:lnTo>
                  <a:pt x="7" y="207"/>
                </a:lnTo>
                <a:lnTo>
                  <a:pt x="7" y="205"/>
                </a:lnTo>
                <a:lnTo>
                  <a:pt x="8" y="204"/>
                </a:lnTo>
                <a:lnTo>
                  <a:pt x="9" y="202"/>
                </a:lnTo>
                <a:lnTo>
                  <a:pt x="9" y="201"/>
                </a:lnTo>
                <a:lnTo>
                  <a:pt x="8" y="201"/>
                </a:lnTo>
                <a:lnTo>
                  <a:pt x="4" y="200"/>
                </a:lnTo>
                <a:lnTo>
                  <a:pt x="3" y="198"/>
                </a:lnTo>
                <a:lnTo>
                  <a:pt x="2" y="197"/>
                </a:lnTo>
                <a:lnTo>
                  <a:pt x="2" y="195"/>
                </a:lnTo>
                <a:lnTo>
                  <a:pt x="3" y="191"/>
                </a:lnTo>
                <a:lnTo>
                  <a:pt x="4" y="186"/>
                </a:lnTo>
                <a:lnTo>
                  <a:pt x="8" y="178"/>
                </a:lnTo>
                <a:lnTo>
                  <a:pt x="6" y="177"/>
                </a:lnTo>
                <a:lnTo>
                  <a:pt x="4" y="174"/>
                </a:lnTo>
                <a:lnTo>
                  <a:pt x="3" y="165"/>
                </a:lnTo>
                <a:lnTo>
                  <a:pt x="2" y="162"/>
                </a:lnTo>
                <a:lnTo>
                  <a:pt x="0" y="157"/>
                </a:lnTo>
                <a:lnTo>
                  <a:pt x="0" y="149"/>
                </a:lnTo>
                <a:lnTo>
                  <a:pt x="4" y="148"/>
                </a:lnTo>
                <a:lnTo>
                  <a:pt x="8" y="148"/>
                </a:lnTo>
                <a:lnTo>
                  <a:pt x="12" y="146"/>
                </a:lnTo>
                <a:lnTo>
                  <a:pt x="15" y="144"/>
                </a:lnTo>
                <a:lnTo>
                  <a:pt x="17" y="143"/>
                </a:lnTo>
                <a:lnTo>
                  <a:pt x="19" y="139"/>
                </a:lnTo>
                <a:lnTo>
                  <a:pt x="21" y="137"/>
                </a:lnTo>
                <a:lnTo>
                  <a:pt x="22" y="133"/>
                </a:lnTo>
                <a:lnTo>
                  <a:pt x="26" y="133"/>
                </a:lnTo>
                <a:lnTo>
                  <a:pt x="29" y="133"/>
                </a:lnTo>
                <a:lnTo>
                  <a:pt x="31" y="131"/>
                </a:lnTo>
                <a:lnTo>
                  <a:pt x="34" y="130"/>
                </a:lnTo>
                <a:lnTo>
                  <a:pt x="39" y="126"/>
                </a:lnTo>
                <a:lnTo>
                  <a:pt x="43" y="125"/>
                </a:lnTo>
                <a:lnTo>
                  <a:pt x="45" y="124"/>
                </a:lnTo>
                <a:lnTo>
                  <a:pt x="47" y="124"/>
                </a:lnTo>
                <a:lnTo>
                  <a:pt x="49" y="122"/>
                </a:lnTo>
                <a:lnTo>
                  <a:pt x="52" y="120"/>
                </a:lnTo>
                <a:lnTo>
                  <a:pt x="53" y="120"/>
                </a:lnTo>
                <a:lnTo>
                  <a:pt x="54" y="121"/>
                </a:lnTo>
                <a:lnTo>
                  <a:pt x="56" y="122"/>
                </a:lnTo>
                <a:lnTo>
                  <a:pt x="58" y="122"/>
                </a:lnTo>
                <a:lnTo>
                  <a:pt x="60" y="122"/>
                </a:lnTo>
                <a:lnTo>
                  <a:pt x="62" y="121"/>
                </a:lnTo>
                <a:lnTo>
                  <a:pt x="64" y="120"/>
                </a:lnTo>
                <a:lnTo>
                  <a:pt x="66" y="119"/>
                </a:lnTo>
                <a:lnTo>
                  <a:pt x="61" y="120"/>
                </a:lnTo>
                <a:lnTo>
                  <a:pt x="58" y="120"/>
                </a:lnTo>
                <a:lnTo>
                  <a:pt x="56" y="120"/>
                </a:lnTo>
                <a:lnTo>
                  <a:pt x="56" y="119"/>
                </a:lnTo>
                <a:lnTo>
                  <a:pt x="54" y="117"/>
                </a:lnTo>
                <a:lnTo>
                  <a:pt x="53" y="116"/>
                </a:lnTo>
                <a:lnTo>
                  <a:pt x="53" y="113"/>
                </a:lnTo>
                <a:lnTo>
                  <a:pt x="53" y="111"/>
                </a:lnTo>
                <a:lnTo>
                  <a:pt x="54" y="110"/>
                </a:lnTo>
                <a:lnTo>
                  <a:pt x="56" y="109"/>
                </a:lnTo>
                <a:lnTo>
                  <a:pt x="57" y="107"/>
                </a:lnTo>
                <a:lnTo>
                  <a:pt x="59" y="106"/>
                </a:lnTo>
                <a:lnTo>
                  <a:pt x="64" y="104"/>
                </a:lnTo>
                <a:lnTo>
                  <a:pt x="67" y="102"/>
                </a:lnTo>
                <a:lnTo>
                  <a:pt x="70" y="99"/>
                </a:lnTo>
                <a:lnTo>
                  <a:pt x="73" y="95"/>
                </a:lnTo>
                <a:lnTo>
                  <a:pt x="76" y="93"/>
                </a:lnTo>
                <a:lnTo>
                  <a:pt x="78" y="89"/>
                </a:lnTo>
                <a:lnTo>
                  <a:pt x="80" y="81"/>
                </a:lnTo>
                <a:lnTo>
                  <a:pt x="83" y="72"/>
                </a:lnTo>
                <a:lnTo>
                  <a:pt x="84" y="71"/>
                </a:lnTo>
                <a:lnTo>
                  <a:pt x="85" y="70"/>
                </a:lnTo>
                <a:lnTo>
                  <a:pt x="87" y="68"/>
                </a:lnTo>
                <a:lnTo>
                  <a:pt x="92" y="65"/>
                </a:lnTo>
                <a:lnTo>
                  <a:pt x="94" y="63"/>
                </a:lnTo>
                <a:lnTo>
                  <a:pt x="96" y="61"/>
                </a:lnTo>
                <a:lnTo>
                  <a:pt x="97" y="59"/>
                </a:lnTo>
                <a:lnTo>
                  <a:pt x="98" y="58"/>
                </a:lnTo>
                <a:lnTo>
                  <a:pt x="98" y="55"/>
                </a:lnTo>
                <a:lnTo>
                  <a:pt x="99" y="53"/>
                </a:lnTo>
                <a:lnTo>
                  <a:pt x="101" y="52"/>
                </a:lnTo>
                <a:lnTo>
                  <a:pt x="103" y="51"/>
                </a:lnTo>
                <a:lnTo>
                  <a:pt x="103" y="50"/>
                </a:lnTo>
                <a:lnTo>
                  <a:pt x="105" y="49"/>
                </a:lnTo>
                <a:lnTo>
                  <a:pt x="106" y="45"/>
                </a:lnTo>
                <a:lnTo>
                  <a:pt x="106" y="41"/>
                </a:lnTo>
                <a:lnTo>
                  <a:pt x="101" y="44"/>
                </a:lnTo>
                <a:lnTo>
                  <a:pt x="97" y="45"/>
                </a:lnTo>
                <a:lnTo>
                  <a:pt x="96" y="46"/>
                </a:lnTo>
                <a:lnTo>
                  <a:pt x="93" y="46"/>
                </a:lnTo>
                <a:lnTo>
                  <a:pt x="92" y="45"/>
                </a:lnTo>
                <a:lnTo>
                  <a:pt x="89" y="44"/>
                </a:lnTo>
                <a:lnTo>
                  <a:pt x="94" y="44"/>
                </a:lnTo>
                <a:lnTo>
                  <a:pt x="97" y="42"/>
                </a:lnTo>
                <a:lnTo>
                  <a:pt x="99" y="39"/>
                </a:lnTo>
                <a:lnTo>
                  <a:pt x="101" y="36"/>
                </a:lnTo>
                <a:lnTo>
                  <a:pt x="102" y="35"/>
                </a:lnTo>
                <a:lnTo>
                  <a:pt x="103" y="34"/>
                </a:lnTo>
                <a:lnTo>
                  <a:pt x="106" y="34"/>
                </a:lnTo>
                <a:lnTo>
                  <a:pt x="107" y="35"/>
                </a:lnTo>
                <a:lnTo>
                  <a:pt x="109" y="35"/>
                </a:lnTo>
                <a:lnTo>
                  <a:pt x="121" y="35"/>
                </a:lnTo>
                <a:lnTo>
                  <a:pt x="121" y="32"/>
                </a:lnTo>
                <a:lnTo>
                  <a:pt x="121" y="28"/>
                </a:lnTo>
                <a:lnTo>
                  <a:pt x="121" y="26"/>
                </a:lnTo>
                <a:lnTo>
                  <a:pt x="123" y="26"/>
                </a:lnTo>
                <a:lnTo>
                  <a:pt x="124" y="26"/>
                </a:lnTo>
                <a:lnTo>
                  <a:pt x="125" y="26"/>
                </a:lnTo>
                <a:lnTo>
                  <a:pt x="128" y="27"/>
                </a:lnTo>
                <a:lnTo>
                  <a:pt x="131" y="28"/>
                </a:lnTo>
                <a:lnTo>
                  <a:pt x="132" y="28"/>
                </a:lnTo>
                <a:lnTo>
                  <a:pt x="133" y="26"/>
                </a:lnTo>
                <a:lnTo>
                  <a:pt x="138" y="21"/>
                </a:lnTo>
                <a:lnTo>
                  <a:pt x="143" y="15"/>
                </a:lnTo>
                <a:lnTo>
                  <a:pt x="146" y="13"/>
                </a:lnTo>
                <a:lnTo>
                  <a:pt x="148" y="13"/>
                </a:lnTo>
                <a:lnTo>
                  <a:pt x="150" y="15"/>
                </a:lnTo>
                <a:lnTo>
                  <a:pt x="153" y="17"/>
                </a:lnTo>
                <a:lnTo>
                  <a:pt x="156" y="18"/>
                </a:lnTo>
                <a:lnTo>
                  <a:pt x="159" y="18"/>
                </a:lnTo>
                <a:lnTo>
                  <a:pt x="160" y="17"/>
                </a:lnTo>
                <a:lnTo>
                  <a:pt x="162" y="16"/>
                </a:lnTo>
                <a:lnTo>
                  <a:pt x="166" y="13"/>
                </a:lnTo>
                <a:lnTo>
                  <a:pt x="169" y="9"/>
                </a:lnTo>
                <a:lnTo>
                  <a:pt x="170" y="6"/>
                </a:lnTo>
                <a:lnTo>
                  <a:pt x="173" y="5"/>
                </a:lnTo>
                <a:lnTo>
                  <a:pt x="178" y="4"/>
                </a:lnTo>
                <a:lnTo>
                  <a:pt x="188" y="2"/>
                </a:lnTo>
                <a:lnTo>
                  <a:pt x="205" y="0"/>
                </a:lnTo>
                <a:lnTo>
                  <a:pt x="208" y="0"/>
                </a:lnTo>
                <a:lnTo>
                  <a:pt x="210" y="0"/>
                </a:lnTo>
                <a:lnTo>
                  <a:pt x="212" y="1"/>
                </a:lnTo>
                <a:lnTo>
                  <a:pt x="215" y="3"/>
                </a:lnTo>
                <a:lnTo>
                  <a:pt x="216" y="4"/>
                </a:lnTo>
                <a:lnTo>
                  <a:pt x="218" y="7"/>
                </a:lnTo>
                <a:lnTo>
                  <a:pt x="219" y="9"/>
                </a:lnTo>
                <a:lnTo>
                  <a:pt x="219" y="10"/>
                </a:lnTo>
                <a:lnTo>
                  <a:pt x="222" y="7"/>
                </a:lnTo>
                <a:lnTo>
                  <a:pt x="225" y="4"/>
                </a:lnTo>
                <a:lnTo>
                  <a:pt x="226" y="2"/>
                </a:lnTo>
                <a:lnTo>
                  <a:pt x="227" y="1"/>
                </a:lnTo>
                <a:lnTo>
                  <a:pt x="229" y="0"/>
                </a:lnTo>
                <a:lnTo>
                  <a:pt x="232" y="0"/>
                </a:lnTo>
                <a:lnTo>
                  <a:pt x="235" y="0"/>
                </a:lnTo>
                <a:lnTo>
                  <a:pt x="239" y="1"/>
                </a:lnTo>
                <a:lnTo>
                  <a:pt x="245" y="3"/>
                </a:lnTo>
                <a:lnTo>
                  <a:pt x="252" y="4"/>
                </a:lnTo>
                <a:lnTo>
                  <a:pt x="256" y="5"/>
                </a:lnTo>
                <a:lnTo>
                  <a:pt x="261" y="5"/>
                </a:lnTo>
                <a:lnTo>
                  <a:pt x="261" y="15"/>
                </a:lnTo>
                <a:lnTo>
                  <a:pt x="250" y="15"/>
                </a:lnTo>
                <a:lnTo>
                  <a:pt x="254" y="17"/>
                </a:lnTo>
                <a:lnTo>
                  <a:pt x="258" y="18"/>
                </a:lnTo>
                <a:lnTo>
                  <a:pt x="262" y="17"/>
                </a:lnTo>
                <a:lnTo>
                  <a:pt x="263" y="16"/>
                </a:lnTo>
                <a:lnTo>
                  <a:pt x="266" y="15"/>
                </a:lnTo>
                <a:lnTo>
                  <a:pt x="266" y="26"/>
                </a:lnTo>
                <a:lnTo>
                  <a:pt x="259" y="28"/>
                </a:lnTo>
                <a:lnTo>
                  <a:pt x="252" y="30"/>
                </a:lnTo>
                <a:lnTo>
                  <a:pt x="257" y="28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46" name="Freeform 145">
            <a:extLst>
              <a:ext uri="{FF2B5EF4-FFF2-40B4-BE49-F238E27FC236}">
                <a16:creationId xmlns:a16="http://schemas.microsoft.com/office/drawing/2014/main" id="{C2F20A91-7EB4-1F5E-AAF9-E274E82A1555}"/>
              </a:ext>
            </a:extLst>
          </p:cNvPr>
          <p:cNvSpPr>
            <a:spLocks/>
          </p:cNvSpPr>
          <p:nvPr/>
        </p:nvSpPr>
        <p:spPr bwMode="auto">
          <a:xfrm>
            <a:off x="6687513" y="2941484"/>
            <a:ext cx="104775" cy="68263"/>
          </a:xfrm>
          <a:custGeom>
            <a:avLst/>
            <a:gdLst>
              <a:gd name="T0" fmla="*/ 50 w 51"/>
              <a:gd name="T1" fmla="*/ 36 h 37"/>
              <a:gd name="T2" fmla="*/ 46 w 51"/>
              <a:gd name="T3" fmla="*/ 26 h 37"/>
              <a:gd name="T4" fmla="*/ 44 w 51"/>
              <a:gd name="T5" fmla="*/ 20 h 37"/>
              <a:gd name="T6" fmla="*/ 43 w 51"/>
              <a:gd name="T7" fmla="*/ 16 h 37"/>
              <a:gd name="T8" fmla="*/ 45 w 51"/>
              <a:gd name="T9" fmla="*/ 16 h 37"/>
              <a:gd name="T10" fmla="*/ 46 w 51"/>
              <a:gd name="T11" fmla="*/ 15 h 37"/>
              <a:gd name="T12" fmla="*/ 47 w 51"/>
              <a:gd name="T13" fmla="*/ 14 h 37"/>
              <a:gd name="T14" fmla="*/ 48 w 51"/>
              <a:gd name="T15" fmla="*/ 13 h 37"/>
              <a:gd name="T16" fmla="*/ 48 w 51"/>
              <a:gd name="T17" fmla="*/ 9 h 37"/>
              <a:gd name="T18" fmla="*/ 48 w 51"/>
              <a:gd name="T19" fmla="*/ 4 h 37"/>
              <a:gd name="T20" fmla="*/ 44 w 51"/>
              <a:gd name="T21" fmla="*/ 5 h 37"/>
              <a:gd name="T22" fmla="*/ 39 w 51"/>
              <a:gd name="T23" fmla="*/ 5 h 37"/>
              <a:gd name="T24" fmla="*/ 36 w 51"/>
              <a:gd name="T25" fmla="*/ 4 h 37"/>
              <a:gd name="T26" fmla="*/ 33 w 51"/>
              <a:gd name="T27" fmla="*/ 3 h 37"/>
              <a:gd name="T28" fmla="*/ 26 w 51"/>
              <a:gd name="T29" fmla="*/ 0 h 37"/>
              <a:gd name="T30" fmla="*/ 25 w 51"/>
              <a:gd name="T31" fmla="*/ 0 h 37"/>
              <a:gd name="T32" fmla="*/ 21 w 51"/>
              <a:gd name="T33" fmla="*/ 0 h 37"/>
              <a:gd name="T34" fmla="*/ 12 w 51"/>
              <a:gd name="T35" fmla="*/ 2 h 37"/>
              <a:gd name="T36" fmla="*/ 7 w 51"/>
              <a:gd name="T37" fmla="*/ 4 h 37"/>
              <a:gd name="T38" fmla="*/ 3 w 51"/>
              <a:gd name="T39" fmla="*/ 5 h 37"/>
              <a:gd name="T40" fmla="*/ 0 w 51"/>
              <a:gd name="T41" fmla="*/ 6 h 37"/>
              <a:gd name="T42" fmla="*/ 0 w 51"/>
              <a:gd name="T43" fmla="*/ 7 h 37"/>
              <a:gd name="T44" fmla="*/ 0 w 51"/>
              <a:gd name="T45" fmla="*/ 9 h 37"/>
              <a:gd name="T46" fmla="*/ 0 w 51"/>
              <a:gd name="T47" fmla="*/ 13 h 37"/>
              <a:gd name="T48" fmla="*/ 0 w 51"/>
              <a:gd name="T49" fmla="*/ 15 h 37"/>
              <a:gd name="T50" fmla="*/ 2 w 51"/>
              <a:gd name="T51" fmla="*/ 17 h 37"/>
              <a:gd name="T52" fmla="*/ 4 w 51"/>
              <a:gd name="T53" fmla="*/ 19 h 37"/>
              <a:gd name="T54" fmla="*/ 6 w 51"/>
              <a:gd name="T55" fmla="*/ 20 h 37"/>
              <a:gd name="T56" fmla="*/ 9 w 51"/>
              <a:gd name="T57" fmla="*/ 22 h 37"/>
              <a:gd name="T58" fmla="*/ 12 w 51"/>
              <a:gd name="T59" fmla="*/ 23 h 37"/>
              <a:gd name="T60" fmla="*/ 16 w 51"/>
              <a:gd name="T61" fmla="*/ 24 h 37"/>
              <a:gd name="T62" fmla="*/ 17 w 51"/>
              <a:gd name="T63" fmla="*/ 23 h 37"/>
              <a:gd name="T64" fmla="*/ 20 w 51"/>
              <a:gd name="T65" fmla="*/ 23 h 37"/>
              <a:gd name="T66" fmla="*/ 22 w 51"/>
              <a:gd name="T67" fmla="*/ 22 h 37"/>
              <a:gd name="T68" fmla="*/ 26 w 51"/>
              <a:gd name="T69" fmla="*/ 23 h 37"/>
              <a:gd name="T70" fmla="*/ 29 w 51"/>
              <a:gd name="T71" fmla="*/ 23 h 37"/>
              <a:gd name="T72" fmla="*/ 30 w 51"/>
              <a:gd name="T73" fmla="*/ 25 h 37"/>
              <a:gd name="T74" fmla="*/ 31 w 51"/>
              <a:gd name="T75" fmla="*/ 27 h 37"/>
              <a:gd name="T76" fmla="*/ 32 w 51"/>
              <a:gd name="T77" fmla="*/ 29 h 37"/>
              <a:gd name="T78" fmla="*/ 33 w 51"/>
              <a:gd name="T79" fmla="*/ 31 h 37"/>
              <a:gd name="T80" fmla="*/ 34 w 51"/>
              <a:gd name="T81" fmla="*/ 32 h 37"/>
              <a:gd name="T82" fmla="*/ 35 w 51"/>
              <a:gd name="T83" fmla="*/ 34 h 37"/>
              <a:gd name="T84" fmla="*/ 37 w 51"/>
              <a:gd name="T85" fmla="*/ 34 h 37"/>
              <a:gd name="T86" fmla="*/ 40 w 51"/>
              <a:gd name="T87" fmla="*/ 34 h 37"/>
              <a:gd name="T88" fmla="*/ 42 w 51"/>
              <a:gd name="T89" fmla="*/ 32 h 37"/>
              <a:gd name="T90" fmla="*/ 43 w 51"/>
              <a:gd name="T91" fmla="*/ 31 h 37"/>
              <a:gd name="T92" fmla="*/ 44 w 51"/>
              <a:gd name="T93" fmla="*/ 31 h 37"/>
              <a:gd name="T94" fmla="*/ 45 w 51"/>
              <a:gd name="T95" fmla="*/ 32 h 37"/>
              <a:gd name="T96" fmla="*/ 47 w 51"/>
              <a:gd name="T97" fmla="*/ 32 h 37"/>
              <a:gd name="T98" fmla="*/ 49 w 51"/>
              <a:gd name="T99" fmla="*/ 36 h 37"/>
              <a:gd name="T100" fmla="*/ 50 w 51"/>
              <a:gd name="T101" fmla="*/ 36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1" h="37">
                <a:moveTo>
                  <a:pt x="50" y="36"/>
                </a:moveTo>
                <a:lnTo>
                  <a:pt x="46" y="26"/>
                </a:lnTo>
                <a:lnTo>
                  <a:pt x="44" y="20"/>
                </a:lnTo>
                <a:lnTo>
                  <a:pt x="43" y="16"/>
                </a:lnTo>
                <a:lnTo>
                  <a:pt x="45" y="16"/>
                </a:lnTo>
                <a:lnTo>
                  <a:pt x="46" y="15"/>
                </a:lnTo>
                <a:lnTo>
                  <a:pt x="47" y="14"/>
                </a:lnTo>
                <a:lnTo>
                  <a:pt x="48" y="13"/>
                </a:lnTo>
                <a:lnTo>
                  <a:pt x="48" y="9"/>
                </a:lnTo>
                <a:lnTo>
                  <a:pt x="48" y="4"/>
                </a:lnTo>
                <a:lnTo>
                  <a:pt x="44" y="5"/>
                </a:lnTo>
                <a:lnTo>
                  <a:pt x="39" y="5"/>
                </a:lnTo>
                <a:lnTo>
                  <a:pt x="36" y="4"/>
                </a:lnTo>
                <a:lnTo>
                  <a:pt x="33" y="3"/>
                </a:lnTo>
                <a:lnTo>
                  <a:pt x="26" y="0"/>
                </a:lnTo>
                <a:lnTo>
                  <a:pt x="25" y="0"/>
                </a:lnTo>
                <a:lnTo>
                  <a:pt x="21" y="0"/>
                </a:lnTo>
                <a:lnTo>
                  <a:pt x="12" y="2"/>
                </a:lnTo>
                <a:lnTo>
                  <a:pt x="7" y="4"/>
                </a:lnTo>
                <a:lnTo>
                  <a:pt x="3" y="5"/>
                </a:lnTo>
                <a:lnTo>
                  <a:pt x="0" y="6"/>
                </a:lnTo>
                <a:lnTo>
                  <a:pt x="0" y="7"/>
                </a:lnTo>
                <a:lnTo>
                  <a:pt x="0" y="9"/>
                </a:lnTo>
                <a:lnTo>
                  <a:pt x="0" y="13"/>
                </a:lnTo>
                <a:lnTo>
                  <a:pt x="0" y="15"/>
                </a:lnTo>
                <a:lnTo>
                  <a:pt x="2" y="17"/>
                </a:lnTo>
                <a:lnTo>
                  <a:pt x="4" y="19"/>
                </a:lnTo>
                <a:lnTo>
                  <a:pt x="6" y="20"/>
                </a:lnTo>
                <a:lnTo>
                  <a:pt x="9" y="22"/>
                </a:lnTo>
                <a:lnTo>
                  <a:pt x="12" y="23"/>
                </a:lnTo>
                <a:lnTo>
                  <a:pt x="16" y="24"/>
                </a:lnTo>
                <a:lnTo>
                  <a:pt x="17" y="23"/>
                </a:lnTo>
                <a:lnTo>
                  <a:pt x="20" y="23"/>
                </a:lnTo>
                <a:lnTo>
                  <a:pt x="22" y="22"/>
                </a:lnTo>
                <a:lnTo>
                  <a:pt x="26" y="23"/>
                </a:lnTo>
                <a:lnTo>
                  <a:pt x="29" y="23"/>
                </a:lnTo>
                <a:lnTo>
                  <a:pt x="30" y="25"/>
                </a:lnTo>
                <a:lnTo>
                  <a:pt x="31" y="27"/>
                </a:lnTo>
                <a:lnTo>
                  <a:pt x="32" y="29"/>
                </a:lnTo>
                <a:lnTo>
                  <a:pt x="33" y="31"/>
                </a:lnTo>
                <a:lnTo>
                  <a:pt x="34" y="32"/>
                </a:lnTo>
                <a:lnTo>
                  <a:pt x="35" y="34"/>
                </a:lnTo>
                <a:lnTo>
                  <a:pt x="37" y="34"/>
                </a:lnTo>
                <a:lnTo>
                  <a:pt x="40" y="34"/>
                </a:lnTo>
                <a:lnTo>
                  <a:pt x="42" y="32"/>
                </a:lnTo>
                <a:lnTo>
                  <a:pt x="43" y="31"/>
                </a:lnTo>
                <a:lnTo>
                  <a:pt x="44" y="31"/>
                </a:lnTo>
                <a:lnTo>
                  <a:pt x="45" y="32"/>
                </a:lnTo>
                <a:lnTo>
                  <a:pt x="47" y="32"/>
                </a:lnTo>
                <a:lnTo>
                  <a:pt x="49" y="36"/>
                </a:lnTo>
                <a:lnTo>
                  <a:pt x="50" y="36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47" name="Freeform 146">
            <a:extLst>
              <a:ext uri="{FF2B5EF4-FFF2-40B4-BE49-F238E27FC236}">
                <a16:creationId xmlns:a16="http://schemas.microsoft.com/office/drawing/2014/main" id="{9DA0992B-2480-49CB-CD87-5061483CF677}"/>
              </a:ext>
            </a:extLst>
          </p:cNvPr>
          <p:cNvSpPr>
            <a:spLocks/>
          </p:cNvSpPr>
          <p:nvPr/>
        </p:nvSpPr>
        <p:spPr bwMode="auto">
          <a:xfrm>
            <a:off x="6647825" y="2984346"/>
            <a:ext cx="160338" cy="103188"/>
          </a:xfrm>
          <a:custGeom>
            <a:avLst/>
            <a:gdLst>
              <a:gd name="T0" fmla="*/ 67 w 79"/>
              <a:gd name="T1" fmla="*/ 52 h 55"/>
              <a:gd name="T2" fmla="*/ 72 w 79"/>
              <a:gd name="T3" fmla="*/ 50 h 55"/>
              <a:gd name="T4" fmla="*/ 76 w 79"/>
              <a:gd name="T5" fmla="*/ 47 h 55"/>
              <a:gd name="T6" fmla="*/ 78 w 79"/>
              <a:gd name="T7" fmla="*/ 40 h 55"/>
              <a:gd name="T8" fmla="*/ 77 w 79"/>
              <a:gd name="T9" fmla="*/ 32 h 55"/>
              <a:gd name="T10" fmla="*/ 73 w 79"/>
              <a:gd name="T11" fmla="*/ 19 h 55"/>
              <a:gd name="T12" fmla="*/ 69 w 79"/>
              <a:gd name="T13" fmla="*/ 13 h 55"/>
              <a:gd name="T14" fmla="*/ 65 w 79"/>
              <a:gd name="T15" fmla="*/ 9 h 55"/>
              <a:gd name="T16" fmla="*/ 62 w 79"/>
              <a:gd name="T17" fmla="*/ 9 h 55"/>
              <a:gd name="T18" fmla="*/ 60 w 79"/>
              <a:gd name="T19" fmla="*/ 11 h 55"/>
              <a:gd name="T20" fmla="*/ 55 w 79"/>
              <a:gd name="T21" fmla="*/ 11 h 55"/>
              <a:gd name="T22" fmla="*/ 54 w 79"/>
              <a:gd name="T23" fmla="*/ 8 h 55"/>
              <a:gd name="T24" fmla="*/ 51 w 79"/>
              <a:gd name="T25" fmla="*/ 4 h 55"/>
              <a:gd name="T26" fmla="*/ 49 w 79"/>
              <a:gd name="T27" fmla="*/ 0 h 55"/>
              <a:gd name="T28" fmla="*/ 42 w 79"/>
              <a:gd name="T29" fmla="*/ 0 h 55"/>
              <a:gd name="T30" fmla="*/ 36 w 79"/>
              <a:gd name="T31" fmla="*/ 1 h 55"/>
              <a:gd name="T32" fmla="*/ 37 w 79"/>
              <a:gd name="T33" fmla="*/ 8 h 55"/>
              <a:gd name="T34" fmla="*/ 38 w 79"/>
              <a:gd name="T35" fmla="*/ 15 h 55"/>
              <a:gd name="T36" fmla="*/ 36 w 79"/>
              <a:gd name="T37" fmla="*/ 21 h 55"/>
              <a:gd name="T38" fmla="*/ 32 w 79"/>
              <a:gd name="T39" fmla="*/ 23 h 55"/>
              <a:gd name="T40" fmla="*/ 27 w 79"/>
              <a:gd name="T41" fmla="*/ 24 h 55"/>
              <a:gd name="T42" fmla="*/ 22 w 79"/>
              <a:gd name="T43" fmla="*/ 20 h 55"/>
              <a:gd name="T44" fmla="*/ 15 w 79"/>
              <a:gd name="T45" fmla="*/ 13 h 55"/>
              <a:gd name="T46" fmla="*/ 10 w 79"/>
              <a:gd name="T47" fmla="*/ 10 h 55"/>
              <a:gd name="T48" fmla="*/ 5 w 79"/>
              <a:gd name="T49" fmla="*/ 13 h 55"/>
              <a:gd name="T50" fmla="*/ 1 w 79"/>
              <a:gd name="T51" fmla="*/ 19 h 55"/>
              <a:gd name="T52" fmla="*/ 0 w 79"/>
              <a:gd name="T53" fmla="*/ 27 h 55"/>
              <a:gd name="T54" fmla="*/ 0 w 79"/>
              <a:gd name="T55" fmla="*/ 41 h 55"/>
              <a:gd name="T56" fmla="*/ 4 w 79"/>
              <a:gd name="T57" fmla="*/ 36 h 55"/>
              <a:gd name="T58" fmla="*/ 10 w 79"/>
              <a:gd name="T59" fmla="*/ 36 h 55"/>
              <a:gd name="T60" fmla="*/ 22 w 79"/>
              <a:gd name="T61" fmla="*/ 36 h 55"/>
              <a:gd name="T62" fmla="*/ 27 w 79"/>
              <a:gd name="T63" fmla="*/ 39 h 55"/>
              <a:gd name="T64" fmla="*/ 35 w 79"/>
              <a:gd name="T65" fmla="*/ 39 h 55"/>
              <a:gd name="T66" fmla="*/ 45 w 79"/>
              <a:gd name="T67" fmla="*/ 34 h 55"/>
              <a:gd name="T68" fmla="*/ 47 w 79"/>
              <a:gd name="T69" fmla="*/ 40 h 55"/>
              <a:gd name="T70" fmla="*/ 52 w 79"/>
              <a:gd name="T71" fmla="*/ 43 h 55"/>
              <a:gd name="T72" fmla="*/ 54 w 79"/>
              <a:gd name="T73" fmla="*/ 46 h 55"/>
              <a:gd name="T74" fmla="*/ 60 w 79"/>
              <a:gd name="T75" fmla="*/ 54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79" h="55">
                <a:moveTo>
                  <a:pt x="62" y="52"/>
                </a:moveTo>
                <a:lnTo>
                  <a:pt x="67" y="52"/>
                </a:lnTo>
                <a:lnTo>
                  <a:pt x="69" y="51"/>
                </a:lnTo>
                <a:lnTo>
                  <a:pt x="72" y="50"/>
                </a:lnTo>
                <a:lnTo>
                  <a:pt x="74" y="50"/>
                </a:lnTo>
                <a:lnTo>
                  <a:pt x="76" y="47"/>
                </a:lnTo>
                <a:lnTo>
                  <a:pt x="78" y="44"/>
                </a:lnTo>
                <a:lnTo>
                  <a:pt x="78" y="40"/>
                </a:lnTo>
                <a:lnTo>
                  <a:pt x="78" y="36"/>
                </a:lnTo>
                <a:lnTo>
                  <a:pt x="77" y="32"/>
                </a:lnTo>
                <a:lnTo>
                  <a:pt x="76" y="26"/>
                </a:lnTo>
                <a:lnTo>
                  <a:pt x="73" y="19"/>
                </a:lnTo>
                <a:lnTo>
                  <a:pt x="70" y="13"/>
                </a:lnTo>
                <a:lnTo>
                  <a:pt x="69" y="13"/>
                </a:lnTo>
                <a:lnTo>
                  <a:pt x="67" y="10"/>
                </a:lnTo>
                <a:lnTo>
                  <a:pt x="65" y="9"/>
                </a:lnTo>
                <a:lnTo>
                  <a:pt x="64" y="8"/>
                </a:lnTo>
                <a:lnTo>
                  <a:pt x="62" y="9"/>
                </a:lnTo>
                <a:lnTo>
                  <a:pt x="61" y="10"/>
                </a:lnTo>
                <a:lnTo>
                  <a:pt x="60" y="11"/>
                </a:lnTo>
                <a:lnTo>
                  <a:pt x="57" y="11"/>
                </a:lnTo>
                <a:lnTo>
                  <a:pt x="55" y="11"/>
                </a:lnTo>
                <a:lnTo>
                  <a:pt x="54" y="10"/>
                </a:lnTo>
                <a:lnTo>
                  <a:pt x="54" y="8"/>
                </a:lnTo>
                <a:lnTo>
                  <a:pt x="52" y="6"/>
                </a:lnTo>
                <a:lnTo>
                  <a:pt x="51" y="4"/>
                </a:lnTo>
                <a:lnTo>
                  <a:pt x="50" y="2"/>
                </a:lnTo>
                <a:lnTo>
                  <a:pt x="49" y="0"/>
                </a:lnTo>
                <a:lnTo>
                  <a:pt x="47" y="0"/>
                </a:lnTo>
                <a:lnTo>
                  <a:pt x="42" y="0"/>
                </a:lnTo>
                <a:lnTo>
                  <a:pt x="40" y="0"/>
                </a:lnTo>
                <a:lnTo>
                  <a:pt x="36" y="1"/>
                </a:lnTo>
                <a:lnTo>
                  <a:pt x="37" y="4"/>
                </a:lnTo>
                <a:lnTo>
                  <a:pt x="37" y="8"/>
                </a:lnTo>
                <a:lnTo>
                  <a:pt x="38" y="11"/>
                </a:lnTo>
                <a:lnTo>
                  <a:pt x="38" y="15"/>
                </a:lnTo>
                <a:lnTo>
                  <a:pt x="37" y="19"/>
                </a:lnTo>
                <a:lnTo>
                  <a:pt x="36" y="21"/>
                </a:lnTo>
                <a:lnTo>
                  <a:pt x="33" y="22"/>
                </a:lnTo>
                <a:lnTo>
                  <a:pt x="32" y="23"/>
                </a:lnTo>
                <a:lnTo>
                  <a:pt x="29" y="24"/>
                </a:lnTo>
                <a:lnTo>
                  <a:pt x="27" y="24"/>
                </a:lnTo>
                <a:lnTo>
                  <a:pt x="24" y="23"/>
                </a:lnTo>
                <a:lnTo>
                  <a:pt x="22" y="20"/>
                </a:lnTo>
                <a:lnTo>
                  <a:pt x="20" y="18"/>
                </a:lnTo>
                <a:lnTo>
                  <a:pt x="15" y="13"/>
                </a:lnTo>
                <a:lnTo>
                  <a:pt x="13" y="10"/>
                </a:lnTo>
                <a:lnTo>
                  <a:pt x="10" y="10"/>
                </a:lnTo>
                <a:lnTo>
                  <a:pt x="6" y="10"/>
                </a:lnTo>
                <a:lnTo>
                  <a:pt x="5" y="13"/>
                </a:lnTo>
                <a:lnTo>
                  <a:pt x="2" y="17"/>
                </a:lnTo>
                <a:lnTo>
                  <a:pt x="1" y="19"/>
                </a:lnTo>
                <a:lnTo>
                  <a:pt x="0" y="23"/>
                </a:lnTo>
                <a:lnTo>
                  <a:pt x="0" y="27"/>
                </a:lnTo>
                <a:lnTo>
                  <a:pt x="0" y="33"/>
                </a:lnTo>
                <a:lnTo>
                  <a:pt x="0" y="41"/>
                </a:lnTo>
                <a:lnTo>
                  <a:pt x="1" y="38"/>
                </a:lnTo>
                <a:lnTo>
                  <a:pt x="4" y="36"/>
                </a:lnTo>
                <a:lnTo>
                  <a:pt x="6" y="36"/>
                </a:lnTo>
                <a:lnTo>
                  <a:pt x="10" y="36"/>
                </a:lnTo>
                <a:lnTo>
                  <a:pt x="20" y="36"/>
                </a:lnTo>
                <a:lnTo>
                  <a:pt x="22" y="36"/>
                </a:lnTo>
                <a:lnTo>
                  <a:pt x="24" y="37"/>
                </a:lnTo>
                <a:lnTo>
                  <a:pt x="27" y="39"/>
                </a:lnTo>
                <a:lnTo>
                  <a:pt x="30" y="39"/>
                </a:lnTo>
                <a:lnTo>
                  <a:pt x="35" y="39"/>
                </a:lnTo>
                <a:lnTo>
                  <a:pt x="38" y="38"/>
                </a:lnTo>
                <a:lnTo>
                  <a:pt x="45" y="34"/>
                </a:lnTo>
                <a:lnTo>
                  <a:pt x="46" y="37"/>
                </a:lnTo>
                <a:lnTo>
                  <a:pt x="47" y="40"/>
                </a:lnTo>
                <a:lnTo>
                  <a:pt x="50" y="42"/>
                </a:lnTo>
                <a:lnTo>
                  <a:pt x="52" y="43"/>
                </a:lnTo>
                <a:lnTo>
                  <a:pt x="52" y="45"/>
                </a:lnTo>
                <a:lnTo>
                  <a:pt x="54" y="46"/>
                </a:lnTo>
                <a:lnTo>
                  <a:pt x="55" y="50"/>
                </a:lnTo>
                <a:lnTo>
                  <a:pt x="60" y="54"/>
                </a:lnTo>
                <a:lnTo>
                  <a:pt x="62" y="52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48" name="Freeform 147">
            <a:extLst>
              <a:ext uri="{FF2B5EF4-FFF2-40B4-BE49-F238E27FC236}">
                <a16:creationId xmlns:a16="http://schemas.microsoft.com/office/drawing/2014/main" id="{66CF9C83-4894-1AC4-6106-B19282DBF2E4}"/>
              </a:ext>
            </a:extLst>
          </p:cNvPr>
          <p:cNvSpPr>
            <a:spLocks/>
          </p:cNvSpPr>
          <p:nvPr/>
        </p:nvSpPr>
        <p:spPr bwMode="auto">
          <a:xfrm>
            <a:off x="6647825" y="3047846"/>
            <a:ext cx="125413" cy="93663"/>
          </a:xfrm>
          <a:custGeom>
            <a:avLst/>
            <a:gdLst>
              <a:gd name="T0" fmla="*/ 61 w 62"/>
              <a:gd name="T1" fmla="*/ 19 h 50"/>
              <a:gd name="T2" fmla="*/ 58 w 62"/>
              <a:gd name="T3" fmla="*/ 16 h 50"/>
              <a:gd name="T4" fmla="*/ 56 w 62"/>
              <a:gd name="T5" fmla="*/ 15 h 50"/>
              <a:gd name="T6" fmla="*/ 54 w 62"/>
              <a:gd name="T7" fmla="*/ 12 h 50"/>
              <a:gd name="T8" fmla="*/ 53 w 62"/>
              <a:gd name="T9" fmla="*/ 10 h 50"/>
              <a:gd name="T10" fmla="*/ 53 w 62"/>
              <a:gd name="T11" fmla="*/ 8 h 50"/>
              <a:gd name="T12" fmla="*/ 50 w 62"/>
              <a:gd name="T13" fmla="*/ 7 h 50"/>
              <a:gd name="T14" fmla="*/ 48 w 62"/>
              <a:gd name="T15" fmla="*/ 6 h 50"/>
              <a:gd name="T16" fmla="*/ 46 w 62"/>
              <a:gd name="T17" fmla="*/ 3 h 50"/>
              <a:gd name="T18" fmla="*/ 46 w 62"/>
              <a:gd name="T19" fmla="*/ 0 h 50"/>
              <a:gd name="T20" fmla="*/ 39 w 62"/>
              <a:gd name="T21" fmla="*/ 3 h 50"/>
              <a:gd name="T22" fmla="*/ 35 w 62"/>
              <a:gd name="T23" fmla="*/ 4 h 50"/>
              <a:gd name="T24" fmla="*/ 31 w 62"/>
              <a:gd name="T25" fmla="*/ 4 h 50"/>
              <a:gd name="T26" fmla="*/ 28 w 62"/>
              <a:gd name="T27" fmla="*/ 4 h 50"/>
              <a:gd name="T28" fmla="*/ 25 w 62"/>
              <a:gd name="T29" fmla="*/ 3 h 50"/>
              <a:gd name="T30" fmla="*/ 22 w 62"/>
              <a:gd name="T31" fmla="*/ 2 h 50"/>
              <a:gd name="T32" fmla="*/ 20 w 62"/>
              <a:gd name="T33" fmla="*/ 1 h 50"/>
              <a:gd name="T34" fmla="*/ 10 w 62"/>
              <a:gd name="T35" fmla="*/ 1 h 50"/>
              <a:gd name="T36" fmla="*/ 7 w 62"/>
              <a:gd name="T37" fmla="*/ 1 h 50"/>
              <a:gd name="T38" fmla="*/ 4 w 62"/>
              <a:gd name="T39" fmla="*/ 2 h 50"/>
              <a:gd name="T40" fmla="*/ 1 w 62"/>
              <a:gd name="T41" fmla="*/ 3 h 50"/>
              <a:gd name="T42" fmla="*/ 0 w 62"/>
              <a:gd name="T43" fmla="*/ 6 h 50"/>
              <a:gd name="T44" fmla="*/ 0 w 62"/>
              <a:gd name="T45" fmla="*/ 13 h 50"/>
              <a:gd name="T46" fmla="*/ 0 w 62"/>
              <a:gd name="T47" fmla="*/ 19 h 50"/>
              <a:gd name="T48" fmla="*/ 3 w 62"/>
              <a:gd name="T49" fmla="*/ 20 h 50"/>
              <a:gd name="T50" fmla="*/ 7 w 62"/>
              <a:gd name="T51" fmla="*/ 21 h 50"/>
              <a:gd name="T52" fmla="*/ 14 w 62"/>
              <a:gd name="T53" fmla="*/ 22 h 50"/>
              <a:gd name="T54" fmla="*/ 20 w 62"/>
              <a:gd name="T55" fmla="*/ 22 h 50"/>
              <a:gd name="T56" fmla="*/ 22 w 62"/>
              <a:gd name="T57" fmla="*/ 23 h 50"/>
              <a:gd name="T58" fmla="*/ 25 w 62"/>
              <a:gd name="T59" fmla="*/ 25 h 50"/>
              <a:gd name="T60" fmla="*/ 22 w 62"/>
              <a:gd name="T61" fmla="*/ 37 h 50"/>
              <a:gd name="T62" fmla="*/ 24 w 62"/>
              <a:gd name="T63" fmla="*/ 39 h 50"/>
              <a:gd name="T64" fmla="*/ 25 w 62"/>
              <a:gd name="T65" fmla="*/ 41 h 50"/>
              <a:gd name="T66" fmla="*/ 28 w 62"/>
              <a:gd name="T67" fmla="*/ 42 h 50"/>
              <a:gd name="T68" fmla="*/ 31 w 62"/>
              <a:gd name="T69" fmla="*/ 42 h 50"/>
              <a:gd name="T70" fmla="*/ 32 w 62"/>
              <a:gd name="T71" fmla="*/ 43 h 50"/>
              <a:gd name="T72" fmla="*/ 33 w 62"/>
              <a:gd name="T73" fmla="*/ 44 h 50"/>
              <a:gd name="T74" fmla="*/ 35 w 62"/>
              <a:gd name="T75" fmla="*/ 46 h 50"/>
              <a:gd name="T76" fmla="*/ 35 w 62"/>
              <a:gd name="T77" fmla="*/ 49 h 50"/>
              <a:gd name="T78" fmla="*/ 38 w 62"/>
              <a:gd name="T79" fmla="*/ 49 h 50"/>
              <a:gd name="T80" fmla="*/ 40 w 62"/>
              <a:gd name="T81" fmla="*/ 48 h 50"/>
              <a:gd name="T82" fmla="*/ 42 w 62"/>
              <a:gd name="T83" fmla="*/ 47 h 50"/>
              <a:gd name="T84" fmla="*/ 43 w 62"/>
              <a:gd name="T85" fmla="*/ 46 h 50"/>
              <a:gd name="T86" fmla="*/ 46 w 62"/>
              <a:gd name="T87" fmla="*/ 43 h 50"/>
              <a:gd name="T88" fmla="*/ 50 w 62"/>
              <a:gd name="T89" fmla="*/ 39 h 50"/>
              <a:gd name="T90" fmla="*/ 53 w 62"/>
              <a:gd name="T91" fmla="*/ 31 h 50"/>
              <a:gd name="T92" fmla="*/ 56 w 62"/>
              <a:gd name="T93" fmla="*/ 28 h 50"/>
              <a:gd name="T94" fmla="*/ 57 w 62"/>
              <a:gd name="T95" fmla="*/ 26 h 50"/>
              <a:gd name="T96" fmla="*/ 58 w 62"/>
              <a:gd name="T97" fmla="*/ 26 h 50"/>
              <a:gd name="T98" fmla="*/ 57 w 62"/>
              <a:gd name="T99" fmla="*/ 22 h 50"/>
              <a:gd name="T100" fmla="*/ 58 w 62"/>
              <a:gd name="T101" fmla="*/ 20 h 50"/>
              <a:gd name="T102" fmla="*/ 58 w 62"/>
              <a:gd name="T103" fmla="*/ 19 h 50"/>
              <a:gd name="T104" fmla="*/ 59 w 62"/>
              <a:gd name="T105" fmla="*/ 19 h 50"/>
              <a:gd name="T106" fmla="*/ 61 w 62"/>
              <a:gd name="T107" fmla="*/ 19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62" h="50">
                <a:moveTo>
                  <a:pt x="61" y="19"/>
                </a:moveTo>
                <a:lnTo>
                  <a:pt x="58" y="16"/>
                </a:lnTo>
                <a:lnTo>
                  <a:pt x="56" y="15"/>
                </a:lnTo>
                <a:lnTo>
                  <a:pt x="54" y="12"/>
                </a:lnTo>
                <a:lnTo>
                  <a:pt x="53" y="10"/>
                </a:lnTo>
                <a:lnTo>
                  <a:pt x="53" y="8"/>
                </a:lnTo>
                <a:lnTo>
                  <a:pt x="50" y="7"/>
                </a:lnTo>
                <a:lnTo>
                  <a:pt x="48" y="6"/>
                </a:lnTo>
                <a:lnTo>
                  <a:pt x="46" y="3"/>
                </a:lnTo>
                <a:lnTo>
                  <a:pt x="46" y="0"/>
                </a:lnTo>
                <a:lnTo>
                  <a:pt x="39" y="3"/>
                </a:lnTo>
                <a:lnTo>
                  <a:pt x="35" y="4"/>
                </a:lnTo>
                <a:lnTo>
                  <a:pt x="31" y="4"/>
                </a:lnTo>
                <a:lnTo>
                  <a:pt x="28" y="4"/>
                </a:lnTo>
                <a:lnTo>
                  <a:pt x="25" y="3"/>
                </a:lnTo>
                <a:lnTo>
                  <a:pt x="22" y="2"/>
                </a:lnTo>
                <a:lnTo>
                  <a:pt x="20" y="1"/>
                </a:lnTo>
                <a:lnTo>
                  <a:pt x="10" y="1"/>
                </a:lnTo>
                <a:lnTo>
                  <a:pt x="7" y="1"/>
                </a:lnTo>
                <a:lnTo>
                  <a:pt x="4" y="2"/>
                </a:lnTo>
                <a:lnTo>
                  <a:pt x="1" y="3"/>
                </a:lnTo>
                <a:lnTo>
                  <a:pt x="0" y="6"/>
                </a:lnTo>
                <a:lnTo>
                  <a:pt x="0" y="13"/>
                </a:lnTo>
                <a:lnTo>
                  <a:pt x="0" y="19"/>
                </a:lnTo>
                <a:lnTo>
                  <a:pt x="3" y="20"/>
                </a:lnTo>
                <a:lnTo>
                  <a:pt x="7" y="21"/>
                </a:lnTo>
                <a:lnTo>
                  <a:pt x="14" y="22"/>
                </a:lnTo>
                <a:lnTo>
                  <a:pt x="20" y="22"/>
                </a:lnTo>
                <a:lnTo>
                  <a:pt x="22" y="23"/>
                </a:lnTo>
                <a:lnTo>
                  <a:pt x="25" y="25"/>
                </a:lnTo>
                <a:lnTo>
                  <a:pt x="22" y="37"/>
                </a:lnTo>
                <a:lnTo>
                  <a:pt x="24" y="39"/>
                </a:lnTo>
                <a:lnTo>
                  <a:pt x="25" y="41"/>
                </a:lnTo>
                <a:lnTo>
                  <a:pt x="28" y="42"/>
                </a:lnTo>
                <a:lnTo>
                  <a:pt x="31" y="42"/>
                </a:lnTo>
                <a:lnTo>
                  <a:pt x="32" y="43"/>
                </a:lnTo>
                <a:lnTo>
                  <a:pt x="33" y="44"/>
                </a:lnTo>
                <a:lnTo>
                  <a:pt x="35" y="46"/>
                </a:lnTo>
                <a:lnTo>
                  <a:pt x="35" y="49"/>
                </a:lnTo>
                <a:lnTo>
                  <a:pt x="38" y="49"/>
                </a:lnTo>
                <a:lnTo>
                  <a:pt x="40" y="48"/>
                </a:lnTo>
                <a:lnTo>
                  <a:pt x="42" y="47"/>
                </a:lnTo>
                <a:lnTo>
                  <a:pt x="43" y="46"/>
                </a:lnTo>
                <a:lnTo>
                  <a:pt x="46" y="43"/>
                </a:lnTo>
                <a:lnTo>
                  <a:pt x="50" y="39"/>
                </a:lnTo>
                <a:lnTo>
                  <a:pt x="53" y="31"/>
                </a:lnTo>
                <a:lnTo>
                  <a:pt x="56" y="28"/>
                </a:lnTo>
                <a:lnTo>
                  <a:pt x="57" y="26"/>
                </a:lnTo>
                <a:lnTo>
                  <a:pt x="58" y="26"/>
                </a:lnTo>
                <a:lnTo>
                  <a:pt x="57" y="22"/>
                </a:lnTo>
                <a:lnTo>
                  <a:pt x="58" y="20"/>
                </a:lnTo>
                <a:lnTo>
                  <a:pt x="58" y="19"/>
                </a:lnTo>
                <a:lnTo>
                  <a:pt x="59" y="19"/>
                </a:lnTo>
                <a:lnTo>
                  <a:pt x="61" y="19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49" name="Freeform 148">
            <a:extLst>
              <a:ext uri="{FF2B5EF4-FFF2-40B4-BE49-F238E27FC236}">
                <a16:creationId xmlns:a16="http://schemas.microsoft.com/office/drawing/2014/main" id="{8D21E7AE-B3D9-8104-5F0E-E849F3EADFBD}"/>
              </a:ext>
            </a:extLst>
          </p:cNvPr>
          <p:cNvSpPr>
            <a:spLocks/>
          </p:cNvSpPr>
          <p:nvPr/>
        </p:nvSpPr>
        <p:spPr bwMode="auto">
          <a:xfrm>
            <a:off x="6627188" y="3085946"/>
            <a:ext cx="74613" cy="34925"/>
          </a:xfrm>
          <a:custGeom>
            <a:avLst/>
            <a:gdLst>
              <a:gd name="T0" fmla="*/ 33 w 37"/>
              <a:gd name="T1" fmla="*/ 17 h 19"/>
              <a:gd name="T2" fmla="*/ 36 w 37"/>
              <a:gd name="T3" fmla="*/ 5 h 19"/>
              <a:gd name="T4" fmla="*/ 33 w 37"/>
              <a:gd name="T5" fmla="*/ 3 h 19"/>
              <a:gd name="T6" fmla="*/ 31 w 37"/>
              <a:gd name="T7" fmla="*/ 2 h 19"/>
              <a:gd name="T8" fmla="*/ 25 w 37"/>
              <a:gd name="T9" fmla="*/ 2 h 19"/>
              <a:gd name="T10" fmla="*/ 18 w 37"/>
              <a:gd name="T11" fmla="*/ 1 h 19"/>
              <a:gd name="T12" fmla="*/ 14 w 37"/>
              <a:gd name="T13" fmla="*/ 0 h 19"/>
              <a:gd name="T14" fmla="*/ 10 w 37"/>
              <a:gd name="T15" fmla="*/ 0 h 19"/>
              <a:gd name="T16" fmla="*/ 10 w 37"/>
              <a:gd name="T17" fmla="*/ 3 h 19"/>
              <a:gd name="T18" fmla="*/ 10 w 37"/>
              <a:gd name="T19" fmla="*/ 6 h 19"/>
              <a:gd name="T20" fmla="*/ 7 w 37"/>
              <a:gd name="T21" fmla="*/ 6 h 19"/>
              <a:gd name="T22" fmla="*/ 6 w 37"/>
              <a:gd name="T23" fmla="*/ 6 h 19"/>
              <a:gd name="T24" fmla="*/ 3 w 37"/>
              <a:gd name="T25" fmla="*/ 9 h 19"/>
              <a:gd name="T26" fmla="*/ 2 w 37"/>
              <a:gd name="T27" fmla="*/ 11 h 19"/>
              <a:gd name="T28" fmla="*/ 1 w 37"/>
              <a:gd name="T29" fmla="*/ 13 h 19"/>
              <a:gd name="T30" fmla="*/ 0 w 37"/>
              <a:gd name="T31" fmla="*/ 18 h 19"/>
              <a:gd name="T32" fmla="*/ 34 w 37"/>
              <a:gd name="T33" fmla="*/ 18 h 19"/>
              <a:gd name="T34" fmla="*/ 33 w 37"/>
              <a:gd name="T35" fmla="*/ 17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7" h="19">
                <a:moveTo>
                  <a:pt x="33" y="17"/>
                </a:moveTo>
                <a:lnTo>
                  <a:pt x="36" y="5"/>
                </a:lnTo>
                <a:lnTo>
                  <a:pt x="33" y="3"/>
                </a:lnTo>
                <a:lnTo>
                  <a:pt x="31" y="2"/>
                </a:lnTo>
                <a:lnTo>
                  <a:pt x="25" y="2"/>
                </a:lnTo>
                <a:lnTo>
                  <a:pt x="18" y="1"/>
                </a:lnTo>
                <a:lnTo>
                  <a:pt x="14" y="0"/>
                </a:lnTo>
                <a:lnTo>
                  <a:pt x="10" y="0"/>
                </a:lnTo>
                <a:lnTo>
                  <a:pt x="10" y="3"/>
                </a:lnTo>
                <a:lnTo>
                  <a:pt x="10" y="6"/>
                </a:lnTo>
                <a:lnTo>
                  <a:pt x="7" y="6"/>
                </a:lnTo>
                <a:lnTo>
                  <a:pt x="6" y="6"/>
                </a:lnTo>
                <a:lnTo>
                  <a:pt x="3" y="9"/>
                </a:lnTo>
                <a:lnTo>
                  <a:pt x="2" y="11"/>
                </a:lnTo>
                <a:lnTo>
                  <a:pt x="1" y="13"/>
                </a:lnTo>
                <a:lnTo>
                  <a:pt x="0" y="18"/>
                </a:lnTo>
                <a:lnTo>
                  <a:pt x="34" y="18"/>
                </a:lnTo>
                <a:lnTo>
                  <a:pt x="33" y="17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50" name="Freeform 149">
            <a:extLst>
              <a:ext uri="{FF2B5EF4-FFF2-40B4-BE49-F238E27FC236}">
                <a16:creationId xmlns:a16="http://schemas.microsoft.com/office/drawing/2014/main" id="{21D18BBA-6AAF-04D2-317A-45199B96E5B6}"/>
              </a:ext>
            </a:extLst>
          </p:cNvPr>
          <p:cNvSpPr>
            <a:spLocks/>
          </p:cNvSpPr>
          <p:nvPr/>
        </p:nvSpPr>
        <p:spPr bwMode="auto">
          <a:xfrm>
            <a:off x="5890588" y="3552671"/>
            <a:ext cx="77788" cy="176213"/>
          </a:xfrm>
          <a:custGeom>
            <a:avLst/>
            <a:gdLst>
              <a:gd name="T0" fmla="*/ 15 w 38"/>
              <a:gd name="T1" fmla="*/ 94 h 95"/>
              <a:gd name="T2" fmla="*/ 8 w 38"/>
              <a:gd name="T3" fmla="*/ 92 h 95"/>
              <a:gd name="T4" fmla="*/ 7 w 38"/>
              <a:gd name="T5" fmla="*/ 79 h 95"/>
              <a:gd name="T6" fmla="*/ 7 w 38"/>
              <a:gd name="T7" fmla="*/ 68 h 95"/>
              <a:gd name="T8" fmla="*/ 6 w 38"/>
              <a:gd name="T9" fmla="*/ 65 h 95"/>
              <a:gd name="T10" fmla="*/ 1 w 38"/>
              <a:gd name="T11" fmla="*/ 63 h 95"/>
              <a:gd name="T12" fmla="*/ 0 w 38"/>
              <a:gd name="T13" fmla="*/ 60 h 95"/>
              <a:gd name="T14" fmla="*/ 2 w 38"/>
              <a:gd name="T15" fmla="*/ 50 h 95"/>
              <a:gd name="T16" fmla="*/ 6 w 38"/>
              <a:gd name="T17" fmla="*/ 40 h 95"/>
              <a:gd name="T18" fmla="*/ 10 w 38"/>
              <a:gd name="T19" fmla="*/ 32 h 95"/>
              <a:gd name="T20" fmla="*/ 12 w 38"/>
              <a:gd name="T21" fmla="*/ 21 h 95"/>
              <a:gd name="T22" fmla="*/ 11 w 38"/>
              <a:gd name="T23" fmla="*/ 18 h 95"/>
              <a:gd name="T24" fmla="*/ 8 w 38"/>
              <a:gd name="T25" fmla="*/ 14 h 95"/>
              <a:gd name="T26" fmla="*/ 8 w 38"/>
              <a:gd name="T27" fmla="*/ 10 h 95"/>
              <a:gd name="T28" fmla="*/ 9 w 38"/>
              <a:gd name="T29" fmla="*/ 4 h 95"/>
              <a:gd name="T30" fmla="*/ 12 w 38"/>
              <a:gd name="T31" fmla="*/ 1 h 95"/>
              <a:gd name="T32" fmla="*/ 20 w 38"/>
              <a:gd name="T33" fmla="*/ 4 h 95"/>
              <a:gd name="T34" fmla="*/ 36 w 38"/>
              <a:gd name="T35" fmla="*/ 8 h 95"/>
              <a:gd name="T36" fmla="*/ 37 w 38"/>
              <a:gd name="T37" fmla="*/ 11 h 95"/>
              <a:gd name="T38" fmla="*/ 34 w 38"/>
              <a:gd name="T39" fmla="*/ 23 h 95"/>
              <a:gd name="T40" fmla="*/ 31 w 38"/>
              <a:gd name="T41" fmla="*/ 32 h 95"/>
              <a:gd name="T42" fmla="*/ 25 w 38"/>
              <a:gd name="T43" fmla="*/ 47 h 95"/>
              <a:gd name="T44" fmla="*/ 25 w 38"/>
              <a:gd name="T45" fmla="*/ 54 h 95"/>
              <a:gd name="T46" fmla="*/ 27 w 38"/>
              <a:gd name="T47" fmla="*/ 59 h 95"/>
              <a:gd name="T48" fmla="*/ 27 w 38"/>
              <a:gd name="T49" fmla="*/ 64 h 95"/>
              <a:gd name="T50" fmla="*/ 25 w 38"/>
              <a:gd name="T51" fmla="*/ 69 h 95"/>
              <a:gd name="T52" fmla="*/ 25 w 38"/>
              <a:gd name="T53" fmla="*/ 73 h 95"/>
              <a:gd name="T54" fmla="*/ 27 w 38"/>
              <a:gd name="T55" fmla="*/ 76 h 95"/>
              <a:gd name="T56" fmla="*/ 27 w 38"/>
              <a:gd name="T57" fmla="*/ 79 h 95"/>
              <a:gd name="T58" fmla="*/ 25 w 38"/>
              <a:gd name="T59" fmla="*/ 84 h 95"/>
              <a:gd name="T60" fmla="*/ 24 w 38"/>
              <a:gd name="T61" fmla="*/ 89 h 95"/>
              <a:gd name="T62" fmla="*/ 23 w 38"/>
              <a:gd name="T63" fmla="*/ 93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8" h="95">
                <a:moveTo>
                  <a:pt x="23" y="93"/>
                </a:moveTo>
                <a:lnTo>
                  <a:pt x="15" y="94"/>
                </a:lnTo>
                <a:lnTo>
                  <a:pt x="12" y="94"/>
                </a:lnTo>
                <a:lnTo>
                  <a:pt x="8" y="92"/>
                </a:lnTo>
                <a:lnTo>
                  <a:pt x="7" y="86"/>
                </a:lnTo>
                <a:lnTo>
                  <a:pt x="7" y="79"/>
                </a:lnTo>
                <a:lnTo>
                  <a:pt x="8" y="70"/>
                </a:lnTo>
                <a:lnTo>
                  <a:pt x="7" y="68"/>
                </a:lnTo>
                <a:lnTo>
                  <a:pt x="6" y="68"/>
                </a:lnTo>
                <a:lnTo>
                  <a:pt x="6" y="65"/>
                </a:lnTo>
                <a:lnTo>
                  <a:pt x="3" y="65"/>
                </a:lnTo>
                <a:lnTo>
                  <a:pt x="1" y="63"/>
                </a:lnTo>
                <a:lnTo>
                  <a:pt x="0" y="61"/>
                </a:lnTo>
                <a:lnTo>
                  <a:pt x="0" y="60"/>
                </a:lnTo>
                <a:lnTo>
                  <a:pt x="0" y="54"/>
                </a:lnTo>
                <a:lnTo>
                  <a:pt x="2" y="50"/>
                </a:lnTo>
                <a:lnTo>
                  <a:pt x="3" y="45"/>
                </a:lnTo>
                <a:lnTo>
                  <a:pt x="6" y="40"/>
                </a:lnTo>
                <a:lnTo>
                  <a:pt x="8" y="36"/>
                </a:lnTo>
                <a:lnTo>
                  <a:pt x="10" y="32"/>
                </a:lnTo>
                <a:lnTo>
                  <a:pt x="12" y="27"/>
                </a:lnTo>
                <a:lnTo>
                  <a:pt x="12" y="21"/>
                </a:lnTo>
                <a:lnTo>
                  <a:pt x="12" y="19"/>
                </a:lnTo>
                <a:lnTo>
                  <a:pt x="11" y="18"/>
                </a:lnTo>
                <a:lnTo>
                  <a:pt x="10" y="15"/>
                </a:lnTo>
                <a:lnTo>
                  <a:pt x="8" y="14"/>
                </a:lnTo>
                <a:lnTo>
                  <a:pt x="8" y="13"/>
                </a:lnTo>
                <a:lnTo>
                  <a:pt x="8" y="10"/>
                </a:lnTo>
                <a:lnTo>
                  <a:pt x="8" y="7"/>
                </a:lnTo>
                <a:lnTo>
                  <a:pt x="9" y="4"/>
                </a:lnTo>
                <a:lnTo>
                  <a:pt x="11" y="0"/>
                </a:lnTo>
                <a:lnTo>
                  <a:pt x="12" y="1"/>
                </a:lnTo>
                <a:lnTo>
                  <a:pt x="15" y="2"/>
                </a:lnTo>
                <a:lnTo>
                  <a:pt x="20" y="4"/>
                </a:lnTo>
                <a:lnTo>
                  <a:pt x="33" y="4"/>
                </a:lnTo>
                <a:lnTo>
                  <a:pt x="36" y="8"/>
                </a:lnTo>
                <a:lnTo>
                  <a:pt x="37" y="10"/>
                </a:lnTo>
                <a:lnTo>
                  <a:pt x="37" y="11"/>
                </a:lnTo>
                <a:lnTo>
                  <a:pt x="37" y="18"/>
                </a:lnTo>
                <a:lnTo>
                  <a:pt x="34" y="23"/>
                </a:lnTo>
                <a:lnTo>
                  <a:pt x="33" y="28"/>
                </a:lnTo>
                <a:lnTo>
                  <a:pt x="31" y="32"/>
                </a:lnTo>
                <a:lnTo>
                  <a:pt x="26" y="42"/>
                </a:lnTo>
                <a:lnTo>
                  <a:pt x="25" y="47"/>
                </a:lnTo>
                <a:lnTo>
                  <a:pt x="24" y="52"/>
                </a:lnTo>
                <a:lnTo>
                  <a:pt x="25" y="54"/>
                </a:lnTo>
                <a:lnTo>
                  <a:pt x="26" y="56"/>
                </a:lnTo>
                <a:lnTo>
                  <a:pt x="27" y="59"/>
                </a:lnTo>
                <a:lnTo>
                  <a:pt x="27" y="61"/>
                </a:lnTo>
                <a:lnTo>
                  <a:pt x="27" y="64"/>
                </a:lnTo>
                <a:lnTo>
                  <a:pt x="26" y="66"/>
                </a:lnTo>
                <a:lnTo>
                  <a:pt x="25" y="69"/>
                </a:lnTo>
                <a:lnTo>
                  <a:pt x="24" y="71"/>
                </a:lnTo>
                <a:lnTo>
                  <a:pt x="25" y="73"/>
                </a:lnTo>
                <a:lnTo>
                  <a:pt x="26" y="74"/>
                </a:lnTo>
                <a:lnTo>
                  <a:pt x="27" y="76"/>
                </a:lnTo>
                <a:lnTo>
                  <a:pt x="28" y="77"/>
                </a:lnTo>
                <a:lnTo>
                  <a:pt x="27" y="79"/>
                </a:lnTo>
                <a:lnTo>
                  <a:pt x="27" y="81"/>
                </a:lnTo>
                <a:lnTo>
                  <a:pt x="25" y="84"/>
                </a:lnTo>
                <a:lnTo>
                  <a:pt x="24" y="87"/>
                </a:lnTo>
                <a:lnTo>
                  <a:pt x="24" y="89"/>
                </a:lnTo>
                <a:lnTo>
                  <a:pt x="24" y="91"/>
                </a:lnTo>
                <a:lnTo>
                  <a:pt x="23" y="93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51" name="Freeform 150">
            <a:extLst>
              <a:ext uri="{FF2B5EF4-FFF2-40B4-BE49-F238E27FC236}">
                <a16:creationId xmlns:a16="http://schemas.microsoft.com/office/drawing/2014/main" id="{B40F36F7-8BC6-C2B6-4331-4DBE9F32D32A}"/>
              </a:ext>
            </a:extLst>
          </p:cNvPr>
          <p:cNvSpPr>
            <a:spLocks/>
          </p:cNvSpPr>
          <p:nvPr/>
        </p:nvSpPr>
        <p:spPr bwMode="auto">
          <a:xfrm>
            <a:off x="5901700" y="3493934"/>
            <a:ext cx="325438" cy="276225"/>
          </a:xfrm>
          <a:custGeom>
            <a:avLst/>
            <a:gdLst>
              <a:gd name="T0" fmla="*/ 160 w 161"/>
              <a:gd name="T1" fmla="*/ 34 h 147"/>
              <a:gd name="T2" fmla="*/ 159 w 161"/>
              <a:gd name="T3" fmla="*/ 34 h 147"/>
              <a:gd name="T4" fmla="*/ 154 w 161"/>
              <a:gd name="T5" fmla="*/ 41 h 147"/>
              <a:gd name="T6" fmla="*/ 148 w 161"/>
              <a:gd name="T7" fmla="*/ 45 h 147"/>
              <a:gd name="T8" fmla="*/ 132 w 161"/>
              <a:gd name="T9" fmla="*/ 53 h 147"/>
              <a:gd name="T10" fmla="*/ 123 w 161"/>
              <a:gd name="T11" fmla="*/ 60 h 147"/>
              <a:gd name="T12" fmla="*/ 118 w 161"/>
              <a:gd name="T13" fmla="*/ 67 h 147"/>
              <a:gd name="T14" fmla="*/ 116 w 161"/>
              <a:gd name="T15" fmla="*/ 76 h 147"/>
              <a:gd name="T16" fmla="*/ 116 w 161"/>
              <a:gd name="T17" fmla="*/ 85 h 147"/>
              <a:gd name="T18" fmla="*/ 119 w 161"/>
              <a:gd name="T19" fmla="*/ 90 h 147"/>
              <a:gd name="T20" fmla="*/ 112 w 161"/>
              <a:gd name="T21" fmla="*/ 100 h 147"/>
              <a:gd name="T22" fmla="*/ 103 w 161"/>
              <a:gd name="T23" fmla="*/ 111 h 147"/>
              <a:gd name="T24" fmla="*/ 95 w 161"/>
              <a:gd name="T25" fmla="*/ 122 h 147"/>
              <a:gd name="T26" fmla="*/ 92 w 161"/>
              <a:gd name="T27" fmla="*/ 131 h 147"/>
              <a:gd name="T28" fmla="*/ 61 w 161"/>
              <a:gd name="T29" fmla="*/ 131 h 147"/>
              <a:gd name="T30" fmla="*/ 59 w 161"/>
              <a:gd name="T31" fmla="*/ 133 h 147"/>
              <a:gd name="T32" fmla="*/ 57 w 161"/>
              <a:gd name="T33" fmla="*/ 136 h 147"/>
              <a:gd name="T34" fmla="*/ 51 w 161"/>
              <a:gd name="T35" fmla="*/ 139 h 147"/>
              <a:gd name="T36" fmla="*/ 48 w 161"/>
              <a:gd name="T37" fmla="*/ 141 h 147"/>
              <a:gd name="T38" fmla="*/ 44 w 161"/>
              <a:gd name="T39" fmla="*/ 145 h 147"/>
              <a:gd name="T40" fmla="*/ 40 w 161"/>
              <a:gd name="T41" fmla="*/ 145 h 147"/>
              <a:gd name="T42" fmla="*/ 36 w 161"/>
              <a:gd name="T43" fmla="*/ 142 h 147"/>
              <a:gd name="T44" fmla="*/ 34 w 161"/>
              <a:gd name="T45" fmla="*/ 138 h 147"/>
              <a:gd name="T46" fmla="*/ 33 w 161"/>
              <a:gd name="T47" fmla="*/ 132 h 147"/>
              <a:gd name="T48" fmla="*/ 32 w 161"/>
              <a:gd name="T49" fmla="*/ 128 h 147"/>
              <a:gd name="T50" fmla="*/ 28 w 161"/>
              <a:gd name="T51" fmla="*/ 125 h 147"/>
              <a:gd name="T52" fmla="*/ 20 w 161"/>
              <a:gd name="T53" fmla="*/ 122 h 147"/>
              <a:gd name="T54" fmla="*/ 17 w 161"/>
              <a:gd name="T55" fmla="*/ 121 h 147"/>
              <a:gd name="T56" fmla="*/ 20 w 161"/>
              <a:gd name="T57" fmla="*/ 114 h 147"/>
              <a:gd name="T58" fmla="*/ 22 w 161"/>
              <a:gd name="T59" fmla="*/ 109 h 147"/>
              <a:gd name="T60" fmla="*/ 22 w 161"/>
              <a:gd name="T61" fmla="*/ 107 h 147"/>
              <a:gd name="T62" fmla="*/ 20 w 161"/>
              <a:gd name="T63" fmla="*/ 103 h 147"/>
              <a:gd name="T64" fmla="*/ 20 w 161"/>
              <a:gd name="T65" fmla="*/ 100 h 147"/>
              <a:gd name="T66" fmla="*/ 22 w 161"/>
              <a:gd name="T67" fmla="*/ 94 h 147"/>
              <a:gd name="T68" fmla="*/ 22 w 161"/>
              <a:gd name="T69" fmla="*/ 90 h 147"/>
              <a:gd name="T70" fmla="*/ 20 w 161"/>
              <a:gd name="T71" fmla="*/ 85 h 147"/>
              <a:gd name="T72" fmla="*/ 20 w 161"/>
              <a:gd name="T73" fmla="*/ 77 h 147"/>
              <a:gd name="T74" fmla="*/ 20 w 161"/>
              <a:gd name="T75" fmla="*/ 73 h 147"/>
              <a:gd name="T76" fmla="*/ 27 w 161"/>
              <a:gd name="T77" fmla="*/ 59 h 147"/>
              <a:gd name="T78" fmla="*/ 31 w 161"/>
              <a:gd name="T79" fmla="*/ 49 h 147"/>
              <a:gd name="T80" fmla="*/ 31 w 161"/>
              <a:gd name="T81" fmla="*/ 42 h 147"/>
              <a:gd name="T82" fmla="*/ 27 w 161"/>
              <a:gd name="T83" fmla="*/ 36 h 147"/>
              <a:gd name="T84" fmla="*/ 10 w 161"/>
              <a:gd name="T85" fmla="*/ 34 h 147"/>
              <a:gd name="T86" fmla="*/ 5 w 161"/>
              <a:gd name="T87" fmla="*/ 32 h 147"/>
              <a:gd name="T88" fmla="*/ 6 w 161"/>
              <a:gd name="T89" fmla="*/ 26 h 147"/>
              <a:gd name="T90" fmla="*/ 5 w 161"/>
              <a:gd name="T91" fmla="*/ 22 h 147"/>
              <a:gd name="T92" fmla="*/ 0 w 161"/>
              <a:gd name="T93" fmla="*/ 16 h 147"/>
              <a:gd name="T94" fmla="*/ 0 w 161"/>
              <a:gd name="T95" fmla="*/ 12 h 147"/>
              <a:gd name="T96" fmla="*/ 2 w 161"/>
              <a:gd name="T97" fmla="*/ 6 h 147"/>
              <a:gd name="T98" fmla="*/ 8 w 161"/>
              <a:gd name="T99" fmla="*/ 5 h 147"/>
              <a:gd name="T100" fmla="*/ 11 w 161"/>
              <a:gd name="T101" fmla="*/ 1 h 147"/>
              <a:gd name="T102" fmla="*/ 16 w 161"/>
              <a:gd name="T103" fmla="*/ 0 h 147"/>
              <a:gd name="T104" fmla="*/ 28 w 161"/>
              <a:gd name="T105" fmla="*/ 0 h 147"/>
              <a:gd name="T106" fmla="*/ 55 w 161"/>
              <a:gd name="T107" fmla="*/ 4 h 147"/>
              <a:gd name="T108" fmla="*/ 82 w 161"/>
              <a:gd name="T109" fmla="*/ 7 h 147"/>
              <a:gd name="T110" fmla="*/ 102 w 161"/>
              <a:gd name="T111" fmla="*/ 12 h 147"/>
              <a:gd name="T112" fmla="*/ 118 w 161"/>
              <a:gd name="T113" fmla="*/ 18 h 147"/>
              <a:gd name="T114" fmla="*/ 130 w 161"/>
              <a:gd name="T115" fmla="*/ 19 h 147"/>
              <a:gd name="T116" fmla="*/ 137 w 161"/>
              <a:gd name="T117" fmla="*/ 19 h 147"/>
              <a:gd name="T118" fmla="*/ 140 w 161"/>
              <a:gd name="T119" fmla="*/ 22 h 147"/>
              <a:gd name="T120" fmla="*/ 145 w 161"/>
              <a:gd name="T121" fmla="*/ 26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61" h="147">
                <a:moveTo>
                  <a:pt x="160" y="32"/>
                </a:moveTo>
                <a:lnTo>
                  <a:pt x="160" y="34"/>
                </a:lnTo>
                <a:lnTo>
                  <a:pt x="160" y="33"/>
                </a:lnTo>
                <a:lnTo>
                  <a:pt x="159" y="34"/>
                </a:lnTo>
                <a:lnTo>
                  <a:pt x="157" y="37"/>
                </a:lnTo>
                <a:lnTo>
                  <a:pt x="154" y="41"/>
                </a:lnTo>
                <a:lnTo>
                  <a:pt x="152" y="42"/>
                </a:lnTo>
                <a:lnTo>
                  <a:pt x="148" y="45"/>
                </a:lnTo>
                <a:lnTo>
                  <a:pt x="140" y="49"/>
                </a:lnTo>
                <a:lnTo>
                  <a:pt x="132" y="53"/>
                </a:lnTo>
                <a:lnTo>
                  <a:pt x="126" y="58"/>
                </a:lnTo>
                <a:lnTo>
                  <a:pt x="123" y="60"/>
                </a:lnTo>
                <a:lnTo>
                  <a:pt x="121" y="63"/>
                </a:lnTo>
                <a:lnTo>
                  <a:pt x="118" y="67"/>
                </a:lnTo>
                <a:lnTo>
                  <a:pt x="117" y="71"/>
                </a:lnTo>
                <a:lnTo>
                  <a:pt x="116" y="76"/>
                </a:lnTo>
                <a:lnTo>
                  <a:pt x="115" y="81"/>
                </a:lnTo>
                <a:lnTo>
                  <a:pt x="116" y="85"/>
                </a:lnTo>
                <a:lnTo>
                  <a:pt x="117" y="87"/>
                </a:lnTo>
                <a:lnTo>
                  <a:pt x="119" y="90"/>
                </a:lnTo>
                <a:lnTo>
                  <a:pt x="121" y="92"/>
                </a:lnTo>
                <a:lnTo>
                  <a:pt x="112" y="100"/>
                </a:lnTo>
                <a:lnTo>
                  <a:pt x="108" y="105"/>
                </a:lnTo>
                <a:lnTo>
                  <a:pt x="103" y="111"/>
                </a:lnTo>
                <a:lnTo>
                  <a:pt x="99" y="116"/>
                </a:lnTo>
                <a:lnTo>
                  <a:pt x="95" y="122"/>
                </a:lnTo>
                <a:lnTo>
                  <a:pt x="94" y="126"/>
                </a:lnTo>
                <a:lnTo>
                  <a:pt x="92" y="131"/>
                </a:lnTo>
                <a:lnTo>
                  <a:pt x="63" y="131"/>
                </a:lnTo>
                <a:lnTo>
                  <a:pt x="61" y="131"/>
                </a:lnTo>
                <a:lnTo>
                  <a:pt x="60" y="132"/>
                </a:lnTo>
                <a:lnTo>
                  <a:pt x="59" y="133"/>
                </a:lnTo>
                <a:lnTo>
                  <a:pt x="57" y="135"/>
                </a:lnTo>
                <a:lnTo>
                  <a:pt x="57" y="136"/>
                </a:lnTo>
                <a:lnTo>
                  <a:pt x="54" y="136"/>
                </a:lnTo>
                <a:lnTo>
                  <a:pt x="51" y="139"/>
                </a:lnTo>
                <a:lnTo>
                  <a:pt x="50" y="139"/>
                </a:lnTo>
                <a:lnTo>
                  <a:pt x="48" y="141"/>
                </a:lnTo>
                <a:lnTo>
                  <a:pt x="45" y="144"/>
                </a:lnTo>
                <a:lnTo>
                  <a:pt x="44" y="145"/>
                </a:lnTo>
                <a:lnTo>
                  <a:pt x="42" y="146"/>
                </a:lnTo>
                <a:lnTo>
                  <a:pt x="40" y="145"/>
                </a:lnTo>
                <a:lnTo>
                  <a:pt x="37" y="144"/>
                </a:lnTo>
                <a:lnTo>
                  <a:pt x="36" y="142"/>
                </a:lnTo>
                <a:lnTo>
                  <a:pt x="35" y="140"/>
                </a:lnTo>
                <a:lnTo>
                  <a:pt x="34" y="138"/>
                </a:lnTo>
                <a:lnTo>
                  <a:pt x="33" y="135"/>
                </a:lnTo>
                <a:lnTo>
                  <a:pt x="33" y="132"/>
                </a:lnTo>
                <a:lnTo>
                  <a:pt x="32" y="130"/>
                </a:lnTo>
                <a:lnTo>
                  <a:pt x="32" y="128"/>
                </a:lnTo>
                <a:lnTo>
                  <a:pt x="31" y="127"/>
                </a:lnTo>
                <a:lnTo>
                  <a:pt x="28" y="125"/>
                </a:lnTo>
                <a:lnTo>
                  <a:pt x="24" y="123"/>
                </a:lnTo>
                <a:lnTo>
                  <a:pt x="20" y="122"/>
                </a:lnTo>
                <a:lnTo>
                  <a:pt x="17" y="123"/>
                </a:lnTo>
                <a:lnTo>
                  <a:pt x="17" y="121"/>
                </a:lnTo>
                <a:lnTo>
                  <a:pt x="18" y="119"/>
                </a:lnTo>
                <a:lnTo>
                  <a:pt x="20" y="114"/>
                </a:lnTo>
                <a:lnTo>
                  <a:pt x="22" y="111"/>
                </a:lnTo>
                <a:lnTo>
                  <a:pt x="22" y="109"/>
                </a:lnTo>
                <a:lnTo>
                  <a:pt x="23" y="107"/>
                </a:lnTo>
                <a:lnTo>
                  <a:pt x="22" y="107"/>
                </a:lnTo>
                <a:lnTo>
                  <a:pt x="20" y="104"/>
                </a:lnTo>
                <a:lnTo>
                  <a:pt x="20" y="103"/>
                </a:lnTo>
                <a:lnTo>
                  <a:pt x="19" y="101"/>
                </a:lnTo>
                <a:lnTo>
                  <a:pt x="20" y="100"/>
                </a:lnTo>
                <a:lnTo>
                  <a:pt x="20" y="97"/>
                </a:lnTo>
                <a:lnTo>
                  <a:pt x="22" y="94"/>
                </a:lnTo>
                <a:lnTo>
                  <a:pt x="22" y="91"/>
                </a:lnTo>
                <a:lnTo>
                  <a:pt x="22" y="90"/>
                </a:lnTo>
                <a:lnTo>
                  <a:pt x="20" y="87"/>
                </a:lnTo>
                <a:lnTo>
                  <a:pt x="20" y="85"/>
                </a:lnTo>
                <a:lnTo>
                  <a:pt x="19" y="83"/>
                </a:lnTo>
                <a:lnTo>
                  <a:pt x="20" y="77"/>
                </a:lnTo>
                <a:lnTo>
                  <a:pt x="20" y="76"/>
                </a:lnTo>
                <a:lnTo>
                  <a:pt x="20" y="73"/>
                </a:lnTo>
                <a:lnTo>
                  <a:pt x="26" y="64"/>
                </a:lnTo>
                <a:lnTo>
                  <a:pt x="27" y="59"/>
                </a:lnTo>
                <a:lnTo>
                  <a:pt x="29" y="55"/>
                </a:lnTo>
                <a:lnTo>
                  <a:pt x="31" y="49"/>
                </a:lnTo>
                <a:lnTo>
                  <a:pt x="31" y="43"/>
                </a:lnTo>
                <a:lnTo>
                  <a:pt x="31" y="42"/>
                </a:lnTo>
                <a:lnTo>
                  <a:pt x="30" y="40"/>
                </a:lnTo>
                <a:lnTo>
                  <a:pt x="27" y="36"/>
                </a:lnTo>
                <a:lnTo>
                  <a:pt x="14" y="36"/>
                </a:lnTo>
                <a:lnTo>
                  <a:pt x="10" y="34"/>
                </a:lnTo>
                <a:lnTo>
                  <a:pt x="6" y="33"/>
                </a:lnTo>
                <a:lnTo>
                  <a:pt x="5" y="32"/>
                </a:lnTo>
                <a:lnTo>
                  <a:pt x="6" y="29"/>
                </a:lnTo>
                <a:lnTo>
                  <a:pt x="6" y="26"/>
                </a:lnTo>
                <a:lnTo>
                  <a:pt x="6" y="24"/>
                </a:lnTo>
                <a:lnTo>
                  <a:pt x="5" y="22"/>
                </a:lnTo>
                <a:lnTo>
                  <a:pt x="3" y="19"/>
                </a:lnTo>
                <a:lnTo>
                  <a:pt x="0" y="16"/>
                </a:lnTo>
                <a:lnTo>
                  <a:pt x="0" y="14"/>
                </a:lnTo>
                <a:lnTo>
                  <a:pt x="0" y="12"/>
                </a:lnTo>
                <a:lnTo>
                  <a:pt x="0" y="9"/>
                </a:lnTo>
                <a:lnTo>
                  <a:pt x="2" y="6"/>
                </a:lnTo>
                <a:lnTo>
                  <a:pt x="4" y="6"/>
                </a:lnTo>
                <a:lnTo>
                  <a:pt x="8" y="5"/>
                </a:lnTo>
                <a:lnTo>
                  <a:pt x="11" y="5"/>
                </a:lnTo>
                <a:lnTo>
                  <a:pt x="11" y="1"/>
                </a:lnTo>
                <a:lnTo>
                  <a:pt x="13" y="0"/>
                </a:lnTo>
                <a:lnTo>
                  <a:pt x="16" y="0"/>
                </a:lnTo>
                <a:lnTo>
                  <a:pt x="19" y="0"/>
                </a:lnTo>
                <a:lnTo>
                  <a:pt x="28" y="0"/>
                </a:lnTo>
                <a:lnTo>
                  <a:pt x="37" y="0"/>
                </a:lnTo>
                <a:lnTo>
                  <a:pt x="55" y="4"/>
                </a:lnTo>
                <a:lnTo>
                  <a:pt x="73" y="6"/>
                </a:lnTo>
                <a:lnTo>
                  <a:pt x="82" y="7"/>
                </a:lnTo>
                <a:lnTo>
                  <a:pt x="92" y="7"/>
                </a:lnTo>
                <a:lnTo>
                  <a:pt x="102" y="12"/>
                </a:lnTo>
                <a:lnTo>
                  <a:pt x="112" y="16"/>
                </a:lnTo>
                <a:lnTo>
                  <a:pt x="118" y="18"/>
                </a:lnTo>
                <a:lnTo>
                  <a:pt x="123" y="19"/>
                </a:lnTo>
                <a:lnTo>
                  <a:pt x="130" y="19"/>
                </a:lnTo>
                <a:lnTo>
                  <a:pt x="136" y="19"/>
                </a:lnTo>
                <a:lnTo>
                  <a:pt x="137" y="19"/>
                </a:lnTo>
                <a:lnTo>
                  <a:pt x="139" y="20"/>
                </a:lnTo>
                <a:lnTo>
                  <a:pt x="140" y="22"/>
                </a:lnTo>
                <a:lnTo>
                  <a:pt x="143" y="24"/>
                </a:lnTo>
                <a:lnTo>
                  <a:pt x="145" y="26"/>
                </a:lnTo>
                <a:lnTo>
                  <a:pt x="160" y="32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52" name="Freeform 151">
            <a:extLst>
              <a:ext uri="{FF2B5EF4-FFF2-40B4-BE49-F238E27FC236}">
                <a16:creationId xmlns:a16="http://schemas.microsoft.com/office/drawing/2014/main" id="{5CD1EB69-7D90-7AF1-89F9-0B1CEE4A5486}"/>
              </a:ext>
            </a:extLst>
          </p:cNvPr>
          <p:cNvSpPr>
            <a:spLocks/>
          </p:cNvSpPr>
          <p:nvPr/>
        </p:nvSpPr>
        <p:spPr bwMode="auto">
          <a:xfrm>
            <a:off x="6165225" y="3528859"/>
            <a:ext cx="34925" cy="33338"/>
          </a:xfrm>
          <a:custGeom>
            <a:avLst/>
            <a:gdLst>
              <a:gd name="T0" fmla="*/ 14 w 17"/>
              <a:gd name="T1" fmla="*/ 7 h 17"/>
              <a:gd name="T2" fmla="*/ 11 w 17"/>
              <a:gd name="T3" fmla="*/ 14 h 17"/>
              <a:gd name="T4" fmla="*/ 9 w 17"/>
              <a:gd name="T5" fmla="*/ 16 h 17"/>
              <a:gd name="T6" fmla="*/ 6 w 17"/>
              <a:gd name="T7" fmla="*/ 16 h 17"/>
              <a:gd name="T8" fmla="*/ 1 w 17"/>
              <a:gd name="T9" fmla="*/ 14 h 17"/>
              <a:gd name="T10" fmla="*/ 0 w 17"/>
              <a:gd name="T11" fmla="*/ 13 h 17"/>
              <a:gd name="T12" fmla="*/ 0 w 17"/>
              <a:gd name="T13" fmla="*/ 10 h 17"/>
              <a:gd name="T14" fmla="*/ 0 w 17"/>
              <a:gd name="T15" fmla="*/ 7 h 17"/>
              <a:gd name="T16" fmla="*/ 3 w 17"/>
              <a:gd name="T17" fmla="*/ 0 h 17"/>
              <a:gd name="T18" fmla="*/ 5 w 17"/>
              <a:gd name="T19" fmla="*/ 0 h 17"/>
              <a:gd name="T20" fmla="*/ 7 w 17"/>
              <a:gd name="T21" fmla="*/ 0 h 17"/>
              <a:gd name="T22" fmla="*/ 8 w 17"/>
              <a:gd name="T23" fmla="*/ 1 h 17"/>
              <a:gd name="T24" fmla="*/ 10 w 17"/>
              <a:gd name="T25" fmla="*/ 5 h 17"/>
              <a:gd name="T26" fmla="*/ 14 w 17"/>
              <a:gd name="T27" fmla="*/ 8 h 17"/>
              <a:gd name="T28" fmla="*/ 16 w 17"/>
              <a:gd name="T29" fmla="*/ 13 h 17"/>
              <a:gd name="T30" fmla="*/ 14 w 17"/>
              <a:gd name="T31" fmla="*/ 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7" h="17">
                <a:moveTo>
                  <a:pt x="14" y="7"/>
                </a:moveTo>
                <a:lnTo>
                  <a:pt x="11" y="14"/>
                </a:lnTo>
                <a:lnTo>
                  <a:pt x="9" y="16"/>
                </a:lnTo>
                <a:lnTo>
                  <a:pt x="6" y="16"/>
                </a:lnTo>
                <a:lnTo>
                  <a:pt x="1" y="14"/>
                </a:lnTo>
                <a:lnTo>
                  <a:pt x="0" y="13"/>
                </a:lnTo>
                <a:lnTo>
                  <a:pt x="0" y="10"/>
                </a:lnTo>
                <a:lnTo>
                  <a:pt x="0" y="7"/>
                </a:lnTo>
                <a:lnTo>
                  <a:pt x="3" y="0"/>
                </a:lnTo>
                <a:lnTo>
                  <a:pt x="5" y="0"/>
                </a:lnTo>
                <a:lnTo>
                  <a:pt x="7" y="0"/>
                </a:lnTo>
                <a:lnTo>
                  <a:pt x="8" y="1"/>
                </a:lnTo>
                <a:lnTo>
                  <a:pt x="10" y="5"/>
                </a:lnTo>
                <a:lnTo>
                  <a:pt x="14" y="8"/>
                </a:lnTo>
                <a:lnTo>
                  <a:pt x="16" y="13"/>
                </a:lnTo>
                <a:lnTo>
                  <a:pt x="14" y="7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53" name="Freeform 152">
            <a:extLst>
              <a:ext uri="{FF2B5EF4-FFF2-40B4-BE49-F238E27FC236}">
                <a16:creationId xmlns:a16="http://schemas.microsoft.com/office/drawing/2014/main" id="{A80402BD-8E85-35B7-7C0F-30247119F9F5}"/>
              </a:ext>
            </a:extLst>
          </p:cNvPr>
          <p:cNvSpPr>
            <a:spLocks/>
          </p:cNvSpPr>
          <p:nvPr/>
        </p:nvSpPr>
        <p:spPr bwMode="auto">
          <a:xfrm>
            <a:off x="6022350" y="3238346"/>
            <a:ext cx="323850" cy="317500"/>
          </a:xfrm>
          <a:custGeom>
            <a:avLst/>
            <a:gdLst>
              <a:gd name="T0" fmla="*/ 152 w 160"/>
              <a:gd name="T1" fmla="*/ 134 h 170"/>
              <a:gd name="T2" fmla="*/ 146 w 160"/>
              <a:gd name="T3" fmla="*/ 141 h 170"/>
              <a:gd name="T4" fmla="*/ 142 w 160"/>
              <a:gd name="T5" fmla="*/ 146 h 170"/>
              <a:gd name="T6" fmla="*/ 133 w 160"/>
              <a:gd name="T7" fmla="*/ 146 h 170"/>
              <a:gd name="T8" fmla="*/ 118 w 160"/>
              <a:gd name="T9" fmla="*/ 139 h 170"/>
              <a:gd name="T10" fmla="*/ 109 w 160"/>
              <a:gd name="T11" fmla="*/ 138 h 170"/>
              <a:gd name="T12" fmla="*/ 102 w 160"/>
              <a:gd name="T13" fmla="*/ 143 h 170"/>
              <a:gd name="T14" fmla="*/ 98 w 160"/>
              <a:gd name="T15" fmla="*/ 152 h 170"/>
              <a:gd name="T16" fmla="*/ 99 w 160"/>
              <a:gd name="T17" fmla="*/ 169 h 170"/>
              <a:gd name="T18" fmla="*/ 80 w 160"/>
              <a:gd name="T19" fmla="*/ 159 h 170"/>
              <a:gd name="T20" fmla="*/ 75 w 160"/>
              <a:gd name="T21" fmla="*/ 156 h 170"/>
              <a:gd name="T22" fmla="*/ 52 w 160"/>
              <a:gd name="T23" fmla="*/ 152 h 170"/>
              <a:gd name="T24" fmla="*/ 34 w 160"/>
              <a:gd name="T25" fmla="*/ 143 h 170"/>
              <a:gd name="T26" fmla="*/ 38 w 160"/>
              <a:gd name="T27" fmla="*/ 140 h 170"/>
              <a:gd name="T28" fmla="*/ 41 w 160"/>
              <a:gd name="T29" fmla="*/ 131 h 170"/>
              <a:gd name="T30" fmla="*/ 43 w 160"/>
              <a:gd name="T31" fmla="*/ 115 h 170"/>
              <a:gd name="T32" fmla="*/ 42 w 160"/>
              <a:gd name="T33" fmla="*/ 97 h 170"/>
              <a:gd name="T34" fmla="*/ 35 w 160"/>
              <a:gd name="T35" fmla="*/ 78 h 170"/>
              <a:gd name="T36" fmla="*/ 31 w 160"/>
              <a:gd name="T37" fmla="*/ 70 h 170"/>
              <a:gd name="T38" fmla="*/ 26 w 160"/>
              <a:gd name="T39" fmla="*/ 66 h 170"/>
              <a:gd name="T40" fmla="*/ 17 w 160"/>
              <a:gd name="T41" fmla="*/ 63 h 170"/>
              <a:gd name="T42" fmla="*/ 5 w 160"/>
              <a:gd name="T43" fmla="*/ 59 h 170"/>
              <a:gd name="T44" fmla="*/ 0 w 160"/>
              <a:gd name="T45" fmla="*/ 50 h 170"/>
              <a:gd name="T46" fmla="*/ 9 w 160"/>
              <a:gd name="T47" fmla="*/ 41 h 170"/>
              <a:gd name="T48" fmla="*/ 17 w 160"/>
              <a:gd name="T49" fmla="*/ 38 h 170"/>
              <a:gd name="T50" fmla="*/ 25 w 160"/>
              <a:gd name="T51" fmla="*/ 41 h 170"/>
              <a:gd name="T52" fmla="*/ 32 w 160"/>
              <a:gd name="T53" fmla="*/ 44 h 170"/>
              <a:gd name="T54" fmla="*/ 38 w 160"/>
              <a:gd name="T55" fmla="*/ 41 h 170"/>
              <a:gd name="T56" fmla="*/ 38 w 160"/>
              <a:gd name="T57" fmla="*/ 35 h 170"/>
              <a:gd name="T58" fmla="*/ 38 w 160"/>
              <a:gd name="T59" fmla="*/ 26 h 170"/>
              <a:gd name="T60" fmla="*/ 49 w 160"/>
              <a:gd name="T61" fmla="*/ 30 h 170"/>
              <a:gd name="T62" fmla="*/ 56 w 160"/>
              <a:gd name="T63" fmla="*/ 31 h 170"/>
              <a:gd name="T64" fmla="*/ 60 w 160"/>
              <a:gd name="T65" fmla="*/ 25 h 170"/>
              <a:gd name="T66" fmla="*/ 65 w 160"/>
              <a:gd name="T67" fmla="*/ 19 h 170"/>
              <a:gd name="T68" fmla="*/ 74 w 160"/>
              <a:gd name="T69" fmla="*/ 12 h 170"/>
              <a:gd name="T70" fmla="*/ 77 w 160"/>
              <a:gd name="T71" fmla="*/ 5 h 170"/>
              <a:gd name="T72" fmla="*/ 87 w 160"/>
              <a:gd name="T73" fmla="*/ 0 h 170"/>
              <a:gd name="T74" fmla="*/ 92 w 160"/>
              <a:gd name="T75" fmla="*/ 7 h 170"/>
              <a:gd name="T76" fmla="*/ 101 w 160"/>
              <a:gd name="T77" fmla="*/ 12 h 170"/>
              <a:gd name="T78" fmla="*/ 106 w 160"/>
              <a:gd name="T79" fmla="*/ 15 h 170"/>
              <a:gd name="T80" fmla="*/ 109 w 160"/>
              <a:gd name="T81" fmla="*/ 20 h 170"/>
              <a:gd name="T82" fmla="*/ 116 w 160"/>
              <a:gd name="T83" fmla="*/ 20 h 170"/>
              <a:gd name="T84" fmla="*/ 118 w 160"/>
              <a:gd name="T85" fmla="*/ 22 h 170"/>
              <a:gd name="T86" fmla="*/ 120 w 160"/>
              <a:gd name="T87" fmla="*/ 27 h 170"/>
              <a:gd name="T88" fmla="*/ 129 w 160"/>
              <a:gd name="T89" fmla="*/ 29 h 170"/>
              <a:gd name="T90" fmla="*/ 138 w 160"/>
              <a:gd name="T91" fmla="*/ 30 h 170"/>
              <a:gd name="T92" fmla="*/ 154 w 160"/>
              <a:gd name="T93" fmla="*/ 37 h 170"/>
              <a:gd name="T94" fmla="*/ 155 w 160"/>
              <a:gd name="T95" fmla="*/ 50 h 170"/>
              <a:gd name="T96" fmla="*/ 151 w 160"/>
              <a:gd name="T97" fmla="*/ 63 h 170"/>
              <a:gd name="T98" fmla="*/ 146 w 160"/>
              <a:gd name="T99" fmla="*/ 66 h 170"/>
              <a:gd name="T100" fmla="*/ 143 w 160"/>
              <a:gd name="T101" fmla="*/ 73 h 170"/>
              <a:gd name="T102" fmla="*/ 139 w 160"/>
              <a:gd name="T103" fmla="*/ 76 h 170"/>
              <a:gd name="T104" fmla="*/ 134 w 160"/>
              <a:gd name="T105" fmla="*/ 93 h 170"/>
              <a:gd name="T106" fmla="*/ 138 w 160"/>
              <a:gd name="T107" fmla="*/ 88 h 170"/>
              <a:gd name="T108" fmla="*/ 143 w 160"/>
              <a:gd name="T109" fmla="*/ 88 h 170"/>
              <a:gd name="T110" fmla="*/ 145 w 160"/>
              <a:gd name="T111" fmla="*/ 101 h 170"/>
              <a:gd name="T112" fmla="*/ 148 w 160"/>
              <a:gd name="T113" fmla="*/ 106 h 170"/>
              <a:gd name="T114" fmla="*/ 150 w 160"/>
              <a:gd name="T115" fmla="*/ 126 h 170"/>
              <a:gd name="T116" fmla="*/ 156 w 160"/>
              <a:gd name="T117" fmla="*/ 133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60" h="170">
                <a:moveTo>
                  <a:pt x="159" y="133"/>
                </a:moveTo>
                <a:lnTo>
                  <a:pt x="155" y="133"/>
                </a:lnTo>
                <a:lnTo>
                  <a:pt x="152" y="134"/>
                </a:lnTo>
                <a:lnTo>
                  <a:pt x="150" y="137"/>
                </a:lnTo>
                <a:lnTo>
                  <a:pt x="147" y="139"/>
                </a:lnTo>
                <a:lnTo>
                  <a:pt x="146" y="141"/>
                </a:lnTo>
                <a:lnTo>
                  <a:pt x="143" y="143"/>
                </a:lnTo>
                <a:lnTo>
                  <a:pt x="142" y="145"/>
                </a:lnTo>
                <a:lnTo>
                  <a:pt x="142" y="146"/>
                </a:lnTo>
                <a:lnTo>
                  <a:pt x="140" y="146"/>
                </a:lnTo>
                <a:lnTo>
                  <a:pt x="136" y="146"/>
                </a:lnTo>
                <a:lnTo>
                  <a:pt x="133" y="146"/>
                </a:lnTo>
                <a:lnTo>
                  <a:pt x="131" y="146"/>
                </a:lnTo>
                <a:lnTo>
                  <a:pt x="124" y="143"/>
                </a:lnTo>
                <a:lnTo>
                  <a:pt x="118" y="139"/>
                </a:lnTo>
                <a:lnTo>
                  <a:pt x="114" y="138"/>
                </a:lnTo>
                <a:lnTo>
                  <a:pt x="111" y="138"/>
                </a:lnTo>
                <a:lnTo>
                  <a:pt x="109" y="138"/>
                </a:lnTo>
                <a:lnTo>
                  <a:pt x="106" y="140"/>
                </a:lnTo>
                <a:lnTo>
                  <a:pt x="104" y="141"/>
                </a:lnTo>
                <a:lnTo>
                  <a:pt x="102" y="143"/>
                </a:lnTo>
                <a:lnTo>
                  <a:pt x="100" y="146"/>
                </a:lnTo>
                <a:lnTo>
                  <a:pt x="98" y="149"/>
                </a:lnTo>
                <a:lnTo>
                  <a:pt x="98" y="152"/>
                </a:lnTo>
                <a:lnTo>
                  <a:pt x="97" y="156"/>
                </a:lnTo>
                <a:lnTo>
                  <a:pt x="98" y="162"/>
                </a:lnTo>
                <a:lnTo>
                  <a:pt x="99" y="169"/>
                </a:lnTo>
                <a:lnTo>
                  <a:pt x="84" y="162"/>
                </a:lnTo>
                <a:lnTo>
                  <a:pt x="83" y="160"/>
                </a:lnTo>
                <a:lnTo>
                  <a:pt x="80" y="159"/>
                </a:lnTo>
                <a:lnTo>
                  <a:pt x="78" y="156"/>
                </a:lnTo>
                <a:lnTo>
                  <a:pt x="77" y="156"/>
                </a:lnTo>
                <a:lnTo>
                  <a:pt x="75" y="156"/>
                </a:lnTo>
                <a:lnTo>
                  <a:pt x="70" y="156"/>
                </a:lnTo>
                <a:lnTo>
                  <a:pt x="63" y="155"/>
                </a:lnTo>
                <a:lnTo>
                  <a:pt x="52" y="152"/>
                </a:lnTo>
                <a:lnTo>
                  <a:pt x="42" y="148"/>
                </a:lnTo>
                <a:lnTo>
                  <a:pt x="32" y="143"/>
                </a:lnTo>
                <a:lnTo>
                  <a:pt x="34" y="143"/>
                </a:lnTo>
                <a:lnTo>
                  <a:pt x="35" y="143"/>
                </a:lnTo>
                <a:lnTo>
                  <a:pt x="36" y="142"/>
                </a:lnTo>
                <a:lnTo>
                  <a:pt x="38" y="140"/>
                </a:lnTo>
                <a:lnTo>
                  <a:pt x="39" y="137"/>
                </a:lnTo>
                <a:lnTo>
                  <a:pt x="40" y="133"/>
                </a:lnTo>
                <a:lnTo>
                  <a:pt x="41" y="131"/>
                </a:lnTo>
                <a:lnTo>
                  <a:pt x="42" y="125"/>
                </a:lnTo>
                <a:lnTo>
                  <a:pt x="43" y="120"/>
                </a:lnTo>
                <a:lnTo>
                  <a:pt x="43" y="115"/>
                </a:lnTo>
                <a:lnTo>
                  <a:pt x="44" y="111"/>
                </a:lnTo>
                <a:lnTo>
                  <a:pt x="43" y="103"/>
                </a:lnTo>
                <a:lnTo>
                  <a:pt x="42" y="97"/>
                </a:lnTo>
                <a:lnTo>
                  <a:pt x="40" y="89"/>
                </a:lnTo>
                <a:lnTo>
                  <a:pt x="38" y="83"/>
                </a:lnTo>
                <a:lnTo>
                  <a:pt x="35" y="78"/>
                </a:lnTo>
                <a:lnTo>
                  <a:pt x="34" y="75"/>
                </a:lnTo>
                <a:lnTo>
                  <a:pt x="32" y="72"/>
                </a:lnTo>
                <a:lnTo>
                  <a:pt x="31" y="70"/>
                </a:lnTo>
                <a:lnTo>
                  <a:pt x="29" y="68"/>
                </a:lnTo>
                <a:lnTo>
                  <a:pt x="27" y="66"/>
                </a:lnTo>
                <a:lnTo>
                  <a:pt x="26" y="66"/>
                </a:lnTo>
                <a:lnTo>
                  <a:pt x="23" y="65"/>
                </a:lnTo>
                <a:lnTo>
                  <a:pt x="22" y="65"/>
                </a:lnTo>
                <a:lnTo>
                  <a:pt x="17" y="63"/>
                </a:lnTo>
                <a:lnTo>
                  <a:pt x="12" y="62"/>
                </a:lnTo>
                <a:lnTo>
                  <a:pt x="9" y="61"/>
                </a:lnTo>
                <a:lnTo>
                  <a:pt x="5" y="59"/>
                </a:lnTo>
                <a:lnTo>
                  <a:pt x="3" y="57"/>
                </a:lnTo>
                <a:lnTo>
                  <a:pt x="0" y="52"/>
                </a:lnTo>
                <a:lnTo>
                  <a:pt x="0" y="50"/>
                </a:lnTo>
                <a:lnTo>
                  <a:pt x="0" y="47"/>
                </a:lnTo>
                <a:lnTo>
                  <a:pt x="4" y="44"/>
                </a:lnTo>
                <a:lnTo>
                  <a:pt x="9" y="41"/>
                </a:lnTo>
                <a:lnTo>
                  <a:pt x="12" y="39"/>
                </a:lnTo>
                <a:lnTo>
                  <a:pt x="16" y="38"/>
                </a:lnTo>
                <a:lnTo>
                  <a:pt x="17" y="38"/>
                </a:lnTo>
                <a:lnTo>
                  <a:pt x="20" y="38"/>
                </a:lnTo>
                <a:lnTo>
                  <a:pt x="22" y="39"/>
                </a:lnTo>
                <a:lnTo>
                  <a:pt x="25" y="41"/>
                </a:lnTo>
                <a:lnTo>
                  <a:pt x="28" y="43"/>
                </a:lnTo>
                <a:lnTo>
                  <a:pt x="30" y="44"/>
                </a:lnTo>
                <a:lnTo>
                  <a:pt x="32" y="44"/>
                </a:lnTo>
                <a:lnTo>
                  <a:pt x="35" y="44"/>
                </a:lnTo>
                <a:lnTo>
                  <a:pt x="38" y="43"/>
                </a:lnTo>
                <a:lnTo>
                  <a:pt x="38" y="41"/>
                </a:lnTo>
                <a:lnTo>
                  <a:pt x="38" y="38"/>
                </a:lnTo>
                <a:lnTo>
                  <a:pt x="38" y="37"/>
                </a:lnTo>
                <a:lnTo>
                  <a:pt x="38" y="35"/>
                </a:lnTo>
                <a:lnTo>
                  <a:pt x="35" y="35"/>
                </a:lnTo>
                <a:lnTo>
                  <a:pt x="35" y="26"/>
                </a:lnTo>
                <a:lnTo>
                  <a:pt x="38" y="26"/>
                </a:lnTo>
                <a:lnTo>
                  <a:pt x="40" y="27"/>
                </a:lnTo>
                <a:lnTo>
                  <a:pt x="45" y="28"/>
                </a:lnTo>
                <a:lnTo>
                  <a:pt x="49" y="30"/>
                </a:lnTo>
                <a:lnTo>
                  <a:pt x="52" y="31"/>
                </a:lnTo>
                <a:lnTo>
                  <a:pt x="55" y="31"/>
                </a:lnTo>
                <a:lnTo>
                  <a:pt x="56" y="31"/>
                </a:lnTo>
                <a:lnTo>
                  <a:pt x="57" y="30"/>
                </a:lnTo>
                <a:lnTo>
                  <a:pt x="58" y="28"/>
                </a:lnTo>
                <a:lnTo>
                  <a:pt x="60" y="25"/>
                </a:lnTo>
                <a:lnTo>
                  <a:pt x="61" y="22"/>
                </a:lnTo>
                <a:lnTo>
                  <a:pt x="62" y="20"/>
                </a:lnTo>
                <a:lnTo>
                  <a:pt x="65" y="19"/>
                </a:lnTo>
                <a:lnTo>
                  <a:pt x="71" y="15"/>
                </a:lnTo>
                <a:lnTo>
                  <a:pt x="74" y="13"/>
                </a:lnTo>
                <a:lnTo>
                  <a:pt x="74" y="12"/>
                </a:lnTo>
                <a:lnTo>
                  <a:pt x="75" y="10"/>
                </a:lnTo>
                <a:lnTo>
                  <a:pt x="77" y="7"/>
                </a:lnTo>
                <a:lnTo>
                  <a:pt x="77" y="5"/>
                </a:lnTo>
                <a:lnTo>
                  <a:pt x="78" y="3"/>
                </a:lnTo>
                <a:lnTo>
                  <a:pt x="83" y="0"/>
                </a:lnTo>
                <a:lnTo>
                  <a:pt x="87" y="0"/>
                </a:lnTo>
                <a:lnTo>
                  <a:pt x="88" y="1"/>
                </a:lnTo>
                <a:lnTo>
                  <a:pt x="90" y="4"/>
                </a:lnTo>
                <a:lnTo>
                  <a:pt x="92" y="7"/>
                </a:lnTo>
                <a:lnTo>
                  <a:pt x="94" y="9"/>
                </a:lnTo>
                <a:lnTo>
                  <a:pt x="97" y="10"/>
                </a:lnTo>
                <a:lnTo>
                  <a:pt x="101" y="12"/>
                </a:lnTo>
                <a:lnTo>
                  <a:pt x="104" y="13"/>
                </a:lnTo>
                <a:lnTo>
                  <a:pt x="106" y="13"/>
                </a:lnTo>
                <a:lnTo>
                  <a:pt x="106" y="15"/>
                </a:lnTo>
                <a:lnTo>
                  <a:pt x="107" y="17"/>
                </a:lnTo>
                <a:lnTo>
                  <a:pt x="107" y="19"/>
                </a:lnTo>
                <a:lnTo>
                  <a:pt x="109" y="20"/>
                </a:lnTo>
                <a:lnTo>
                  <a:pt x="112" y="21"/>
                </a:lnTo>
                <a:lnTo>
                  <a:pt x="114" y="21"/>
                </a:lnTo>
                <a:lnTo>
                  <a:pt x="116" y="20"/>
                </a:lnTo>
                <a:lnTo>
                  <a:pt x="116" y="21"/>
                </a:lnTo>
                <a:lnTo>
                  <a:pt x="116" y="22"/>
                </a:lnTo>
                <a:lnTo>
                  <a:pt x="118" y="22"/>
                </a:lnTo>
                <a:lnTo>
                  <a:pt x="119" y="23"/>
                </a:lnTo>
                <a:lnTo>
                  <a:pt x="120" y="25"/>
                </a:lnTo>
                <a:lnTo>
                  <a:pt x="120" y="27"/>
                </a:lnTo>
                <a:lnTo>
                  <a:pt x="123" y="28"/>
                </a:lnTo>
                <a:lnTo>
                  <a:pt x="124" y="29"/>
                </a:lnTo>
                <a:lnTo>
                  <a:pt x="129" y="29"/>
                </a:lnTo>
                <a:lnTo>
                  <a:pt x="133" y="29"/>
                </a:lnTo>
                <a:lnTo>
                  <a:pt x="136" y="29"/>
                </a:lnTo>
                <a:lnTo>
                  <a:pt x="138" y="30"/>
                </a:lnTo>
                <a:lnTo>
                  <a:pt x="143" y="34"/>
                </a:lnTo>
                <a:lnTo>
                  <a:pt x="150" y="36"/>
                </a:lnTo>
                <a:lnTo>
                  <a:pt x="154" y="37"/>
                </a:lnTo>
                <a:lnTo>
                  <a:pt x="156" y="37"/>
                </a:lnTo>
                <a:lnTo>
                  <a:pt x="155" y="45"/>
                </a:lnTo>
                <a:lnTo>
                  <a:pt x="155" y="50"/>
                </a:lnTo>
                <a:lnTo>
                  <a:pt x="154" y="56"/>
                </a:lnTo>
                <a:lnTo>
                  <a:pt x="153" y="60"/>
                </a:lnTo>
                <a:lnTo>
                  <a:pt x="151" y="63"/>
                </a:lnTo>
                <a:lnTo>
                  <a:pt x="149" y="66"/>
                </a:lnTo>
                <a:lnTo>
                  <a:pt x="147" y="66"/>
                </a:lnTo>
                <a:lnTo>
                  <a:pt x="146" y="66"/>
                </a:lnTo>
                <a:lnTo>
                  <a:pt x="146" y="70"/>
                </a:lnTo>
                <a:lnTo>
                  <a:pt x="146" y="72"/>
                </a:lnTo>
                <a:lnTo>
                  <a:pt x="143" y="73"/>
                </a:lnTo>
                <a:lnTo>
                  <a:pt x="142" y="74"/>
                </a:lnTo>
                <a:lnTo>
                  <a:pt x="140" y="76"/>
                </a:lnTo>
                <a:lnTo>
                  <a:pt x="139" y="76"/>
                </a:lnTo>
                <a:lnTo>
                  <a:pt x="136" y="80"/>
                </a:lnTo>
                <a:lnTo>
                  <a:pt x="134" y="84"/>
                </a:lnTo>
                <a:lnTo>
                  <a:pt x="134" y="93"/>
                </a:lnTo>
                <a:lnTo>
                  <a:pt x="136" y="92"/>
                </a:lnTo>
                <a:lnTo>
                  <a:pt x="137" y="92"/>
                </a:lnTo>
                <a:lnTo>
                  <a:pt x="138" y="88"/>
                </a:lnTo>
                <a:lnTo>
                  <a:pt x="142" y="89"/>
                </a:lnTo>
                <a:lnTo>
                  <a:pt x="142" y="88"/>
                </a:lnTo>
                <a:lnTo>
                  <a:pt x="143" y="88"/>
                </a:lnTo>
                <a:lnTo>
                  <a:pt x="145" y="94"/>
                </a:lnTo>
                <a:lnTo>
                  <a:pt x="145" y="98"/>
                </a:lnTo>
                <a:lnTo>
                  <a:pt x="145" y="101"/>
                </a:lnTo>
                <a:lnTo>
                  <a:pt x="146" y="102"/>
                </a:lnTo>
                <a:lnTo>
                  <a:pt x="148" y="105"/>
                </a:lnTo>
                <a:lnTo>
                  <a:pt x="148" y="106"/>
                </a:lnTo>
                <a:lnTo>
                  <a:pt x="142" y="112"/>
                </a:lnTo>
                <a:lnTo>
                  <a:pt x="148" y="124"/>
                </a:lnTo>
                <a:lnTo>
                  <a:pt x="150" y="126"/>
                </a:lnTo>
                <a:lnTo>
                  <a:pt x="152" y="129"/>
                </a:lnTo>
                <a:lnTo>
                  <a:pt x="154" y="131"/>
                </a:lnTo>
                <a:lnTo>
                  <a:pt x="156" y="133"/>
                </a:lnTo>
                <a:lnTo>
                  <a:pt x="159" y="133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54" name="Freeform 153">
            <a:extLst>
              <a:ext uri="{FF2B5EF4-FFF2-40B4-BE49-F238E27FC236}">
                <a16:creationId xmlns:a16="http://schemas.microsoft.com/office/drawing/2014/main" id="{E0F50372-D9C6-68BA-7C86-7EB659B61541}"/>
              </a:ext>
            </a:extLst>
          </p:cNvPr>
          <p:cNvSpPr>
            <a:spLocks/>
          </p:cNvSpPr>
          <p:nvPr/>
        </p:nvSpPr>
        <p:spPr bwMode="auto">
          <a:xfrm>
            <a:off x="6200150" y="3225646"/>
            <a:ext cx="95250" cy="69850"/>
          </a:xfrm>
          <a:custGeom>
            <a:avLst/>
            <a:gdLst>
              <a:gd name="T0" fmla="*/ 39 w 47"/>
              <a:gd name="T1" fmla="*/ 36 h 37"/>
              <a:gd name="T2" fmla="*/ 39 w 47"/>
              <a:gd name="T3" fmla="*/ 36 h 37"/>
              <a:gd name="T4" fmla="*/ 39 w 47"/>
              <a:gd name="T5" fmla="*/ 33 h 37"/>
              <a:gd name="T6" fmla="*/ 39 w 47"/>
              <a:gd name="T7" fmla="*/ 32 h 37"/>
              <a:gd name="T8" fmla="*/ 39 w 47"/>
              <a:gd name="T9" fmla="*/ 29 h 37"/>
              <a:gd name="T10" fmla="*/ 39 w 47"/>
              <a:gd name="T11" fmla="*/ 28 h 37"/>
              <a:gd name="T12" fmla="*/ 39 w 47"/>
              <a:gd name="T13" fmla="*/ 26 h 37"/>
              <a:gd name="T14" fmla="*/ 40 w 47"/>
              <a:gd name="T15" fmla="*/ 25 h 37"/>
              <a:gd name="T16" fmla="*/ 42 w 47"/>
              <a:gd name="T17" fmla="*/ 24 h 37"/>
              <a:gd name="T18" fmla="*/ 45 w 47"/>
              <a:gd name="T19" fmla="*/ 21 h 37"/>
              <a:gd name="T20" fmla="*/ 46 w 47"/>
              <a:gd name="T21" fmla="*/ 19 h 37"/>
              <a:gd name="T22" fmla="*/ 46 w 47"/>
              <a:gd name="T23" fmla="*/ 16 h 37"/>
              <a:gd name="T24" fmla="*/ 45 w 47"/>
              <a:gd name="T25" fmla="*/ 14 h 37"/>
              <a:gd name="T26" fmla="*/ 44 w 47"/>
              <a:gd name="T27" fmla="*/ 11 h 37"/>
              <a:gd name="T28" fmla="*/ 41 w 47"/>
              <a:gd name="T29" fmla="*/ 9 h 37"/>
              <a:gd name="T30" fmla="*/ 39 w 47"/>
              <a:gd name="T31" fmla="*/ 6 h 37"/>
              <a:gd name="T32" fmla="*/ 35 w 47"/>
              <a:gd name="T33" fmla="*/ 4 h 37"/>
              <a:gd name="T34" fmla="*/ 31 w 47"/>
              <a:gd name="T35" fmla="*/ 2 h 37"/>
              <a:gd name="T36" fmla="*/ 26 w 47"/>
              <a:gd name="T37" fmla="*/ 0 h 37"/>
              <a:gd name="T38" fmla="*/ 13 w 47"/>
              <a:gd name="T39" fmla="*/ 4 h 37"/>
              <a:gd name="T40" fmla="*/ 11 w 47"/>
              <a:gd name="T41" fmla="*/ 4 h 37"/>
              <a:gd name="T42" fmla="*/ 10 w 47"/>
              <a:gd name="T43" fmla="*/ 3 h 37"/>
              <a:gd name="T44" fmla="*/ 9 w 47"/>
              <a:gd name="T45" fmla="*/ 0 h 37"/>
              <a:gd name="T46" fmla="*/ 4 w 47"/>
              <a:gd name="T47" fmla="*/ 3 h 37"/>
              <a:gd name="T48" fmla="*/ 0 w 47"/>
              <a:gd name="T49" fmla="*/ 6 h 37"/>
              <a:gd name="T50" fmla="*/ 0 w 47"/>
              <a:gd name="T51" fmla="*/ 7 h 37"/>
              <a:gd name="T52" fmla="*/ 2 w 47"/>
              <a:gd name="T53" fmla="*/ 10 h 37"/>
              <a:gd name="T54" fmla="*/ 4 w 47"/>
              <a:gd name="T55" fmla="*/ 13 h 37"/>
              <a:gd name="T56" fmla="*/ 6 w 47"/>
              <a:gd name="T57" fmla="*/ 15 h 37"/>
              <a:gd name="T58" fmla="*/ 9 w 47"/>
              <a:gd name="T59" fmla="*/ 16 h 37"/>
              <a:gd name="T60" fmla="*/ 13 w 47"/>
              <a:gd name="T61" fmla="*/ 19 h 37"/>
              <a:gd name="T62" fmla="*/ 16 w 47"/>
              <a:gd name="T63" fmla="*/ 19 h 37"/>
              <a:gd name="T64" fmla="*/ 18 w 47"/>
              <a:gd name="T65" fmla="*/ 19 h 37"/>
              <a:gd name="T66" fmla="*/ 18 w 47"/>
              <a:gd name="T67" fmla="*/ 21 h 37"/>
              <a:gd name="T68" fmla="*/ 18 w 47"/>
              <a:gd name="T69" fmla="*/ 23 h 37"/>
              <a:gd name="T70" fmla="*/ 19 w 47"/>
              <a:gd name="T71" fmla="*/ 25 h 37"/>
              <a:gd name="T72" fmla="*/ 21 w 47"/>
              <a:gd name="T73" fmla="*/ 26 h 37"/>
              <a:gd name="T74" fmla="*/ 24 w 47"/>
              <a:gd name="T75" fmla="*/ 27 h 37"/>
              <a:gd name="T76" fmla="*/ 26 w 47"/>
              <a:gd name="T77" fmla="*/ 27 h 37"/>
              <a:gd name="T78" fmla="*/ 27 w 47"/>
              <a:gd name="T79" fmla="*/ 26 h 37"/>
              <a:gd name="T80" fmla="*/ 27 w 47"/>
              <a:gd name="T81" fmla="*/ 27 h 37"/>
              <a:gd name="T82" fmla="*/ 28 w 47"/>
              <a:gd name="T83" fmla="*/ 28 h 37"/>
              <a:gd name="T84" fmla="*/ 30 w 47"/>
              <a:gd name="T85" fmla="*/ 29 h 37"/>
              <a:gd name="T86" fmla="*/ 31 w 47"/>
              <a:gd name="T87" fmla="*/ 32 h 37"/>
              <a:gd name="T88" fmla="*/ 32 w 47"/>
              <a:gd name="T89" fmla="*/ 32 h 37"/>
              <a:gd name="T90" fmla="*/ 33 w 47"/>
              <a:gd name="T91" fmla="*/ 33 h 37"/>
              <a:gd name="T92" fmla="*/ 34 w 47"/>
              <a:gd name="T93" fmla="*/ 34 h 37"/>
              <a:gd name="T94" fmla="*/ 36 w 47"/>
              <a:gd name="T95" fmla="*/ 36 h 37"/>
              <a:gd name="T96" fmla="*/ 40 w 47"/>
              <a:gd name="T97" fmla="*/ 36 h 37"/>
              <a:gd name="T98" fmla="*/ 39 w 47"/>
              <a:gd name="T99" fmla="*/ 36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47" h="37">
                <a:moveTo>
                  <a:pt x="39" y="36"/>
                </a:moveTo>
                <a:lnTo>
                  <a:pt x="39" y="36"/>
                </a:lnTo>
                <a:lnTo>
                  <a:pt x="39" y="33"/>
                </a:lnTo>
                <a:lnTo>
                  <a:pt x="39" y="32"/>
                </a:lnTo>
                <a:lnTo>
                  <a:pt x="39" y="29"/>
                </a:lnTo>
                <a:lnTo>
                  <a:pt x="39" y="28"/>
                </a:lnTo>
                <a:lnTo>
                  <a:pt x="39" y="26"/>
                </a:lnTo>
                <a:lnTo>
                  <a:pt x="40" y="25"/>
                </a:lnTo>
                <a:lnTo>
                  <a:pt x="42" y="24"/>
                </a:lnTo>
                <a:lnTo>
                  <a:pt x="45" y="21"/>
                </a:lnTo>
                <a:lnTo>
                  <a:pt x="46" y="19"/>
                </a:lnTo>
                <a:lnTo>
                  <a:pt x="46" y="16"/>
                </a:lnTo>
                <a:lnTo>
                  <a:pt x="45" y="14"/>
                </a:lnTo>
                <a:lnTo>
                  <a:pt x="44" y="11"/>
                </a:lnTo>
                <a:lnTo>
                  <a:pt x="41" y="9"/>
                </a:lnTo>
                <a:lnTo>
                  <a:pt x="39" y="6"/>
                </a:lnTo>
                <a:lnTo>
                  <a:pt x="35" y="4"/>
                </a:lnTo>
                <a:lnTo>
                  <a:pt x="31" y="2"/>
                </a:lnTo>
                <a:lnTo>
                  <a:pt x="26" y="0"/>
                </a:lnTo>
                <a:lnTo>
                  <a:pt x="13" y="4"/>
                </a:lnTo>
                <a:lnTo>
                  <a:pt x="11" y="4"/>
                </a:lnTo>
                <a:lnTo>
                  <a:pt x="10" y="3"/>
                </a:lnTo>
                <a:lnTo>
                  <a:pt x="9" y="0"/>
                </a:lnTo>
                <a:lnTo>
                  <a:pt x="4" y="3"/>
                </a:lnTo>
                <a:lnTo>
                  <a:pt x="0" y="6"/>
                </a:lnTo>
                <a:lnTo>
                  <a:pt x="0" y="7"/>
                </a:lnTo>
                <a:lnTo>
                  <a:pt x="2" y="10"/>
                </a:lnTo>
                <a:lnTo>
                  <a:pt x="4" y="13"/>
                </a:lnTo>
                <a:lnTo>
                  <a:pt x="6" y="15"/>
                </a:lnTo>
                <a:lnTo>
                  <a:pt x="9" y="16"/>
                </a:lnTo>
                <a:lnTo>
                  <a:pt x="13" y="19"/>
                </a:lnTo>
                <a:lnTo>
                  <a:pt x="16" y="19"/>
                </a:lnTo>
                <a:lnTo>
                  <a:pt x="18" y="19"/>
                </a:lnTo>
                <a:lnTo>
                  <a:pt x="18" y="21"/>
                </a:lnTo>
                <a:lnTo>
                  <a:pt x="18" y="23"/>
                </a:lnTo>
                <a:lnTo>
                  <a:pt x="19" y="25"/>
                </a:lnTo>
                <a:lnTo>
                  <a:pt x="21" y="26"/>
                </a:lnTo>
                <a:lnTo>
                  <a:pt x="24" y="27"/>
                </a:lnTo>
                <a:lnTo>
                  <a:pt x="26" y="27"/>
                </a:lnTo>
                <a:lnTo>
                  <a:pt x="27" y="26"/>
                </a:lnTo>
                <a:lnTo>
                  <a:pt x="27" y="27"/>
                </a:lnTo>
                <a:lnTo>
                  <a:pt x="28" y="28"/>
                </a:lnTo>
                <a:lnTo>
                  <a:pt x="30" y="29"/>
                </a:lnTo>
                <a:lnTo>
                  <a:pt x="31" y="32"/>
                </a:lnTo>
                <a:lnTo>
                  <a:pt x="32" y="32"/>
                </a:lnTo>
                <a:lnTo>
                  <a:pt x="33" y="33"/>
                </a:lnTo>
                <a:lnTo>
                  <a:pt x="34" y="34"/>
                </a:lnTo>
                <a:lnTo>
                  <a:pt x="36" y="36"/>
                </a:lnTo>
                <a:lnTo>
                  <a:pt x="40" y="36"/>
                </a:lnTo>
                <a:lnTo>
                  <a:pt x="39" y="36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55" name="Freeform 154">
            <a:extLst>
              <a:ext uri="{FF2B5EF4-FFF2-40B4-BE49-F238E27FC236}">
                <a16:creationId xmlns:a16="http://schemas.microsoft.com/office/drawing/2014/main" id="{B694984A-DF7C-89A0-2D9F-E9655CF43E48}"/>
              </a:ext>
            </a:extLst>
          </p:cNvPr>
          <p:cNvSpPr>
            <a:spLocks/>
          </p:cNvSpPr>
          <p:nvPr/>
        </p:nvSpPr>
        <p:spPr bwMode="auto">
          <a:xfrm>
            <a:off x="6282700" y="3263746"/>
            <a:ext cx="34925" cy="34925"/>
          </a:xfrm>
          <a:custGeom>
            <a:avLst/>
            <a:gdLst>
              <a:gd name="T0" fmla="*/ 9 w 17"/>
              <a:gd name="T1" fmla="*/ 0 h 18"/>
              <a:gd name="T2" fmla="*/ 6 w 17"/>
              <a:gd name="T3" fmla="*/ 3 h 18"/>
              <a:gd name="T4" fmla="*/ 3 w 17"/>
              <a:gd name="T5" fmla="*/ 4 h 18"/>
              <a:gd name="T6" fmla="*/ 2 w 17"/>
              <a:gd name="T7" fmla="*/ 4 h 18"/>
              <a:gd name="T8" fmla="*/ 1 w 17"/>
              <a:gd name="T9" fmla="*/ 6 h 18"/>
              <a:gd name="T10" fmla="*/ 0 w 17"/>
              <a:gd name="T11" fmla="*/ 7 h 18"/>
              <a:gd name="T12" fmla="*/ 0 w 17"/>
              <a:gd name="T13" fmla="*/ 9 h 18"/>
              <a:gd name="T14" fmla="*/ 0 w 17"/>
              <a:gd name="T15" fmla="*/ 11 h 18"/>
              <a:gd name="T16" fmla="*/ 1 w 17"/>
              <a:gd name="T17" fmla="*/ 12 h 18"/>
              <a:gd name="T18" fmla="*/ 2 w 17"/>
              <a:gd name="T19" fmla="*/ 13 h 18"/>
              <a:gd name="T20" fmla="*/ 2 w 17"/>
              <a:gd name="T21" fmla="*/ 15 h 18"/>
              <a:gd name="T22" fmla="*/ 8 w 17"/>
              <a:gd name="T23" fmla="*/ 15 h 18"/>
              <a:gd name="T24" fmla="*/ 12 w 17"/>
              <a:gd name="T25" fmla="*/ 15 h 18"/>
              <a:gd name="T26" fmla="*/ 16 w 17"/>
              <a:gd name="T27" fmla="*/ 16 h 18"/>
              <a:gd name="T28" fmla="*/ 14 w 17"/>
              <a:gd name="T29" fmla="*/ 17 h 18"/>
              <a:gd name="T30" fmla="*/ 14 w 17"/>
              <a:gd name="T31" fmla="*/ 13 h 18"/>
              <a:gd name="T32" fmla="*/ 14 w 17"/>
              <a:gd name="T33" fmla="*/ 12 h 18"/>
              <a:gd name="T34" fmla="*/ 13 w 17"/>
              <a:gd name="T35" fmla="*/ 8 h 18"/>
              <a:gd name="T36" fmla="*/ 10 w 17"/>
              <a:gd name="T37" fmla="*/ 4 h 18"/>
              <a:gd name="T38" fmla="*/ 8 w 17"/>
              <a:gd name="T39" fmla="*/ 0 h 18"/>
              <a:gd name="T40" fmla="*/ 9 w 17"/>
              <a:gd name="T41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7" h="18">
                <a:moveTo>
                  <a:pt x="9" y="0"/>
                </a:moveTo>
                <a:lnTo>
                  <a:pt x="6" y="3"/>
                </a:lnTo>
                <a:lnTo>
                  <a:pt x="3" y="4"/>
                </a:lnTo>
                <a:lnTo>
                  <a:pt x="2" y="4"/>
                </a:lnTo>
                <a:lnTo>
                  <a:pt x="1" y="6"/>
                </a:lnTo>
                <a:lnTo>
                  <a:pt x="0" y="7"/>
                </a:lnTo>
                <a:lnTo>
                  <a:pt x="0" y="9"/>
                </a:lnTo>
                <a:lnTo>
                  <a:pt x="0" y="11"/>
                </a:lnTo>
                <a:lnTo>
                  <a:pt x="1" y="12"/>
                </a:lnTo>
                <a:lnTo>
                  <a:pt x="2" y="13"/>
                </a:lnTo>
                <a:lnTo>
                  <a:pt x="2" y="15"/>
                </a:lnTo>
                <a:lnTo>
                  <a:pt x="8" y="15"/>
                </a:lnTo>
                <a:lnTo>
                  <a:pt x="12" y="15"/>
                </a:lnTo>
                <a:lnTo>
                  <a:pt x="16" y="16"/>
                </a:lnTo>
                <a:lnTo>
                  <a:pt x="14" y="17"/>
                </a:lnTo>
                <a:lnTo>
                  <a:pt x="14" y="13"/>
                </a:lnTo>
                <a:lnTo>
                  <a:pt x="14" y="12"/>
                </a:lnTo>
                <a:lnTo>
                  <a:pt x="13" y="8"/>
                </a:lnTo>
                <a:lnTo>
                  <a:pt x="10" y="4"/>
                </a:lnTo>
                <a:lnTo>
                  <a:pt x="8" y="0"/>
                </a:lnTo>
                <a:lnTo>
                  <a:pt x="9" y="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56" name="Freeform 155">
            <a:extLst>
              <a:ext uri="{FF2B5EF4-FFF2-40B4-BE49-F238E27FC236}">
                <a16:creationId xmlns:a16="http://schemas.microsoft.com/office/drawing/2014/main" id="{A8B6F0EA-BB43-8F46-D2CC-EF3C6B2C8DF0}"/>
              </a:ext>
            </a:extLst>
          </p:cNvPr>
          <p:cNvSpPr>
            <a:spLocks/>
          </p:cNvSpPr>
          <p:nvPr/>
        </p:nvSpPr>
        <p:spPr bwMode="auto">
          <a:xfrm>
            <a:off x="6220788" y="3144684"/>
            <a:ext cx="93663" cy="100013"/>
          </a:xfrm>
          <a:custGeom>
            <a:avLst/>
            <a:gdLst>
              <a:gd name="T0" fmla="*/ 44 w 46"/>
              <a:gd name="T1" fmla="*/ 0 h 53"/>
              <a:gd name="T2" fmla="*/ 44 w 46"/>
              <a:gd name="T3" fmla="*/ 10 h 53"/>
              <a:gd name="T4" fmla="*/ 44 w 46"/>
              <a:gd name="T5" fmla="*/ 14 h 53"/>
              <a:gd name="T6" fmla="*/ 43 w 46"/>
              <a:gd name="T7" fmla="*/ 17 h 53"/>
              <a:gd name="T8" fmla="*/ 42 w 46"/>
              <a:gd name="T9" fmla="*/ 20 h 53"/>
              <a:gd name="T10" fmla="*/ 41 w 46"/>
              <a:gd name="T11" fmla="*/ 22 h 53"/>
              <a:gd name="T12" fmla="*/ 42 w 46"/>
              <a:gd name="T13" fmla="*/ 22 h 53"/>
              <a:gd name="T14" fmla="*/ 44 w 46"/>
              <a:gd name="T15" fmla="*/ 22 h 53"/>
              <a:gd name="T16" fmla="*/ 43 w 46"/>
              <a:gd name="T17" fmla="*/ 27 h 53"/>
              <a:gd name="T18" fmla="*/ 41 w 46"/>
              <a:gd name="T19" fmla="*/ 30 h 53"/>
              <a:gd name="T20" fmla="*/ 39 w 46"/>
              <a:gd name="T21" fmla="*/ 32 h 53"/>
              <a:gd name="T22" fmla="*/ 39 w 46"/>
              <a:gd name="T23" fmla="*/ 35 h 53"/>
              <a:gd name="T24" fmla="*/ 36 w 46"/>
              <a:gd name="T25" fmla="*/ 36 h 53"/>
              <a:gd name="T26" fmla="*/ 36 w 46"/>
              <a:gd name="T27" fmla="*/ 39 h 53"/>
              <a:gd name="T28" fmla="*/ 35 w 46"/>
              <a:gd name="T29" fmla="*/ 42 h 53"/>
              <a:gd name="T30" fmla="*/ 34 w 46"/>
              <a:gd name="T31" fmla="*/ 45 h 53"/>
              <a:gd name="T32" fmla="*/ 34 w 46"/>
              <a:gd name="T33" fmla="*/ 48 h 53"/>
              <a:gd name="T34" fmla="*/ 33 w 46"/>
              <a:gd name="T35" fmla="*/ 49 h 53"/>
              <a:gd name="T36" fmla="*/ 31 w 46"/>
              <a:gd name="T37" fmla="*/ 52 h 53"/>
              <a:gd name="T38" fmla="*/ 27 w 46"/>
              <a:gd name="T39" fmla="*/ 48 h 53"/>
              <a:gd name="T40" fmla="*/ 24 w 46"/>
              <a:gd name="T41" fmla="*/ 45 h 53"/>
              <a:gd name="T42" fmla="*/ 17 w 46"/>
              <a:gd name="T43" fmla="*/ 42 h 53"/>
              <a:gd name="T44" fmla="*/ 4 w 46"/>
              <a:gd name="T45" fmla="*/ 47 h 53"/>
              <a:gd name="T46" fmla="*/ 2 w 46"/>
              <a:gd name="T47" fmla="*/ 47 h 53"/>
              <a:gd name="T48" fmla="*/ 1 w 46"/>
              <a:gd name="T49" fmla="*/ 45 h 53"/>
              <a:gd name="T50" fmla="*/ 0 w 46"/>
              <a:gd name="T51" fmla="*/ 43 h 53"/>
              <a:gd name="T52" fmla="*/ 4 w 46"/>
              <a:gd name="T53" fmla="*/ 40 h 53"/>
              <a:gd name="T54" fmla="*/ 9 w 46"/>
              <a:gd name="T55" fmla="*/ 36 h 53"/>
              <a:gd name="T56" fmla="*/ 9 w 46"/>
              <a:gd name="T57" fmla="*/ 35 h 53"/>
              <a:gd name="T58" fmla="*/ 10 w 46"/>
              <a:gd name="T59" fmla="*/ 35 h 53"/>
              <a:gd name="T60" fmla="*/ 12 w 46"/>
              <a:gd name="T61" fmla="*/ 31 h 53"/>
              <a:gd name="T62" fmla="*/ 14 w 46"/>
              <a:gd name="T63" fmla="*/ 23 h 53"/>
              <a:gd name="T64" fmla="*/ 15 w 46"/>
              <a:gd name="T65" fmla="*/ 20 h 53"/>
              <a:gd name="T66" fmla="*/ 16 w 46"/>
              <a:gd name="T67" fmla="*/ 18 h 53"/>
              <a:gd name="T68" fmla="*/ 17 w 46"/>
              <a:gd name="T69" fmla="*/ 17 h 53"/>
              <a:gd name="T70" fmla="*/ 21 w 46"/>
              <a:gd name="T71" fmla="*/ 14 h 53"/>
              <a:gd name="T72" fmla="*/ 22 w 46"/>
              <a:gd name="T73" fmla="*/ 13 h 53"/>
              <a:gd name="T74" fmla="*/ 24 w 46"/>
              <a:gd name="T75" fmla="*/ 13 h 53"/>
              <a:gd name="T76" fmla="*/ 25 w 46"/>
              <a:gd name="T77" fmla="*/ 10 h 53"/>
              <a:gd name="T78" fmla="*/ 27 w 46"/>
              <a:gd name="T79" fmla="*/ 8 h 53"/>
              <a:gd name="T80" fmla="*/ 28 w 46"/>
              <a:gd name="T81" fmla="*/ 6 h 53"/>
              <a:gd name="T82" fmla="*/ 32 w 46"/>
              <a:gd name="T83" fmla="*/ 4 h 53"/>
              <a:gd name="T84" fmla="*/ 35 w 46"/>
              <a:gd name="T85" fmla="*/ 3 h 53"/>
              <a:gd name="T86" fmla="*/ 39 w 46"/>
              <a:gd name="T87" fmla="*/ 1 h 53"/>
              <a:gd name="T88" fmla="*/ 41 w 46"/>
              <a:gd name="T89" fmla="*/ 0 h 53"/>
              <a:gd name="T90" fmla="*/ 45 w 46"/>
              <a:gd name="T91" fmla="*/ 0 h 53"/>
              <a:gd name="T92" fmla="*/ 44 w 46"/>
              <a:gd name="T93" fmla="*/ 0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6" h="53">
                <a:moveTo>
                  <a:pt x="44" y="0"/>
                </a:moveTo>
                <a:lnTo>
                  <a:pt x="44" y="10"/>
                </a:lnTo>
                <a:lnTo>
                  <a:pt x="44" y="14"/>
                </a:lnTo>
                <a:lnTo>
                  <a:pt x="43" y="17"/>
                </a:lnTo>
                <a:lnTo>
                  <a:pt x="42" y="20"/>
                </a:lnTo>
                <a:lnTo>
                  <a:pt x="41" y="22"/>
                </a:lnTo>
                <a:lnTo>
                  <a:pt x="42" y="22"/>
                </a:lnTo>
                <a:lnTo>
                  <a:pt x="44" y="22"/>
                </a:lnTo>
                <a:lnTo>
                  <a:pt x="43" y="27"/>
                </a:lnTo>
                <a:lnTo>
                  <a:pt x="41" y="30"/>
                </a:lnTo>
                <a:lnTo>
                  <a:pt x="39" y="32"/>
                </a:lnTo>
                <a:lnTo>
                  <a:pt x="39" y="35"/>
                </a:lnTo>
                <a:lnTo>
                  <a:pt x="36" y="36"/>
                </a:lnTo>
                <a:lnTo>
                  <a:pt x="36" y="39"/>
                </a:lnTo>
                <a:lnTo>
                  <a:pt x="35" y="42"/>
                </a:lnTo>
                <a:lnTo>
                  <a:pt x="34" y="45"/>
                </a:lnTo>
                <a:lnTo>
                  <a:pt x="34" y="48"/>
                </a:lnTo>
                <a:lnTo>
                  <a:pt x="33" y="49"/>
                </a:lnTo>
                <a:lnTo>
                  <a:pt x="31" y="52"/>
                </a:lnTo>
                <a:lnTo>
                  <a:pt x="27" y="48"/>
                </a:lnTo>
                <a:lnTo>
                  <a:pt x="24" y="45"/>
                </a:lnTo>
                <a:lnTo>
                  <a:pt x="17" y="42"/>
                </a:lnTo>
                <a:lnTo>
                  <a:pt x="4" y="47"/>
                </a:lnTo>
                <a:lnTo>
                  <a:pt x="2" y="47"/>
                </a:lnTo>
                <a:lnTo>
                  <a:pt x="1" y="45"/>
                </a:lnTo>
                <a:lnTo>
                  <a:pt x="0" y="43"/>
                </a:lnTo>
                <a:lnTo>
                  <a:pt x="4" y="40"/>
                </a:lnTo>
                <a:lnTo>
                  <a:pt x="9" y="36"/>
                </a:lnTo>
                <a:lnTo>
                  <a:pt x="9" y="35"/>
                </a:lnTo>
                <a:lnTo>
                  <a:pt x="10" y="35"/>
                </a:lnTo>
                <a:lnTo>
                  <a:pt x="12" y="31"/>
                </a:lnTo>
                <a:lnTo>
                  <a:pt x="14" y="23"/>
                </a:lnTo>
                <a:lnTo>
                  <a:pt x="15" y="20"/>
                </a:lnTo>
                <a:lnTo>
                  <a:pt x="16" y="18"/>
                </a:lnTo>
                <a:lnTo>
                  <a:pt x="17" y="17"/>
                </a:lnTo>
                <a:lnTo>
                  <a:pt x="21" y="14"/>
                </a:lnTo>
                <a:lnTo>
                  <a:pt x="22" y="13"/>
                </a:lnTo>
                <a:lnTo>
                  <a:pt x="24" y="13"/>
                </a:lnTo>
                <a:lnTo>
                  <a:pt x="25" y="10"/>
                </a:lnTo>
                <a:lnTo>
                  <a:pt x="27" y="8"/>
                </a:lnTo>
                <a:lnTo>
                  <a:pt x="28" y="6"/>
                </a:lnTo>
                <a:lnTo>
                  <a:pt x="32" y="4"/>
                </a:lnTo>
                <a:lnTo>
                  <a:pt x="35" y="3"/>
                </a:lnTo>
                <a:lnTo>
                  <a:pt x="39" y="1"/>
                </a:lnTo>
                <a:lnTo>
                  <a:pt x="41" y="0"/>
                </a:lnTo>
                <a:lnTo>
                  <a:pt x="45" y="0"/>
                </a:lnTo>
                <a:lnTo>
                  <a:pt x="44" y="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57" name="Freeform 156">
            <a:extLst>
              <a:ext uri="{FF2B5EF4-FFF2-40B4-BE49-F238E27FC236}">
                <a16:creationId xmlns:a16="http://schemas.microsoft.com/office/drawing/2014/main" id="{6522807D-B3E3-E389-265C-95735964A4B7}"/>
              </a:ext>
            </a:extLst>
          </p:cNvPr>
          <p:cNvSpPr>
            <a:spLocks/>
          </p:cNvSpPr>
          <p:nvPr/>
        </p:nvSpPr>
        <p:spPr bwMode="auto">
          <a:xfrm>
            <a:off x="6339850" y="3008159"/>
            <a:ext cx="55563" cy="104775"/>
          </a:xfrm>
          <a:custGeom>
            <a:avLst/>
            <a:gdLst>
              <a:gd name="T0" fmla="*/ 20 w 28"/>
              <a:gd name="T1" fmla="*/ 55 h 56"/>
              <a:gd name="T2" fmla="*/ 8 w 28"/>
              <a:gd name="T3" fmla="*/ 55 h 56"/>
              <a:gd name="T4" fmla="*/ 8 w 28"/>
              <a:gd name="T5" fmla="*/ 54 h 56"/>
              <a:gd name="T6" fmla="*/ 9 w 28"/>
              <a:gd name="T7" fmla="*/ 54 h 56"/>
              <a:gd name="T8" fmla="*/ 11 w 28"/>
              <a:gd name="T9" fmla="*/ 51 h 56"/>
              <a:gd name="T10" fmla="*/ 4 w 28"/>
              <a:gd name="T11" fmla="*/ 51 h 56"/>
              <a:gd name="T12" fmla="*/ 4 w 28"/>
              <a:gd name="T13" fmla="*/ 48 h 56"/>
              <a:gd name="T14" fmla="*/ 3 w 28"/>
              <a:gd name="T15" fmla="*/ 45 h 56"/>
              <a:gd name="T16" fmla="*/ 3 w 28"/>
              <a:gd name="T17" fmla="*/ 39 h 56"/>
              <a:gd name="T18" fmla="*/ 0 w 28"/>
              <a:gd name="T19" fmla="*/ 33 h 56"/>
              <a:gd name="T20" fmla="*/ 0 w 28"/>
              <a:gd name="T21" fmla="*/ 31 h 56"/>
              <a:gd name="T22" fmla="*/ 0 w 28"/>
              <a:gd name="T23" fmla="*/ 27 h 56"/>
              <a:gd name="T24" fmla="*/ 0 w 28"/>
              <a:gd name="T25" fmla="*/ 25 h 56"/>
              <a:gd name="T26" fmla="*/ 0 w 28"/>
              <a:gd name="T27" fmla="*/ 24 h 56"/>
              <a:gd name="T28" fmla="*/ 2 w 28"/>
              <a:gd name="T29" fmla="*/ 21 h 56"/>
              <a:gd name="T30" fmla="*/ 3 w 28"/>
              <a:gd name="T31" fmla="*/ 20 h 56"/>
              <a:gd name="T32" fmla="*/ 6 w 28"/>
              <a:gd name="T33" fmla="*/ 15 h 56"/>
              <a:gd name="T34" fmla="*/ 11 w 28"/>
              <a:gd name="T35" fmla="*/ 11 h 56"/>
              <a:gd name="T36" fmla="*/ 19 w 28"/>
              <a:gd name="T37" fmla="*/ 5 h 56"/>
              <a:gd name="T38" fmla="*/ 24 w 28"/>
              <a:gd name="T39" fmla="*/ 0 h 56"/>
              <a:gd name="T40" fmla="*/ 24 w 28"/>
              <a:gd name="T41" fmla="*/ 15 h 56"/>
              <a:gd name="T42" fmla="*/ 24 w 28"/>
              <a:gd name="T43" fmla="*/ 16 h 56"/>
              <a:gd name="T44" fmla="*/ 24 w 28"/>
              <a:gd name="T45" fmla="*/ 18 h 56"/>
              <a:gd name="T46" fmla="*/ 24 w 28"/>
              <a:gd name="T47" fmla="*/ 21 h 56"/>
              <a:gd name="T48" fmla="*/ 25 w 28"/>
              <a:gd name="T49" fmla="*/ 21 h 56"/>
              <a:gd name="T50" fmla="*/ 27 w 28"/>
              <a:gd name="T51" fmla="*/ 21 h 56"/>
              <a:gd name="T52" fmla="*/ 27 w 28"/>
              <a:gd name="T53" fmla="*/ 24 h 56"/>
              <a:gd name="T54" fmla="*/ 26 w 28"/>
              <a:gd name="T55" fmla="*/ 25 h 56"/>
              <a:gd name="T56" fmla="*/ 25 w 28"/>
              <a:gd name="T57" fmla="*/ 27 h 56"/>
              <a:gd name="T58" fmla="*/ 25 w 28"/>
              <a:gd name="T59" fmla="*/ 28 h 56"/>
              <a:gd name="T60" fmla="*/ 24 w 28"/>
              <a:gd name="T61" fmla="*/ 29 h 56"/>
              <a:gd name="T62" fmla="*/ 22 w 28"/>
              <a:gd name="T63" fmla="*/ 30 h 56"/>
              <a:gd name="T64" fmla="*/ 20 w 28"/>
              <a:gd name="T65" fmla="*/ 30 h 56"/>
              <a:gd name="T66" fmla="*/ 20 w 28"/>
              <a:gd name="T67" fmla="*/ 34 h 56"/>
              <a:gd name="T68" fmla="*/ 21 w 28"/>
              <a:gd name="T69" fmla="*/ 37 h 56"/>
              <a:gd name="T70" fmla="*/ 22 w 28"/>
              <a:gd name="T71" fmla="*/ 40 h 56"/>
              <a:gd name="T72" fmla="*/ 24 w 28"/>
              <a:gd name="T73" fmla="*/ 42 h 56"/>
              <a:gd name="T74" fmla="*/ 20 w 28"/>
              <a:gd name="T75" fmla="*/ 43 h 56"/>
              <a:gd name="T76" fmla="*/ 20 w 28"/>
              <a:gd name="T77" fmla="*/ 55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8" h="56">
                <a:moveTo>
                  <a:pt x="20" y="55"/>
                </a:moveTo>
                <a:lnTo>
                  <a:pt x="8" y="55"/>
                </a:lnTo>
                <a:lnTo>
                  <a:pt x="8" y="54"/>
                </a:lnTo>
                <a:lnTo>
                  <a:pt x="9" y="54"/>
                </a:lnTo>
                <a:lnTo>
                  <a:pt x="11" y="51"/>
                </a:lnTo>
                <a:lnTo>
                  <a:pt x="4" y="51"/>
                </a:lnTo>
                <a:lnTo>
                  <a:pt x="4" y="48"/>
                </a:lnTo>
                <a:lnTo>
                  <a:pt x="3" y="45"/>
                </a:lnTo>
                <a:lnTo>
                  <a:pt x="3" y="39"/>
                </a:lnTo>
                <a:lnTo>
                  <a:pt x="0" y="33"/>
                </a:lnTo>
                <a:lnTo>
                  <a:pt x="0" y="31"/>
                </a:lnTo>
                <a:lnTo>
                  <a:pt x="0" y="27"/>
                </a:lnTo>
                <a:lnTo>
                  <a:pt x="0" y="25"/>
                </a:lnTo>
                <a:lnTo>
                  <a:pt x="0" y="24"/>
                </a:lnTo>
                <a:lnTo>
                  <a:pt x="2" y="21"/>
                </a:lnTo>
                <a:lnTo>
                  <a:pt x="3" y="20"/>
                </a:lnTo>
                <a:lnTo>
                  <a:pt x="6" y="15"/>
                </a:lnTo>
                <a:lnTo>
                  <a:pt x="11" y="11"/>
                </a:lnTo>
                <a:lnTo>
                  <a:pt x="19" y="5"/>
                </a:lnTo>
                <a:lnTo>
                  <a:pt x="24" y="0"/>
                </a:lnTo>
                <a:lnTo>
                  <a:pt x="24" y="15"/>
                </a:lnTo>
                <a:lnTo>
                  <a:pt x="24" y="16"/>
                </a:lnTo>
                <a:lnTo>
                  <a:pt x="24" y="18"/>
                </a:lnTo>
                <a:lnTo>
                  <a:pt x="24" y="21"/>
                </a:lnTo>
                <a:lnTo>
                  <a:pt x="25" y="21"/>
                </a:lnTo>
                <a:lnTo>
                  <a:pt x="27" y="21"/>
                </a:lnTo>
                <a:lnTo>
                  <a:pt x="27" y="24"/>
                </a:lnTo>
                <a:lnTo>
                  <a:pt x="26" y="25"/>
                </a:lnTo>
                <a:lnTo>
                  <a:pt x="25" y="27"/>
                </a:lnTo>
                <a:lnTo>
                  <a:pt x="25" y="28"/>
                </a:lnTo>
                <a:lnTo>
                  <a:pt x="24" y="29"/>
                </a:lnTo>
                <a:lnTo>
                  <a:pt x="22" y="30"/>
                </a:lnTo>
                <a:lnTo>
                  <a:pt x="20" y="30"/>
                </a:lnTo>
                <a:lnTo>
                  <a:pt x="20" y="34"/>
                </a:lnTo>
                <a:lnTo>
                  <a:pt x="21" y="37"/>
                </a:lnTo>
                <a:lnTo>
                  <a:pt x="22" y="40"/>
                </a:lnTo>
                <a:lnTo>
                  <a:pt x="24" y="42"/>
                </a:lnTo>
                <a:lnTo>
                  <a:pt x="20" y="43"/>
                </a:lnTo>
                <a:lnTo>
                  <a:pt x="20" y="55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58" name="Freeform 157">
            <a:extLst>
              <a:ext uri="{FF2B5EF4-FFF2-40B4-BE49-F238E27FC236}">
                <a16:creationId xmlns:a16="http://schemas.microsoft.com/office/drawing/2014/main" id="{1DD034CA-0866-DA12-586F-53CCD5D1F694}"/>
              </a:ext>
            </a:extLst>
          </p:cNvPr>
          <p:cNvSpPr>
            <a:spLocks/>
          </p:cNvSpPr>
          <p:nvPr/>
        </p:nvSpPr>
        <p:spPr bwMode="auto">
          <a:xfrm>
            <a:off x="6284288" y="3111346"/>
            <a:ext cx="228600" cy="257175"/>
          </a:xfrm>
          <a:custGeom>
            <a:avLst/>
            <a:gdLst>
              <a:gd name="T0" fmla="*/ 24 w 113"/>
              <a:gd name="T1" fmla="*/ 134 h 138"/>
              <a:gd name="T2" fmla="*/ 36 w 113"/>
              <a:gd name="T3" fmla="*/ 131 h 138"/>
              <a:gd name="T4" fmla="*/ 47 w 113"/>
              <a:gd name="T5" fmla="*/ 134 h 138"/>
              <a:gd name="T6" fmla="*/ 54 w 113"/>
              <a:gd name="T7" fmla="*/ 137 h 138"/>
              <a:gd name="T8" fmla="*/ 71 w 113"/>
              <a:gd name="T9" fmla="*/ 135 h 138"/>
              <a:gd name="T10" fmla="*/ 91 w 113"/>
              <a:gd name="T11" fmla="*/ 130 h 138"/>
              <a:gd name="T12" fmla="*/ 92 w 113"/>
              <a:gd name="T13" fmla="*/ 121 h 138"/>
              <a:gd name="T14" fmla="*/ 96 w 113"/>
              <a:gd name="T15" fmla="*/ 116 h 138"/>
              <a:gd name="T16" fmla="*/ 100 w 113"/>
              <a:gd name="T17" fmla="*/ 111 h 138"/>
              <a:gd name="T18" fmla="*/ 89 w 113"/>
              <a:gd name="T19" fmla="*/ 100 h 138"/>
              <a:gd name="T20" fmla="*/ 80 w 113"/>
              <a:gd name="T21" fmla="*/ 88 h 138"/>
              <a:gd name="T22" fmla="*/ 105 w 113"/>
              <a:gd name="T23" fmla="*/ 71 h 138"/>
              <a:gd name="T24" fmla="*/ 112 w 113"/>
              <a:gd name="T25" fmla="*/ 71 h 138"/>
              <a:gd name="T26" fmla="*/ 106 w 113"/>
              <a:gd name="T27" fmla="*/ 49 h 138"/>
              <a:gd name="T28" fmla="*/ 102 w 113"/>
              <a:gd name="T29" fmla="*/ 14 h 138"/>
              <a:gd name="T30" fmla="*/ 96 w 113"/>
              <a:gd name="T31" fmla="*/ 8 h 138"/>
              <a:gd name="T32" fmla="*/ 89 w 113"/>
              <a:gd name="T33" fmla="*/ 3 h 138"/>
              <a:gd name="T34" fmla="*/ 80 w 113"/>
              <a:gd name="T35" fmla="*/ 3 h 138"/>
              <a:gd name="T36" fmla="*/ 73 w 113"/>
              <a:gd name="T37" fmla="*/ 8 h 138"/>
              <a:gd name="T38" fmla="*/ 67 w 113"/>
              <a:gd name="T39" fmla="*/ 14 h 138"/>
              <a:gd name="T40" fmla="*/ 57 w 113"/>
              <a:gd name="T41" fmla="*/ 7 h 138"/>
              <a:gd name="T42" fmla="*/ 35 w 113"/>
              <a:gd name="T43" fmla="*/ 0 h 138"/>
              <a:gd name="T44" fmla="*/ 38 w 113"/>
              <a:gd name="T45" fmla="*/ 12 h 138"/>
              <a:gd name="T46" fmla="*/ 42 w 113"/>
              <a:gd name="T47" fmla="*/ 17 h 138"/>
              <a:gd name="T48" fmla="*/ 36 w 113"/>
              <a:gd name="T49" fmla="*/ 16 h 138"/>
              <a:gd name="T50" fmla="*/ 31 w 113"/>
              <a:gd name="T51" fmla="*/ 21 h 138"/>
              <a:gd name="T52" fmla="*/ 27 w 113"/>
              <a:gd name="T53" fmla="*/ 21 h 138"/>
              <a:gd name="T54" fmla="*/ 22 w 113"/>
              <a:gd name="T55" fmla="*/ 17 h 138"/>
              <a:gd name="T56" fmla="*/ 12 w 113"/>
              <a:gd name="T57" fmla="*/ 24 h 138"/>
              <a:gd name="T58" fmla="*/ 12 w 113"/>
              <a:gd name="T59" fmla="*/ 36 h 138"/>
              <a:gd name="T60" fmla="*/ 11 w 113"/>
              <a:gd name="T61" fmla="*/ 41 h 138"/>
              <a:gd name="T62" fmla="*/ 9 w 113"/>
              <a:gd name="T63" fmla="*/ 49 h 138"/>
              <a:gd name="T64" fmla="*/ 5 w 113"/>
              <a:gd name="T65" fmla="*/ 55 h 138"/>
              <a:gd name="T66" fmla="*/ 3 w 113"/>
              <a:gd name="T67" fmla="*/ 64 h 138"/>
              <a:gd name="T68" fmla="*/ 0 w 113"/>
              <a:gd name="T69" fmla="*/ 70 h 138"/>
              <a:gd name="T70" fmla="*/ 5 w 113"/>
              <a:gd name="T71" fmla="*/ 76 h 138"/>
              <a:gd name="T72" fmla="*/ 5 w 113"/>
              <a:gd name="T73" fmla="*/ 81 h 138"/>
              <a:gd name="T74" fmla="*/ 7 w 113"/>
              <a:gd name="T75" fmla="*/ 90 h 138"/>
              <a:gd name="T76" fmla="*/ 8 w 113"/>
              <a:gd name="T77" fmla="*/ 96 h 138"/>
              <a:gd name="T78" fmla="*/ 18 w 113"/>
              <a:gd name="T79" fmla="*/ 103 h 138"/>
              <a:gd name="T80" fmla="*/ 27 w 113"/>
              <a:gd name="T81" fmla="*/ 105 h 138"/>
              <a:gd name="T82" fmla="*/ 25 w 113"/>
              <a:gd name="T83" fmla="*/ 126 h 138"/>
              <a:gd name="T84" fmla="*/ 20 w 113"/>
              <a:gd name="T85" fmla="*/ 134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13" h="138">
                <a:moveTo>
                  <a:pt x="20" y="134"/>
                </a:moveTo>
                <a:lnTo>
                  <a:pt x="19" y="134"/>
                </a:lnTo>
                <a:lnTo>
                  <a:pt x="24" y="134"/>
                </a:lnTo>
                <a:lnTo>
                  <a:pt x="27" y="133"/>
                </a:lnTo>
                <a:lnTo>
                  <a:pt x="31" y="132"/>
                </a:lnTo>
                <a:lnTo>
                  <a:pt x="36" y="131"/>
                </a:lnTo>
                <a:lnTo>
                  <a:pt x="39" y="131"/>
                </a:lnTo>
                <a:lnTo>
                  <a:pt x="42" y="132"/>
                </a:lnTo>
                <a:lnTo>
                  <a:pt x="47" y="134"/>
                </a:lnTo>
                <a:lnTo>
                  <a:pt x="51" y="136"/>
                </a:lnTo>
                <a:lnTo>
                  <a:pt x="52" y="136"/>
                </a:lnTo>
                <a:lnTo>
                  <a:pt x="54" y="137"/>
                </a:lnTo>
                <a:lnTo>
                  <a:pt x="60" y="137"/>
                </a:lnTo>
                <a:lnTo>
                  <a:pt x="66" y="136"/>
                </a:lnTo>
                <a:lnTo>
                  <a:pt x="71" y="135"/>
                </a:lnTo>
                <a:lnTo>
                  <a:pt x="77" y="132"/>
                </a:lnTo>
                <a:lnTo>
                  <a:pt x="92" y="132"/>
                </a:lnTo>
                <a:lnTo>
                  <a:pt x="91" y="130"/>
                </a:lnTo>
                <a:lnTo>
                  <a:pt x="91" y="126"/>
                </a:lnTo>
                <a:lnTo>
                  <a:pt x="91" y="123"/>
                </a:lnTo>
                <a:lnTo>
                  <a:pt x="92" y="121"/>
                </a:lnTo>
                <a:lnTo>
                  <a:pt x="92" y="120"/>
                </a:lnTo>
                <a:lnTo>
                  <a:pt x="93" y="117"/>
                </a:lnTo>
                <a:lnTo>
                  <a:pt x="96" y="116"/>
                </a:lnTo>
                <a:lnTo>
                  <a:pt x="97" y="115"/>
                </a:lnTo>
                <a:lnTo>
                  <a:pt x="101" y="113"/>
                </a:lnTo>
                <a:lnTo>
                  <a:pt x="100" y="111"/>
                </a:lnTo>
                <a:lnTo>
                  <a:pt x="99" y="110"/>
                </a:lnTo>
                <a:lnTo>
                  <a:pt x="96" y="106"/>
                </a:lnTo>
                <a:lnTo>
                  <a:pt x="89" y="100"/>
                </a:lnTo>
                <a:lnTo>
                  <a:pt x="86" y="96"/>
                </a:lnTo>
                <a:lnTo>
                  <a:pt x="83" y="93"/>
                </a:lnTo>
                <a:lnTo>
                  <a:pt x="80" y="88"/>
                </a:lnTo>
                <a:lnTo>
                  <a:pt x="80" y="86"/>
                </a:lnTo>
                <a:lnTo>
                  <a:pt x="80" y="83"/>
                </a:lnTo>
                <a:lnTo>
                  <a:pt x="105" y="71"/>
                </a:lnTo>
                <a:lnTo>
                  <a:pt x="108" y="71"/>
                </a:lnTo>
                <a:lnTo>
                  <a:pt x="110" y="71"/>
                </a:lnTo>
                <a:lnTo>
                  <a:pt x="112" y="71"/>
                </a:lnTo>
                <a:lnTo>
                  <a:pt x="112" y="63"/>
                </a:lnTo>
                <a:lnTo>
                  <a:pt x="110" y="58"/>
                </a:lnTo>
                <a:lnTo>
                  <a:pt x="106" y="49"/>
                </a:lnTo>
                <a:lnTo>
                  <a:pt x="101" y="34"/>
                </a:lnTo>
                <a:lnTo>
                  <a:pt x="102" y="26"/>
                </a:lnTo>
                <a:lnTo>
                  <a:pt x="102" y="14"/>
                </a:lnTo>
                <a:lnTo>
                  <a:pt x="100" y="13"/>
                </a:lnTo>
                <a:lnTo>
                  <a:pt x="98" y="12"/>
                </a:lnTo>
                <a:lnTo>
                  <a:pt x="96" y="8"/>
                </a:lnTo>
                <a:lnTo>
                  <a:pt x="93" y="6"/>
                </a:lnTo>
                <a:lnTo>
                  <a:pt x="92" y="4"/>
                </a:lnTo>
                <a:lnTo>
                  <a:pt x="89" y="3"/>
                </a:lnTo>
                <a:lnTo>
                  <a:pt x="86" y="3"/>
                </a:lnTo>
                <a:lnTo>
                  <a:pt x="83" y="3"/>
                </a:lnTo>
                <a:lnTo>
                  <a:pt x="80" y="3"/>
                </a:lnTo>
                <a:lnTo>
                  <a:pt x="78" y="4"/>
                </a:lnTo>
                <a:lnTo>
                  <a:pt x="75" y="6"/>
                </a:lnTo>
                <a:lnTo>
                  <a:pt x="73" y="8"/>
                </a:lnTo>
                <a:lnTo>
                  <a:pt x="70" y="10"/>
                </a:lnTo>
                <a:lnTo>
                  <a:pt x="70" y="12"/>
                </a:lnTo>
                <a:lnTo>
                  <a:pt x="67" y="14"/>
                </a:lnTo>
                <a:lnTo>
                  <a:pt x="66" y="13"/>
                </a:lnTo>
                <a:lnTo>
                  <a:pt x="63" y="10"/>
                </a:lnTo>
                <a:lnTo>
                  <a:pt x="57" y="7"/>
                </a:lnTo>
                <a:lnTo>
                  <a:pt x="52" y="4"/>
                </a:lnTo>
                <a:lnTo>
                  <a:pt x="47" y="0"/>
                </a:lnTo>
                <a:lnTo>
                  <a:pt x="35" y="0"/>
                </a:lnTo>
                <a:lnTo>
                  <a:pt x="35" y="3"/>
                </a:lnTo>
                <a:lnTo>
                  <a:pt x="36" y="6"/>
                </a:lnTo>
                <a:lnTo>
                  <a:pt x="38" y="12"/>
                </a:lnTo>
                <a:lnTo>
                  <a:pt x="41" y="16"/>
                </a:lnTo>
                <a:lnTo>
                  <a:pt x="44" y="20"/>
                </a:lnTo>
                <a:lnTo>
                  <a:pt x="42" y="17"/>
                </a:lnTo>
                <a:lnTo>
                  <a:pt x="40" y="16"/>
                </a:lnTo>
                <a:lnTo>
                  <a:pt x="38" y="15"/>
                </a:lnTo>
                <a:lnTo>
                  <a:pt x="36" y="16"/>
                </a:lnTo>
                <a:lnTo>
                  <a:pt x="35" y="16"/>
                </a:lnTo>
                <a:lnTo>
                  <a:pt x="33" y="18"/>
                </a:lnTo>
                <a:lnTo>
                  <a:pt x="31" y="21"/>
                </a:lnTo>
                <a:lnTo>
                  <a:pt x="30" y="21"/>
                </a:lnTo>
                <a:lnTo>
                  <a:pt x="29" y="22"/>
                </a:lnTo>
                <a:lnTo>
                  <a:pt x="27" y="21"/>
                </a:lnTo>
                <a:lnTo>
                  <a:pt x="25" y="19"/>
                </a:lnTo>
                <a:lnTo>
                  <a:pt x="22" y="18"/>
                </a:lnTo>
                <a:lnTo>
                  <a:pt x="22" y="17"/>
                </a:lnTo>
                <a:lnTo>
                  <a:pt x="20" y="17"/>
                </a:lnTo>
                <a:lnTo>
                  <a:pt x="13" y="18"/>
                </a:lnTo>
                <a:lnTo>
                  <a:pt x="12" y="24"/>
                </a:lnTo>
                <a:lnTo>
                  <a:pt x="12" y="29"/>
                </a:lnTo>
                <a:lnTo>
                  <a:pt x="12" y="33"/>
                </a:lnTo>
                <a:lnTo>
                  <a:pt x="12" y="36"/>
                </a:lnTo>
                <a:lnTo>
                  <a:pt x="11" y="39"/>
                </a:lnTo>
                <a:lnTo>
                  <a:pt x="9" y="41"/>
                </a:lnTo>
                <a:lnTo>
                  <a:pt x="11" y="41"/>
                </a:lnTo>
                <a:lnTo>
                  <a:pt x="12" y="41"/>
                </a:lnTo>
                <a:lnTo>
                  <a:pt x="12" y="46"/>
                </a:lnTo>
                <a:lnTo>
                  <a:pt x="9" y="49"/>
                </a:lnTo>
                <a:lnTo>
                  <a:pt x="8" y="51"/>
                </a:lnTo>
                <a:lnTo>
                  <a:pt x="7" y="53"/>
                </a:lnTo>
                <a:lnTo>
                  <a:pt x="5" y="55"/>
                </a:lnTo>
                <a:lnTo>
                  <a:pt x="4" y="58"/>
                </a:lnTo>
                <a:lnTo>
                  <a:pt x="3" y="61"/>
                </a:lnTo>
                <a:lnTo>
                  <a:pt x="3" y="64"/>
                </a:lnTo>
                <a:lnTo>
                  <a:pt x="3" y="66"/>
                </a:lnTo>
                <a:lnTo>
                  <a:pt x="2" y="68"/>
                </a:lnTo>
                <a:lnTo>
                  <a:pt x="0" y="70"/>
                </a:lnTo>
                <a:lnTo>
                  <a:pt x="2" y="72"/>
                </a:lnTo>
                <a:lnTo>
                  <a:pt x="3" y="73"/>
                </a:lnTo>
                <a:lnTo>
                  <a:pt x="5" y="76"/>
                </a:lnTo>
                <a:lnTo>
                  <a:pt x="5" y="78"/>
                </a:lnTo>
                <a:lnTo>
                  <a:pt x="5" y="80"/>
                </a:lnTo>
                <a:lnTo>
                  <a:pt x="5" y="81"/>
                </a:lnTo>
                <a:lnTo>
                  <a:pt x="3" y="82"/>
                </a:lnTo>
                <a:lnTo>
                  <a:pt x="5" y="86"/>
                </a:lnTo>
                <a:lnTo>
                  <a:pt x="7" y="90"/>
                </a:lnTo>
                <a:lnTo>
                  <a:pt x="8" y="93"/>
                </a:lnTo>
                <a:lnTo>
                  <a:pt x="8" y="94"/>
                </a:lnTo>
                <a:lnTo>
                  <a:pt x="8" y="96"/>
                </a:lnTo>
                <a:lnTo>
                  <a:pt x="8" y="99"/>
                </a:lnTo>
                <a:lnTo>
                  <a:pt x="9" y="98"/>
                </a:lnTo>
                <a:lnTo>
                  <a:pt x="18" y="103"/>
                </a:lnTo>
                <a:lnTo>
                  <a:pt x="22" y="104"/>
                </a:lnTo>
                <a:lnTo>
                  <a:pt x="25" y="105"/>
                </a:lnTo>
                <a:lnTo>
                  <a:pt x="27" y="105"/>
                </a:lnTo>
                <a:lnTo>
                  <a:pt x="27" y="112"/>
                </a:lnTo>
                <a:lnTo>
                  <a:pt x="26" y="120"/>
                </a:lnTo>
                <a:lnTo>
                  <a:pt x="25" y="126"/>
                </a:lnTo>
                <a:lnTo>
                  <a:pt x="22" y="130"/>
                </a:lnTo>
                <a:lnTo>
                  <a:pt x="22" y="132"/>
                </a:lnTo>
                <a:lnTo>
                  <a:pt x="20" y="134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59" name="Freeform 158">
            <a:extLst>
              <a:ext uri="{FF2B5EF4-FFF2-40B4-BE49-F238E27FC236}">
                <a16:creationId xmlns:a16="http://schemas.microsoft.com/office/drawing/2014/main" id="{2D5FA5DC-CC37-878C-8EBF-BE3E3061594D}"/>
              </a:ext>
            </a:extLst>
          </p:cNvPr>
          <p:cNvSpPr>
            <a:spLocks/>
          </p:cNvSpPr>
          <p:nvPr/>
        </p:nvSpPr>
        <p:spPr bwMode="auto">
          <a:xfrm>
            <a:off x="6293813" y="3357409"/>
            <a:ext cx="114300" cy="61913"/>
          </a:xfrm>
          <a:custGeom>
            <a:avLst/>
            <a:gdLst>
              <a:gd name="T0" fmla="*/ 46 w 57"/>
              <a:gd name="T1" fmla="*/ 4 h 34"/>
              <a:gd name="T2" fmla="*/ 39 w 57"/>
              <a:gd name="T3" fmla="*/ 2 h 34"/>
              <a:gd name="T4" fmla="*/ 35 w 57"/>
              <a:gd name="T5" fmla="*/ 0 h 34"/>
              <a:gd name="T6" fmla="*/ 31 w 57"/>
              <a:gd name="T7" fmla="*/ 0 h 34"/>
              <a:gd name="T8" fmla="*/ 26 w 57"/>
              <a:gd name="T9" fmla="*/ 0 h 34"/>
              <a:gd name="T10" fmla="*/ 22 w 57"/>
              <a:gd name="T11" fmla="*/ 2 h 34"/>
              <a:gd name="T12" fmla="*/ 19 w 57"/>
              <a:gd name="T13" fmla="*/ 3 h 34"/>
              <a:gd name="T14" fmla="*/ 14 w 57"/>
              <a:gd name="T15" fmla="*/ 3 h 34"/>
              <a:gd name="T16" fmla="*/ 15 w 57"/>
              <a:gd name="T17" fmla="*/ 3 h 34"/>
              <a:gd name="T18" fmla="*/ 17 w 57"/>
              <a:gd name="T19" fmla="*/ 0 h 34"/>
              <a:gd name="T20" fmla="*/ 15 w 57"/>
              <a:gd name="T21" fmla="*/ 3 h 34"/>
              <a:gd name="T22" fmla="*/ 12 w 57"/>
              <a:gd name="T23" fmla="*/ 3 h 34"/>
              <a:gd name="T24" fmla="*/ 12 w 57"/>
              <a:gd name="T25" fmla="*/ 7 h 34"/>
              <a:gd name="T26" fmla="*/ 12 w 57"/>
              <a:gd name="T27" fmla="*/ 9 h 34"/>
              <a:gd name="T28" fmla="*/ 9 w 57"/>
              <a:gd name="T29" fmla="*/ 10 h 34"/>
              <a:gd name="T30" fmla="*/ 7 w 57"/>
              <a:gd name="T31" fmla="*/ 11 h 34"/>
              <a:gd name="T32" fmla="*/ 6 w 57"/>
              <a:gd name="T33" fmla="*/ 13 h 34"/>
              <a:gd name="T34" fmla="*/ 4 w 57"/>
              <a:gd name="T35" fmla="*/ 14 h 34"/>
              <a:gd name="T36" fmla="*/ 2 w 57"/>
              <a:gd name="T37" fmla="*/ 18 h 34"/>
              <a:gd name="T38" fmla="*/ 0 w 57"/>
              <a:gd name="T39" fmla="*/ 22 h 34"/>
              <a:gd name="T40" fmla="*/ 0 w 57"/>
              <a:gd name="T41" fmla="*/ 31 h 34"/>
              <a:gd name="T42" fmla="*/ 2 w 57"/>
              <a:gd name="T43" fmla="*/ 30 h 34"/>
              <a:gd name="T44" fmla="*/ 3 w 57"/>
              <a:gd name="T45" fmla="*/ 29 h 34"/>
              <a:gd name="T46" fmla="*/ 3 w 57"/>
              <a:gd name="T47" fmla="*/ 25 h 34"/>
              <a:gd name="T48" fmla="*/ 7 w 57"/>
              <a:gd name="T49" fmla="*/ 26 h 34"/>
              <a:gd name="T50" fmla="*/ 8 w 57"/>
              <a:gd name="T51" fmla="*/ 25 h 34"/>
              <a:gd name="T52" fmla="*/ 9 w 57"/>
              <a:gd name="T53" fmla="*/ 25 h 34"/>
              <a:gd name="T54" fmla="*/ 10 w 57"/>
              <a:gd name="T55" fmla="*/ 30 h 34"/>
              <a:gd name="T56" fmla="*/ 10 w 57"/>
              <a:gd name="T57" fmla="*/ 33 h 34"/>
              <a:gd name="T58" fmla="*/ 22 w 57"/>
              <a:gd name="T59" fmla="*/ 33 h 34"/>
              <a:gd name="T60" fmla="*/ 24 w 57"/>
              <a:gd name="T61" fmla="*/ 32 h 34"/>
              <a:gd name="T62" fmla="*/ 24 w 57"/>
              <a:gd name="T63" fmla="*/ 29 h 34"/>
              <a:gd name="T64" fmla="*/ 26 w 57"/>
              <a:gd name="T65" fmla="*/ 27 h 34"/>
              <a:gd name="T66" fmla="*/ 27 w 57"/>
              <a:gd name="T67" fmla="*/ 27 h 34"/>
              <a:gd name="T68" fmla="*/ 28 w 57"/>
              <a:gd name="T69" fmla="*/ 26 h 34"/>
              <a:gd name="T70" fmla="*/ 31 w 57"/>
              <a:gd name="T71" fmla="*/ 27 h 34"/>
              <a:gd name="T72" fmla="*/ 34 w 57"/>
              <a:gd name="T73" fmla="*/ 29 h 34"/>
              <a:gd name="T74" fmla="*/ 36 w 57"/>
              <a:gd name="T75" fmla="*/ 31 h 34"/>
              <a:gd name="T76" fmla="*/ 38 w 57"/>
              <a:gd name="T77" fmla="*/ 32 h 34"/>
              <a:gd name="T78" fmla="*/ 39 w 57"/>
              <a:gd name="T79" fmla="*/ 32 h 34"/>
              <a:gd name="T80" fmla="*/ 39 w 57"/>
              <a:gd name="T81" fmla="*/ 29 h 34"/>
              <a:gd name="T82" fmla="*/ 40 w 57"/>
              <a:gd name="T83" fmla="*/ 27 h 34"/>
              <a:gd name="T84" fmla="*/ 42 w 57"/>
              <a:gd name="T85" fmla="*/ 25 h 34"/>
              <a:gd name="T86" fmla="*/ 44 w 57"/>
              <a:gd name="T87" fmla="*/ 23 h 34"/>
              <a:gd name="T88" fmla="*/ 47 w 57"/>
              <a:gd name="T89" fmla="*/ 22 h 34"/>
              <a:gd name="T90" fmla="*/ 49 w 57"/>
              <a:gd name="T91" fmla="*/ 22 h 34"/>
              <a:gd name="T92" fmla="*/ 52 w 57"/>
              <a:gd name="T93" fmla="*/ 22 h 34"/>
              <a:gd name="T94" fmla="*/ 56 w 57"/>
              <a:gd name="T95" fmla="*/ 22 h 34"/>
              <a:gd name="T96" fmla="*/ 56 w 57"/>
              <a:gd name="T97" fmla="*/ 15 h 34"/>
              <a:gd name="T98" fmla="*/ 52 w 57"/>
              <a:gd name="T99" fmla="*/ 14 h 34"/>
              <a:gd name="T100" fmla="*/ 49 w 57"/>
              <a:gd name="T101" fmla="*/ 13 h 34"/>
              <a:gd name="T102" fmla="*/ 48 w 57"/>
              <a:gd name="T103" fmla="*/ 12 h 34"/>
              <a:gd name="T104" fmla="*/ 46 w 57"/>
              <a:gd name="T105" fmla="*/ 8 h 34"/>
              <a:gd name="T106" fmla="*/ 45 w 57"/>
              <a:gd name="T107" fmla="*/ 7 h 34"/>
              <a:gd name="T108" fmla="*/ 45 w 57"/>
              <a:gd name="T109" fmla="*/ 3 h 34"/>
              <a:gd name="T110" fmla="*/ 46 w 57"/>
              <a:gd name="T111" fmla="*/ 4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7" h="34">
                <a:moveTo>
                  <a:pt x="46" y="4"/>
                </a:moveTo>
                <a:lnTo>
                  <a:pt x="39" y="2"/>
                </a:lnTo>
                <a:lnTo>
                  <a:pt x="35" y="0"/>
                </a:lnTo>
                <a:lnTo>
                  <a:pt x="31" y="0"/>
                </a:lnTo>
                <a:lnTo>
                  <a:pt x="26" y="0"/>
                </a:lnTo>
                <a:lnTo>
                  <a:pt x="22" y="2"/>
                </a:lnTo>
                <a:lnTo>
                  <a:pt x="19" y="3"/>
                </a:lnTo>
                <a:lnTo>
                  <a:pt x="14" y="3"/>
                </a:lnTo>
                <a:lnTo>
                  <a:pt x="15" y="3"/>
                </a:lnTo>
                <a:lnTo>
                  <a:pt x="17" y="0"/>
                </a:lnTo>
                <a:lnTo>
                  <a:pt x="15" y="3"/>
                </a:lnTo>
                <a:lnTo>
                  <a:pt x="12" y="3"/>
                </a:lnTo>
                <a:lnTo>
                  <a:pt x="12" y="7"/>
                </a:lnTo>
                <a:lnTo>
                  <a:pt x="12" y="9"/>
                </a:lnTo>
                <a:lnTo>
                  <a:pt x="9" y="10"/>
                </a:lnTo>
                <a:lnTo>
                  <a:pt x="7" y="11"/>
                </a:lnTo>
                <a:lnTo>
                  <a:pt x="6" y="13"/>
                </a:lnTo>
                <a:lnTo>
                  <a:pt x="4" y="14"/>
                </a:lnTo>
                <a:lnTo>
                  <a:pt x="2" y="18"/>
                </a:lnTo>
                <a:lnTo>
                  <a:pt x="0" y="22"/>
                </a:lnTo>
                <a:lnTo>
                  <a:pt x="0" y="31"/>
                </a:lnTo>
                <a:lnTo>
                  <a:pt x="2" y="30"/>
                </a:lnTo>
                <a:lnTo>
                  <a:pt x="3" y="29"/>
                </a:lnTo>
                <a:lnTo>
                  <a:pt x="3" y="25"/>
                </a:lnTo>
                <a:lnTo>
                  <a:pt x="7" y="26"/>
                </a:lnTo>
                <a:lnTo>
                  <a:pt x="8" y="25"/>
                </a:lnTo>
                <a:lnTo>
                  <a:pt x="9" y="25"/>
                </a:lnTo>
                <a:lnTo>
                  <a:pt x="10" y="30"/>
                </a:lnTo>
                <a:lnTo>
                  <a:pt x="10" y="33"/>
                </a:lnTo>
                <a:lnTo>
                  <a:pt x="22" y="33"/>
                </a:lnTo>
                <a:lnTo>
                  <a:pt x="24" y="32"/>
                </a:lnTo>
                <a:lnTo>
                  <a:pt x="24" y="29"/>
                </a:lnTo>
                <a:lnTo>
                  <a:pt x="26" y="27"/>
                </a:lnTo>
                <a:lnTo>
                  <a:pt x="27" y="27"/>
                </a:lnTo>
                <a:lnTo>
                  <a:pt x="28" y="26"/>
                </a:lnTo>
                <a:lnTo>
                  <a:pt x="31" y="27"/>
                </a:lnTo>
                <a:lnTo>
                  <a:pt x="34" y="29"/>
                </a:lnTo>
                <a:lnTo>
                  <a:pt x="36" y="31"/>
                </a:lnTo>
                <a:lnTo>
                  <a:pt x="38" y="32"/>
                </a:lnTo>
                <a:lnTo>
                  <a:pt x="39" y="32"/>
                </a:lnTo>
                <a:lnTo>
                  <a:pt x="39" y="29"/>
                </a:lnTo>
                <a:lnTo>
                  <a:pt x="40" y="27"/>
                </a:lnTo>
                <a:lnTo>
                  <a:pt x="42" y="25"/>
                </a:lnTo>
                <a:lnTo>
                  <a:pt x="44" y="23"/>
                </a:lnTo>
                <a:lnTo>
                  <a:pt x="47" y="22"/>
                </a:lnTo>
                <a:lnTo>
                  <a:pt x="49" y="22"/>
                </a:lnTo>
                <a:lnTo>
                  <a:pt x="52" y="22"/>
                </a:lnTo>
                <a:lnTo>
                  <a:pt x="56" y="22"/>
                </a:lnTo>
                <a:lnTo>
                  <a:pt x="56" y="15"/>
                </a:lnTo>
                <a:lnTo>
                  <a:pt x="52" y="14"/>
                </a:lnTo>
                <a:lnTo>
                  <a:pt x="49" y="13"/>
                </a:lnTo>
                <a:lnTo>
                  <a:pt x="48" y="12"/>
                </a:lnTo>
                <a:lnTo>
                  <a:pt x="46" y="8"/>
                </a:lnTo>
                <a:lnTo>
                  <a:pt x="45" y="7"/>
                </a:lnTo>
                <a:lnTo>
                  <a:pt x="45" y="3"/>
                </a:lnTo>
                <a:lnTo>
                  <a:pt x="46" y="4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60" name="Freeform 159">
            <a:extLst>
              <a:ext uri="{FF2B5EF4-FFF2-40B4-BE49-F238E27FC236}">
                <a16:creationId xmlns:a16="http://schemas.microsoft.com/office/drawing/2014/main" id="{079A8D83-B3A0-CE12-ACCA-9EB13F9622D5}"/>
              </a:ext>
            </a:extLst>
          </p:cNvPr>
          <p:cNvSpPr>
            <a:spLocks/>
          </p:cNvSpPr>
          <p:nvPr/>
        </p:nvSpPr>
        <p:spPr bwMode="auto">
          <a:xfrm>
            <a:off x="6385888" y="3311371"/>
            <a:ext cx="195263" cy="87313"/>
          </a:xfrm>
          <a:custGeom>
            <a:avLst/>
            <a:gdLst>
              <a:gd name="T0" fmla="*/ 51 w 97"/>
              <a:gd name="T1" fmla="*/ 6 h 47"/>
              <a:gd name="T2" fmla="*/ 57 w 97"/>
              <a:gd name="T3" fmla="*/ 6 h 47"/>
              <a:gd name="T4" fmla="*/ 60 w 97"/>
              <a:gd name="T5" fmla="*/ 6 h 47"/>
              <a:gd name="T6" fmla="*/ 61 w 97"/>
              <a:gd name="T7" fmla="*/ 5 h 47"/>
              <a:gd name="T8" fmla="*/ 62 w 97"/>
              <a:gd name="T9" fmla="*/ 4 h 47"/>
              <a:gd name="T10" fmla="*/ 64 w 97"/>
              <a:gd name="T11" fmla="*/ 3 h 47"/>
              <a:gd name="T12" fmla="*/ 67 w 97"/>
              <a:gd name="T13" fmla="*/ 0 h 47"/>
              <a:gd name="T14" fmla="*/ 68 w 97"/>
              <a:gd name="T15" fmla="*/ 0 h 47"/>
              <a:gd name="T16" fmla="*/ 70 w 97"/>
              <a:gd name="T17" fmla="*/ 0 h 47"/>
              <a:gd name="T18" fmla="*/ 73 w 97"/>
              <a:gd name="T19" fmla="*/ 0 h 47"/>
              <a:gd name="T20" fmla="*/ 75 w 97"/>
              <a:gd name="T21" fmla="*/ 0 h 47"/>
              <a:gd name="T22" fmla="*/ 80 w 97"/>
              <a:gd name="T23" fmla="*/ 2 h 47"/>
              <a:gd name="T24" fmla="*/ 86 w 97"/>
              <a:gd name="T25" fmla="*/ 5 h 47"/>
              <a:gd name="T26" fmla="*/ 87 w 97"/>
              <a:gd name="T27" fmla="*/ 5 h 47"/>
              <a:gd name="T28" fmla="*/ 90 w 97"/>
              <a:gd name="T29" fmla="*/ 6 h 47"/>
              <a:gd name="T30" fmla="*/ 91 w 97"/>
              <a:gd name="T31" fmla="*/ 9 h 47"/>
              <a:gd name="T32" fmla="*/ 92 w 97"/>
              <a:gd name="T33" fmla="*/ 13 h 47"/>
              <a:gd name="T34" fmla="*/ 96 w 97"/>
              <a:gd name="T35" fmla="*/ 17 h 47"/>
              <a:gd name="T36" fmla="*/ 92 w 97"/>
              <a:gd name="T37" fmla="*/ 20 h 47"/>
              <a:gd name="T38" fmla="*/ 91 w 97"/>
              <a:gd name="T39" fmla="*/ 24 h 47"/>
              <a:gd name="T40" fmla="*/ 88 w 97"/>
              <a:gd name="T41" fmla="*/ 31 h 47"/>
              <a:gd name="T42" fmla="*/ 86 w 97"/>
              <a:gd name="T43" fmla="*/ 39 h 47"/>
              <a:gd name="T44" fmla="*/ 83 w 97"/>
              <a:gd name="T45" fmla="*/ 41 h 47"/>
              <a:gd name="T46" fmla="*/ 83 w 97"/>
              <a:gd name="T47" fmla="*/ 42 h 47"/>
              <a:gd name="T48" fmla="*/ 82 w 97"/>
              <a:gd name="T49" fmla="*/ 42 h 47"/>
              <a:gd name="T50" fmla="*/ 70 w 97"/>
              <a:gd name="T51" fmla="*/ 42 h 47"/>
              <a:gd name="T52" fmla="*/ 69 w 97"/>
              <a:gd name="T53" fmla="*/ 44 h 47"/>
              <a:gd name="T54" fmla="*/ 67 w 97"/>
              <a:gd name="T55" fmla="*/ 45 h 47"/>
              <a:gd name="T56" fmla="*/ 64 w 97"/>
              <a:gd name="T57" fmla="*/ 46 h 47"/>
              <a:gd name="T58" fmla="*/ 59 w 97"/>
              <a:gd name="T59" fmla="*/ 46 h 47"/>
              <a:gd name="T60" fmla="*/ 52 w 97"/>
              <a:gd name="T61" fmla="*/ 46 h 47"/>
              <a:gd name="T62" fmla="*/ 48 w 97"/>
              <a:gd name="T63" fmla="*/ 45 h 47"/>
              <a:gd name="T64" fmla="*/ 43 w 97"/>
              <a:gd name="T65" fmla="*/ 42 h 47"/>
              <a:gd name="T66" fmla="*/ 39 w 97"/>
              <a:gd name="T67" fmla="*/ 41 h 47"/>
              <a:gd name="T68" fmla="*/ 31 w 97"/>
              <a:gd name="T69" fmla="*/ 38 h 47"/>
              <a:gd name="T70" fmla="*/ 28 w 97"/>
              <a:gd name="T71" fmla="*/ 37 h 47"/>
              <a:gd name="T72" fmla="*/ 23 w 97"/>
              <a:gd name="T73" fmla="*/ 36 h 47"/>
              <a:gd name="T74" fmla="*/ 20 w 97"/>
              <a:gd name="T75" fmla="*/ 37 h 47"/>
              <a:gd name="T76" fmla="*/ 19 w 97"/>
              <a:gd name="T77" fmla="*/ 38 h 47"/>
              <a:gd name="T78" fmla="*/ 19 w 97"/>
              <a:gd name="T79" fmla="*/ 39 h 47"/>
              <a:gd name="T80" fmla="*/ 10 w 97"/>
              <a:gd name="T81" fmla="*/ 39 h 47"/>
              <a:gd name="T82" fmla="*/ 6 w 97"/>
              <a:gd name="T83" fmla="*/ 38 h 47"/>
              <a:gd name="T84" fmla="*/ 4 w 97"/>
              <a:gd name="T85" fmla="*/ 37 h 47"/>
              <a:gd name="T86" fmla="*/ 3 w 97"/>
              <a:gd name="T87" fmla="*/ 36 h 47"/>
              <a:gd name="T88" fmla="*/ 1 w 97"/>
              <a:gd name="T89" fmla="*/ 32 h 47"/>
              <a:gd name="T90" fmla="*/ 0 w 97"/>
              <a:gd name="T91" fmla="*/ 31 h 47"/>
              <a:gd name="T92" fmla="*/ 0 w 97"/>
              <a:gd name="T93" fmla="*/ 28 h 47"/>
              <a:gd name="T94" fmla="*/ 3 w 97"/>
              <a:gd name="T95" fmla="*/ 28 h 47"/>
              <a:gd name="T96" fmla="*/ 4 w 97"/>
              <a:gd name="T97" fmla="*/ 29 h 47"/>
              <a:gd name="T98" fmla="*/ 11 w 97"/>
              <a:gd name="T99" fmla="*/ 29 h 47"/>
              <a:gd name="T100" fmla="*/ 16 w 97"/>
              <a:gd name="T101" fmla="*/ 28 h 47"/>
              <a:gd name="T102" fmla="*/ 22 w 97"/>
              <a:gd name="T103" fmla="*/ 28 h 47"/>
              <a:gd name="T104" fmla="*/ 28 w 97"/>
              <a:gd name="T105" fmla="*/ 24 h 47"/>
              <a:gd name="T106" fmla="*/ 42 w 97"/>
              <a:gd name="T107" fmla="*/ 24 h 47"/>
              <a:gd name="T108" fmla="*/ 41 w 97"/>
              <a:gd name="T109" fmla="*/ 22 h 47"/>
              <a:gd name="T110" fmla="*/ 41 w 97"/>
              <a:gd name="T111" fmla="*/ 18 h 47"/>
              <a:gd name="T112" fmla="*/ 41 w 97"/>
              <a:gd name="T113" fmla="*/ 15 h 47"/>
              <a:gd name="T114" fmla="*/ 42 w 97"/>
              <a:gd name="T115" fmla="*/ 14 h 47"/>
              <a:gd name="T116" fmla="*/ 43 w 97"/>
              <a:gd name="T117" fmla="*/ 12 h 47"/>
              <a:gd name="T118" fmla="*/ 44 w 97"/>
              <a:gd name="T119" fmla="*/ 10 h 47"/>
              <a:gd name="T120" fmla="*/ 46 w 97"/>
              <a:gd name="T121" fmla="*/ 8 h 47"/>
              <a:gd name="T122" fmla="*/ 48 w 97"/>
              <a:gd name="T123" fmla="*/ 7 h 47"/>
              <a:gd name="T124" fmla="*/ 51 w 97"/>
              <a:gd name="T125" fmla="*/ 6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7" h="47">
                <a:moveTo>
                  <a:pt x="51" y="6"/>
                </a:moveTo>
                <a:lnTo>
                  <a:pt x="57" y="6"/>
                </a:lnTo>
                <a:lnTo>
                  <a:pt x="60" y="6"/>
                </a:lnTo>
                <a:lnTo>
                  <a:pt x="61" y="5"/>
                </a:lnTo>
                <a:lnTo>
                  <a:pt x="62" y="4"/>
                </a:lnTo>
                <a:lnTo>
                  <a:pt x="64" y="3"/>
                </a:lnTo>
                <a:lnTo>
                  <a:pt x="67" y="0"/>
                </a:lnTo>
                <a:lnTo>
                  <a:pt x="68" y="0"/>
                </a:lnTo>
                <a:lnTo>
                  <a:pt x="70" y="0"/>
                </a:lnTo>
                <a:lnTo>
                  <a:pt x="73" y="0"/>
                </a:lnTo>
                <a:lnTo>
                  <a:pt x="75" y="0"/>
                </a:lnTo>
                <a:lnTo>
                  <a:pt x="80" y="2"/>
                </a:lnTo>
                <a:lnTo>
                  <a:pt x="86" y="5"/>
                </a:lnTo>
                <a:lnTo>
                  <a:pt x="87" y="5"/>
                </a:lnTo>
                <a:lnTo>
                  <a:pt x="90" y="6"/>
                </a:lnTo>
                <a:lnTo>
                  <a:pt x="91" y="9"/>
                </a:lnTo>
                <a:lnTo>
                  <a:pt x="92" y="13"/>
                </a:lnTo>
                <a:lnTo>
                  <a:pt x="96" y="17"/>
                </a:lnTo>
                <a:lnTo>
                  <a:pt x="92" y="20"/>
                </a:lnTo>
                <a:lnTo>
                  <a:pt x="91" y="24"/>
                </a:lnTo>
                <a:lnTo>
                  <a:pt x="88" y="31"/>
                </a:lnTo>
                <a:lnTo>
                  <a:pt x="86" y="39"/>
                </a:lnTo>
                <a:lnTo>
                  <a:pt x="83" y="41"/>
                </a:lnTo>
                <a:lnTo>
                  <a:pt x="83" y="42"/>
                </a:lnTo>
                <a:lnTo>
                  <a:pt x="82" y="42"/>
                </a:lnTo>
                <a:lnTo>
                  <a:pt x="70" y="42"/>
                </a:lnTo>
                <a:lnTo>
                  <a:pt x="69" y="44"/>
                </a:lnTo>
                <a:lnTo>
                  <a:pt x="67" y="45"/>
                </a:lnTo>
                <a:lnTo>
                  <a:pt x="64" y="46"/>
                </a:lnTo>
                <a:lnTo>
                  <a:pt x="59" y="46"/>
                </a:lnTo>
                <a:lnTo>
                  <a:pt x="52" y="46"/>
                </a:lnTo>
                <a:lnTo>
                  <a:pt x="48" y="45"/>
                </a:lnTo>
                <a:lnTo>
                  <a:pt x="43" y="42"/>
                </a:lnTo>
                <a:lnTo>
                  <a:pt x="39" y="41"/>
                </a:lnTo>
                <a:lnTo>
                  <a:pt x="31" y="38"/>
                </a:lnTo>
                <a:lnTo>
                  <a:pt x="28" y="37"/>
                </a:lnTo>
                <a:lnTo>
                  <a:pt x="23" y="36"/>
                </a:lnTo>
                <a:lnTo>
                  <a:pt x="20" y="37"/>
                </a:lnTo>
                <a:lnTo>
                  <a:pt x="19" y="38"/>
                </a:lnTo>
                <a:lnTo>
                  <a:pt x="19" y="39"/>
                </a:lnTo>
                <a:lnTo>
                  <a:pt x="10" y="39"/>
                </a:lnTo>
                <a:lnTo>
                  <a:pt x="6" y="38"/>
                </a:lnTo>
                <a:lnTo>
                  <a:pt x="4" y="37"/>
                </a:lnTo>
                <a:lnTo>
                  <a:pt x="3" y="36"/>
                </a:lnTo>
                <a:lnTo>
                  <a:pt x="1" y="32"/>
                </a:lnTo>
                <a:lnTo>
                  <a:pt x="0" y="31"/>
                </a:lnTo>
                <a:lnTo>
                  <a:pt x="0" y="28"/>
                </a:lnTo>
                <a:lnTo>
                  <a:pt x="3" y="28"/>
                </a:lnTo>
                <a:lnTo>
                  <a:pt x="4" y="29"/>
                </a:lnTo>
                <a:lnTo>
                  <a:pt x="11" y="29"/>
                </a:lnTo>
                <a:lnTo>
                  <a:pt x="16" y="28"/>
                </a:lnTo>
                <a:lnTo>
                  <a:pt x="22" y="28"/>
                </a:lnTo>
                <a:lnTo>
                  <a:pt x="28" y="24"/>
                </a:lnTo>
                <a:lnTo>
                  <a:pt x="42" y="24"/>
                </a:lnTo>
                <a:lnTo>
                  <a:pt x="41" y="22"/>
                </a:lnTo>
                <a:lnTo>
                  <a:pt x="41" y="18"/>
                </a:lnTo>
                <a:lnTo>
                  <a:pt x="41" y="15"/>
                </a:lnTo>
                <a:lnTo>
                  <a:pt x="42" y="14"/>
                </a:lnTo>
                <a:lnTo>
                  <a:pt x="43" y="12"/>
                </a:lnTo>
                <a:lnTo>
                  <a:pt x="44" y="10"/>
                </a:lnTo>
                <a:lnTo>
                  <a:pt x="46" y="8"/>
                </a:lnTo>
                <a:lnTo>
                  <a:pt x="48" y="7"/>
                </a:lnTo>
                <a:lnTo>
                  <a:pt x="51" y="6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61" name="Freeform 160">
            <a:extLst>
              <a:ext uri="{FF2B5EF4-FFF2-40B4-BE49-F238E27FC236}">
                <a16:creationId xmlns:a16="http://schemas.microsoft.com/office/drawing/2014/main" id="{B3D3C2F6-9AA5-0B1C-3DD3-4F20C6A91FBB}"/>
              </a:ext>
            </a:extLst>
          </p:cNvPr>
          <p:cNvSpPr>
            <a:spLocks/>
          </p:cNvSpPr>
          <p:nvPr/>
        </p:nvSpPr>
        <p:spPr bwMode="auto">
          <a:xfrm>
            <a:off x="6311275" y="3378046"/>
            <a:ext cx="334963" cy="322263"/>
          </a:xfrm>
          <a:custGeom>
            <a:avLst/>
            <a:gdLst>
              <a:gd name="T0" fmla="*/ 9 w 166"/>
              <a:gd name="T1" fmla="*/ 54 h 172"/>
              <a:gd name="T2" fmla="*/ 0 w 166"/>
              <a:gd name="T3" fmla="*/ 37 h 172"/>
              <a:gd name="T4" fmla="*/ 4 w 166"/>
              <a:gd name="T5" fmla="*/ 27 h 172"/>
              <a:gd name="T6" fmla="*/ 3 w 166"/>
              <a:gd name="T7" fmla="*/ 20 h 172"/>
              <a:gd name="T8" fmla="*/ 16 w 166"/>
              <a:gd name="T9" fmla="*/ 16 h 172"/>
              <a:gd name="T10" fmla="*/ 20 w 166"/>
              <a:gd name="T11" fmla="*/ 13 h 172"/>
              <a:gd name="T12" fmla="*/ 28 w 166"/>
              <a:gd name="T13" fmla="*/ 18 h 172"/>
              <a:gd name="T14" fmla="*/ 31 w 166"/>
              <a:gd name="T15" fmla="*/ 16 h 172"/>
              <a:gd name="T16" fmla="*/ 36 w 166"/>
              <a:gd name="T17" fmla="*/ 10 h 172"/>
              <a:gd name="T18" fmla="*/ 44 w 166"/>
              <a:gd name="T19" fmla="*/ 9 h 172"/>
              <a:gd name="T20" fmla="*/ 56 w 166"/>
              <a:gd name="T21" fmla="*/ 3 h 172"/>
              <a:gd name="T22" fmla="*/ 59 w 166"/>
              <a:gd name="T23" fmla="*/ 0 h 172"/>
              <a:gd name="T24" fmla="*/ 66 w 166"/>
              <a:gd name="T25" fmla="*/ 0 h 172"/>
              <a:gd name="T26" fmla="*/ 79 w 166"/>
              <a:gd name="T27" fmla="*/ 6 h 172"/>
              <a:gd name="T28" fmla="*/ 85 w 166"/>
              <a:gd name="T29" fmla="*/ 18 h 172"/>
              <a:gd name="T30" fmla="*/ 77 w 166"/>
              <a:gd name="T31" fmla="*/ 28 h 172"/>
              <a:gd name="T32" fmla="*/ 76 w 166"/>
              <a:gd name="T33" fmla="*/ 36 h 172"/>
              <a:gd name="T34" fmla="*/ 75 w 166"/>
              <a:gd name="T35" fmla="*/ 46 h 172"/>
              <a:gd name="T36" fmla="*/ 79 w 166"/>
              <a:gd name="T37" fmla="*/ 55 h 172"/>
              <a:gd name="T38" fmla="*/ 88 w 166"/>
              <a:gd name="T39" fmla="*/ 62 h 172"/>
              <a:gd name="T40" fmla="*/ 96 w 166"/>
              <a:gd name="T41" fmla="*/ 66 h 172"/>
              <a:gd name="T42" fmla="*/ 103 w 166"/>
              <a:gd name="T43" fmla="*/ 73 h 172"/>
              <a:gd name="T44" fmla="*/ 109 w 166"/>
              <a:gd name="T45" fmla="*/ 87 h 172"/>
              <a:gd name="T46" fmla="*/ 114 w 166"/>
              <a:gd name="T47" fmla="*/ 93 h 172"/>
              <a:gd name="T48" fmla="*/ 121 w 166"/>
              <a:gd name="T49" fmla="*/ 95 h 172"/>
              <a:gd name="T50" fmla="*/ 124 w 166"/>
              <a:gd name="T51" fmla="*/ 94 h 172"/>
              <a:gd name="T52" fmla="*/ 128 w 166"/>
              <a:gd name="T53" fmla="*/ 103 h 172"/>
              <a:gd name="T54" fmla="*/ 143 w 166"/>
              <a:gd name="T55" fmla="*/ 114 h 172"/>
              <a:gd name="T56" fmla="*/ 160 w 166"/>
              <a:gd name="T57" fmla="*/ 124 h 172"/>
              <a:gd name="T58" fmla="*/ 160 w 166"/>
              <a:gd name="T59" fmla="*/ 130 h 172"/>
              <a:gd name="T60" fmla="*/ 151 w 166"/>
              <a:gd name="T61" fmla="*/ 127 h 172"/>
              <a:gd name="T62" fmla="*/ 141 w 166"/>
              <a:gd name="T63" fmla="*/ 122 h 172"/>
              <a:gd name="T64" fmla="*/ 136 w 166"/>
              <a:gd name="T65" fmla="*/ 127 h 172"/>
              <a:gd name="T66" fmla="*/ 137 w 166"/>
              <a:gd name="T67" fmla="*/ 134 h 172"/>
              <a:gd name="T68" fmla="*/ 145 w 166"/>
              <a:gd name="T69" fmla="*/ 142 h 172"/>
              <a:gd name="T70" fmla="*/ 147 w 166"/>
              <a:gd name="T71" fmla="*/ 149 h 172"/>
              <a:gd name="T72" fmla="*/ 144 w 166"/>
              <a:gd name="T73" fmla="*/ 152 h 172"/>
              <a:gd name="T74" fmla="*/ 138 w 166"/>
              <a:gd name="T75" fmla="*/ 157 h 172"/>
              <a:gd name="T76" fmla="*/ 136 w 166"/>
              <a:gd name="T77" fmla="*/ 164 h 172"/>
              <a:gd name="T78" fmla="*/ 132 w 166"/>
              <a:gd name="T79" fmla="*/ 171 h 172"/>
              <a:gd name="T80" fmla="*/ 127 w 166"/>
              <a:gd name="T81" fmla="*/ 163 h 172"/>
              <a:gd name="T82" fmla="*/ 132 w 166"/>
              <a:gd name="T83" fmla="*/ 152 h 172"/>
              <a:gd name="T84" fmla="*/ 130 w 166"/>
              <a:gd name="T85" fmla="*/ 138 h 172"/>
              <a:gd name="T86" fmla="*/ 120 w 166"/>
              <a:gd name="T87" fmla="*/ 130 h 172"/>
              <a:gd name="T88" fmla="*/ 110 w 166"/>
              <a:gd name="T89" fmla="*/ 121 h 172"/>
              <a:gd name="T90" fmla="*/ 96 w 166"/>
              <a:gd name="T91" fmla="*/ 110 h 172"/>
              <a:gd name="T92" fmla="*/ 70 w 166"/>
              <a:gd name="T93" fmla="*/ 93 h 172"/>
              <a:gd name="T94" fmla="*/ 56 w 166"/>
              <a:gd name="T95" fmla="*/ 78 h 172"/>
              <a:gd name="T96" fmla="*/ 48 w 166"/>
              <a:gd name="T97" fmla="*/ 60 h 172"/>
              <a:gd name="T98" fmla="*/ 36 w 166"/>
              <a:gd name="T99" fmla="*/ 50 h 172"/>
              <a:gd name="T100" fmla="*/ 29 w 166"/>
              <a:gd name="T101" fmla="*/ 46 h 172"/>
              <a:gd name="T102" fmla="*/ 23 w 166"/>
              <a:gd name="T103" fmla="*/ 54 h 172"/>
              <a:gd name="T104" fmla="*/ 16 w 166"/>
              <a:gd name="T105" fmla="*/ 58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66" h="172">
                <a:moveTo>
                  <a:pt x="14" y="58"/>
                </a:moveTo>
                <a:lnTo>
                  <a:pt x="12" y="57"/>
                </a:lnTo>
                <a:lnTo>
                  <a:pt x="9" y="54"/>
                </a:lnTo>
                <a:lnTo>
                  <a:pt x="8" y="51"/>
                </a:lnTo>
                <a:lnTo>
                  <a:pt x="6" y="50"/>
                </a:lnTo>
                <a:lnTo>
                  <a:pt x="0" y="37"/>
                </a:lnTo>
                <a:lnTo>
                  <a:pt x="6" y="31"/>
                </a:lnTo>
                <a:lnTo>
                  <a:pt x="6" y="30"/>
                </a:lnTo>
                <a:lnTo>
                  <a:pt x="4" y="27"/>
                </a:lnTo>
                <a:lnTo>
                  <a:pt x="3" y="26"/>
                </a:lnTo>
                <a:lnTo>
                  <a:pt x="3" y="23"/>
                </a:lnTo>
                <a:lnTo>
                  <a:pt x="3" y="20"/>
                </a:lnTo>
                <a:lnTo>
                  <a:pt x="14" y="20"/>
                </a:lnTo>
                <a:lnTo>
                  <a:pt x="16" y="19"/>
                </a:lnTo>
                <a:lnTo>
                  <a:pt x="16" y="16"/>
                </a:lnTo>
                <a:lnTo>
                  <a:pt x="18" y="14"/>
                </a:lnTo>
                <a:lnTo>
                  <a:pt x="19" y="14"/>
                </a:lnTo>
                <a:lnTo>
                  <a:pt x="20" y="13"/>
                </a:lnTo>
                <a:lnTo>
                  <a:pt x="23" y="14"/>
                </a:lnTo>
                <a:lnTo>
                  <a:pt x="26" y="16"/>
                </a:lnTo>
                <a:lnTo>
                  <a:pt x="28" y="18"/>
                </a:lnTo>
                <a:lnTo>
                  <a:pt x="30" y="19"/>
                </a:lnTo>
                <a:lnTo>
                  <a:pt x="31" y="19"/>
                </a:lnTo>
                <a:lnTo>
                  <a:pt x="31" y="16"/>
                </a:lnTo>
                <a:lnTo>
                  <a:pt x="32" y="14"/>
                </a:lnTo>
                <a:lnTo>
                  <a:pt x="34" y="13"/>
                </a:lnTo>
                <a:lnTo>
                  <a:pt x="36" y="10"/>
                </a:lnTo>
                <a:lnTo>
                  <a:pt x="39" y="10"/>
                </a:lnTo>
                <a:lnTo>
                  <a:pt x="40" y="9"/>
                </a:lnTo>
                <a:lnTo>
                  <a:pt x="44" y="9"/>
                </a:lnTo>
                <a:lnTo>
                  <a:pt x="47" y="9"/>
                </a:lnTo>
                <a:lnTo>
                  <a:pt x="47" y="3"/>
                </a:lnTo>
                <a:lnTo>
                  <a:pt x="56" y="3"/>
                </a:lnTo>
                <a:lnTo>
                  <a:pt x="56" y="1"/>
                </a:lnTo>
                <a:lnTo>
                  <a:pt x="57" y="0"/>
                </a:lnTo>
                <a:lnTo>
                  <a:pt x="59" y="0"/>
                </a:lnTo>
                <a:lnTo>
                  <a:pt x="60" y="0"/>
                </a:lnTo>
                <a:lnTo>
                  <a:pt x="63" y="0"/>
                </a:lnTo>
                <a:lnTo>
                  <a:pt x="66" y="0"/>
                </a:lnTo>
                <a:lnTo>
                  <a:pt x="70" y="1"/>
                </a:lnTo>
                <a:lnTo>
                  <a:pt x="72" y="3"/>
                </a:lnTo>
                <a:lnTo>
                  <a:pt x="79" y="6"/>
                </a:lnTo>
                <a:lnTo>
                  <a:pt x="85" y="8"/>
                </a:lnTo>
                <a:lnTo>
                  <a:pt x="85" y="13"/>
                </a:lnTo>
                <a:lnTo>
                  <a:pt x="85" y="18"/>
                </a:lnTo>
                <a:lnTo>
                  <a:pt x="82" y="22"/>
                </a:lnTo>
                <a:lnTo>
                  <a:pt x="79" y="24"/>
                </a:lnTo>
                <a:lnTo>
                  <a:pt x="77" y="28"/>
                </a:lnTo>
                <a:lnTo>
                  <a:pt x="77" y="30"/>
                </a:lnTo>
                <a:lnTo>
                  <a:pt x="76" y="33"/>
                </a:lnTo>
                <a:lnTo>
                  <a:pt x="76" y="36"/>
                </a:lnTo>
                <a:lnTo>
                  <a:pt x="75" y="40"/>
                </a:lnTo>
                <a:lnTo>
                  <a:pt x="75" y="42"/>
                </a:lnTo>
                <a:lnTo>
                  <a:pt x="75" y="46"/>
                </a:lnTo>
                <a:lnTo>
                  <a:pt x="75" y="48"/>
                </a:lnTo>
                <a:lnTo>
                  <a:pt x="76" y="50"/>
                </a:lnTo>
                <a:lnTo>
                  <a:pt x="79" y="55"/>
                </a:lnTo>
                <a:lnTo>
                  <a:pt x="83" y="59"/>
                </a:lnTo>
                <a:lnTo>
                  <a:pt x="85" y="61"/>
                </a:lnTo>
                <a:lnTo>
                  <a:pt x="88" y="62"/>
                </a:lnTo>
                <a:lnTo>
                  <a:pt x="89" y="63"/>
                </a:lnTo>
                <a:lnTo>
                  <a:pt x="94" y="64"/>
                </a:lnTo>
                <a:lnTo>
                  <a:pt x="96" y="66"/>
                </a:lnTo>
                <a:lnTo>
                  <a:pt x="98" y="67"/>
                </a:lnTo>
                <a:lnTo>
                  <a:pt x="102" y="71"/>
                </a:lnTo>
                <a:lnTo>
                  <a:pt x="103" y="73"/>
                </a:lnTo>
                <a:lnTo>
                  <a:pt x="105" y="77"/>
                </a:lnTo>
                <a:lnTo>
                  <a:pt x="108" y="84"/>
                </a:lnTo>
                <a:lnTo>
                  <a:pt x="109" y="87"/>
                </a:lnTo>
                <a:lnTo>
                  <a:pt x="111" y="90"/>
                </a:lnTo>
                <a:lnTo>
                  <a:pt x="112" y="93"/>
                </a:lnTo>
                <a:lnTo>
                  <a:pt x="114" y="93"/>
                </a:lnTo>
                <a:lnTo>
                  <a:pt x="115" y="94"/>
                </a:lnTo>
                <a:lnTo>
                  <a:pt x="119" y="95"/>
                </a:lnTo>
                <a:lnTo>
                  <a:pt x="121" y="95"/>
                </a:lnTo>
                <a:lnTo>
                  <a:pt x="123" y="95"/>
                </a:lnTo>
                <a:lnTo>
                  <a:pt x="123" y="94"/>
                </a:lnTo>
                <a:lnTo>
                  <a:pt x="124" y="94"/>
                </a:lnTo>
                <a:lnTo>
                  <a:pt x="125" y="98"/>
                </a:lnTo>
                <a:lnTo>
                  <a:pt x="127" y="100"/>
                </a:lnTo>
                <a:lnTo>
                  <a:pt x="128" y="103"/>
                </a:lnTo>
                <a:lnTo>
                  <a:pt x="133" y="107"/>
                </a:lnTo>
                <a:lnTo>
                  <a:pt x="138" y="111"/>
                </a:lnTo>
                <a:lnTo>
                  <a:pt x="143" y="114"/>
                </a:lnTo>
                <a:lnTo>
                  <a:pt x="148" y="117"/>
                </a:lnTo>
                <a:lnTo>
                  <a:pt x="155" y="120"/>
                </a:lnTo>
                <a:lnTo>
                  <a:pt x="160" y="124"/>
                </a:lnTo>
                <a:lnTo>
                  <a:pt x="165" y="130"/>
                </a:lnTo>
                <a:lnTo>
                  <a:pt x="163" y="130"/>
                </a:lnTo>
                <a:lnTo>
                  <a:pt x="160" y="130"/>
                </a:lnTo>
                <a:lnTo>
                  <a:pt x="157" y="130"/>
                </a:lnTo>
                <a:lnTo>
                  <a:pt x="155" y="130"/>
                </a:lnTo>
                <a:lnTo>
                  <a:pt x="151" y="127"/>
                </a:lnTo>
                <a:lnTo>
                  <a:pt x="146" y="123"/>
                </a:lnTo>
                <a:lnTo>
                  <a:pt x="143" y="122"/>
                </a:lnTo>
                <a:lnTo>
                  <a:pt x="141" y="122"/>
                </a:lnTo>
                <a:lnTo>
                  <a:pt x="138" y="123"/>
                </a:lnTo>
                <a:lnTo>
                  <a:pt x="137" y="125"/>
                </a:lnTo>
                <a:lnTo>
                  <a:pt x="136" y="127"/>
                </a:lnTo>
                <a:lnTo>
                  <a:pt x="136" y="130"/>
                </a:lnTo>
                <a:lnTo>
                  <a:pt x="136" y="131"/>
                </a:lnTo>
                <a:lnTo>
                  <a:pt x="137" y="134"/>
                </a:lnTo>
                <a:lnTo>
                  <a:pt x="141" y="138"/>
                </a:lnTo>
                <a:lnTo>
                  <a:pt x="143" y="140"/>
                </a:lnTo>
                <a:lnTo>
                  <a:pt x="145" y="142"/>
                </a:lnTo>
                <a:lnTo>
                  <a:pt x="147" y="144"/>
                </a:lnTo>
                <a:lnTo>
                  <a:pt x="147" y="147"/>
                </a:lnTo>
                <a:lnTo>
                  <a:pt x="147" y="149"/>
                </a:lnTo>
                <a:lnTo>
                  <a:pt x="146" y="150"/>
                </a:lnTo>
                <a:lnTo>
                  <a:pt x="145" y="151"/>
                </a:lnTo>
                <a:lnTo>
                  <a:pt x="144" y="152"/>
                </a:lnTo>
                <a:lnTo>
                  <a:pt x="141" y="152"/>
                </a:lnTo>
                <a:lnTo>
                  <a:pt x="138" y="151"/>
                </a:lnTo>
                <a:lnTo>
                  <a:pt x="138" y="157"/>
                </a:lnTo>
                <a:lnTo>
                  <a:pt x="138" y="160"/>
                </a:lnTo>
                <a:lnTo>
                  <a:pt x="138" y="163"/>
                </a:lnTo>
                <a:lnTo>
                  <a:pt x="136" y="164"/>
                </a:lnTo>
                <a:lnTo>
                  <a:pt x="134" y="165"/>
                </a:lnTo>
                <a:lnTo>
                  <a:pt x="132" y="167"/>
                </a:lnTo>
                <a:lnTo>
                  <a:pt x="132" y="171"/>
                </a:lnTo>
                <a:lnTo>
                  <a:pt x="125" y="171"/>
                </a:lnTo>
                <a:lnTo>
                  <a:pt x="125" y="167"/>
                </a:lnTo>
                <a:lnTo>
                  <a:pt x="127" y="163"/>
                </a:lnTo>
                <a:lnTo>
                  <a:pt x="129" y="158"/>
                </a:lnTo>
                <a:lnTo>
                  <a:pt x="132" y="154"/>
                </a:lnTo>
                <a:lnTo>
                  <a:pt x="132" y="152"/>
                </a:lnTo>
                <a:lnTo>
                  <a:pt x="132" y="148"/>
                </a:lnTo>
                <a:lnTo>
                  <a:pt x="132" y="143"/>
                </a:lnTo>
                <a:lnTo>
                  <a:pt x="130" y="138"/>
                </a:lnTo>
                <a:lnTo>
                  <a:pt x="128" y="135"/>
                </a:lnTo>
                <a:lnTo>
                  <a:pt x="125" y="134"/>
                </a:lnTo>
                <a:lnTo>
                  <a:pt x="120" y="130"/>
                </a:lnTo>
                <a:lnTo>
                  <a:pt x="117" y="127"/>
                </a:lnTo>
                <a:lnTo>
                  <a:pt x="115" y="125"/>
                </a:lnTo>
                <a:lnTo>
                  <a:pt x="110" y="121"/>
                </a:lnTo>
                <a:lnTo>
                  <a:pt x="106" y="117"/>
                </a:lnTo>
                <a:lnTo>
                  <a:pt x="101" y="113"/>
                </a:lnTo>
                <a:lnTo>
                  <a:pt x="96" y="110"/>
                </a:lnTo>
                <a:lnTo>
                  <a:pt x="85" y="103"/>
                </a:lnTo>
                <a:lnTo>
                  <a:pt x="75" y="96"/>
                </a:lnTo>
                <a:lnTo>
                  <a:pt x="70" y="93"/>
                </a:lnTo>
                <a:lnTo>
                  <a:pt x="66" y="88"/>
                </a:lnTo>
                <a:lnTo>
                  <a:pt x="61" y="83"/>
                </a:lnTo>
                <a:lnTo>
                  <a:pt x="56" y="78"/>
                </a:lnTo>
                <a:lnTo>
                  <a:pt x="53" y="73"/>
                </a:lnTo>
                <a:lnTo>
                  <a:pt x="49" y="67"/>
                </a:lnTo>
                <a:lnTo>
                  <a:pt x="48" y="60"/>
                </a:lnTo>
                <a:lnTo>
                  <a:pt x="46" y="51"/>
                </a:lnTo>
                <a:lnTo>
                  <a:pt x="41" y="51"/>
                </a:lnTo>
                <a:lnTo>
                  <a:pt x="36" y="50"/>
                </a:lnTo>
                <a:lnTo>
                  <a:pt x="33" y="48"/>
                </a:lnTo>
                <a:lnTo>
                  <a:pt x="31" y="46"/>
                </a:lnTo>
                <a:lnTo>
                  <a:pt x="29" y="46"/>
                </a:lnTo>
                <a:lnTo>
                  <a:pt x="27" y="49"/>
                </a:lnTo>
                <a:lnTo>
                  <a:pt x="25" y="53"/>
                </a:lnTo>
                <a:lnTo>
                  <a:pt x="23" y="54"/>
                </a:lnTo>
                <a:lnTo>
                  <a:pt x="21" y="57"/>
                </a:lnTo>
                <a:lnTo>
                  <a:pt x="19" y="57"/>
                </a:lnTo>
                <a:lnTo>
                  <a:pt x="16" y="58"/>
                </a:lnTo>
                <a:lnTo>
                  <a:pt x="14" y="58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62" name="Freeform 161">
            <a:extLst>
              <a:ext uri="{FF2B5EF4-FFF2-40B4-BE49-F238E27FC236}">
                <a16:creationId xmlns:a16="http://schemas.microsoft.com/office/drawing/2014/main" id="{F850D202-5389-6853-8604-C6E50FB56FE2}"/>
              </a:ext>
            </a:extLst>
          </p:cNvPr>
          <p:cNvSpPr>
            <a:spLocks/>
          </p:cNvSpPr>
          <p:nvPr/>
        </p:nvSpPr>
        <p:spPr bwMode="auto">
          <a:xfrm>
            <a:off x="6489075" y="3104996"/>
            <a:ext cx="257175" cy="203200"/>
          </a:xfrm>
          <a:custGeom>
            <a:avLst/>
            <a:gdLst>
              <a:gd name="T0" fmla="*/ 106 w 127"/>
              <a:gd name="T1" fmla="*/ 107 h 108"/>
              <a:gd name="T2" fmla="*/ 95 w 127"/>
              <a:gd name="T3" fmla="*/ 102 h 108"/>
              <a:gd name="T4" fmla="*/ 87 w 127"/>
              <a:gd name="T5" fmla="*/ 102 h 108"/>
              <a:gd name="T6" fmla="*/ 79 w 127"/>
              <a:gd name="T7" fmla="*/ 106 h 108"/>
              <a:gd name="T8" fmla="*/ 74 w 127"/>
              <a:gd name="T9" fmla="*/ 105 h 108"/>
              <a:gd name="T10" fmla="*/ 72 w 127"/>
              <a:gd name="T11" fmla="*/ 102 h 108"/>
              <a:gd name="T12" fmla="*/ 70 w 127"/>
              <a:gd name="T13" fmla="*/ 100 h 108"/>
              <a:gd name="T14" fmla="*/ 65 w 127"/>
              <a:gd name="T15" fmla="*/ 100 h 108"/>
              <a:gd name="T16" fmla="*/ 62 w 127"/>
              <a:gd name="T17" fmla="*/ 99 h 108"/>
              <a:gd name="T18" fmla="*/ 61 w 127"/>
              <a:gd name="T19" fmla="*/ 97 h 108"/>
              <a:gd name="T20" fmla="*/ 56 w 127"/>
              <a:gd name="T21" fmla="*/ 91 h 108"/>
              <a:gd name="T22" fmla="*/ 48 w 127"/>
              <a:gd name="T23" fmla="*/ 88 h 108"/>
              <a:gd name="T24" fmla="*/ 41 w 127"/>
              <a:gd name="T25" fmla="*/ 84 h 108"/>
              <a:gd name="T26" fmla="*/ 39 w 127"/>
              <a:gd name="T27" fmla="*/ 83 h 108"/>
              <a:gd name="T28" fmla="*/ 36 w 127"/>
              <a:gd name="T29" fmla="*/ 87 h 108"/>
              <a:gd name="T30" fmla="*/ 33 w 127"/>
              <a:gd name="T31" fmla="*/ 87 h 108"/>
              <a:gd name="T32" fmla="*/ 31 w 127"/>
              <a:gd name="T33" fmla="*/ 84 h 108"/>
              <a:gd name="T34" fmla="*/ 21 w 127"/>
              <a:gd name="T35" fmla="*/ 79 h 108"/>
              <a:gd name="T36" fmla="*/ 10 w 127"/>
              <a:gd name="T37" fmla="*/ 74 h 108"/>
              <a:gd name="T38" fmla="*/ 9 w 127"/>
              <a:gd name="T39" fmla="*/ 61 h 108"/>
              <a:gd name="T40" fmla="*/ 0 w 127"/>
              <a:gd name="T41" fmla="*/ 37 h 108"/>
              <a:gd name="T42" fmla="*/ 0 w 127"/>
              <a:gd name="T43" fmla="*/ 17 h 108"/>
              <a:gd name="T44" fmla="*/ 7 w 127"/>
              <a:gd name="T45" fmla="*/ 16 h 108"/>
              <a:gd name="T46" fmla="*/ 22 w 127"/>
              <a:gd name="T47" fmla="*/ 10 h 108"/>
              <a:gd name="T48" fmla="*/ 36 w 127"/>
              <a:gd name="T49" fmla="*/ 0 h 108"/>
              <a:gd name="T50" fmla="*/ 53 w 127"/>
              <a:gd name="T51" fmla="*/ 3 h 108"/>
              <a:gd name="T52" fmla="*/ 55 w 127"/>
              <a:gd name="T53" fmla="*/ 7 h 108"/>
              <a:gd name="T54" fmla="*/ 59 w 127"/>
              <a:gd name="T55" fmla="*/ 8 h 108"/>
              <a:gd name="T56" fmla="*/ 68 w 127"/>
              <a:gd name="T57" fmla="*/ 7 h 108"/>
              <a:gd name="T58" fmla="*/ 103 w 127"/>
              <a:gd name="T59" fmla="*/ 9 h 108"/>
              <a:gd name="T60" fmla="*/ 107 w 127"/>
              <a:gd name="T61" fmla="*/ 12 h 108"/>
              <a:gd name="T62" fmla="*/ 112 w 127"/>
              <a:gd name="T63" fmla="*/ 13 h 108"/>
              <a:gd name="T64" fmla="*/ 116 w 127"/>
              <a:gd name="T65" fmla="*/ 20 h 108"/>
              <a:gd name="T66" fmla="*/ 117 w 127"/>
              <a:gd name="T67" fmla="*/ 26 h 108"/>
              <a:gd name="T68" fmla="*/ 119 w 127"/>
              <a:gd name="T69" fmla="*/ 34 h 108"/>
              <a:gd name="T70" fmla="*/ 121 w 127"/>
              <a:gd name="T71" fmla="*/ 40 h 108"/>
              <a:gd name="T72" fmla="*/ 115 w 127"/>
              <a:gd name="T73" fmla="*/ 47 h 108"/>
              <a:gd name="T74" fmla="*/ 114 w 127"/>
              <a:gd name="T75" fmla="*/ 50 h 108"/>
              <a:gd name="T76" fmla="*/ 116 w 127"/>
              <a:gd name="T77" fmla="*/ 56 h 108"/>
              <a:gd name="T78" fmla="*/ 119 w 127"/>
              <a:gd name="T79" fmla="*/ 66 h 108"/>
              <a:gd name="T80" fmla="*/ 125 w 127"/>
              <a:gd name="T81" fmla="*/ 79 h 108"/>
              <a:gd name="T82" fmla="*/ 124 w 127"/>
              <a:gd name="T83" fmla="*/ 83 h 108"/>
              <a:gd name="T84" fmla="*/ 119 w 127"/>
              <a:gd name="T85" fmla="*/ 92 h 108"/>
              <a:gd name="T86" fmla="*/ 111 w 127"/>
              <a:gd name="T87" fmla="*/ 107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27" h="108">
                <a:moveTo>
                  <a:pt x="110" y="107"/>
                </a:moveTo>
                <a:lnTo>
                  <a:pt x="106" y="107"/>
                </a:lnTo>
                <a:lnTo>
                  <a:pt x="99" y="103"/>
                </a:lnTo>
                <a:lnTo>
                  <a:pt x="95" y="102"/>
                </a:lnTo>
                <a:lnTo>
                  <a:pt x="90" y="102"/>
                </a:lnTo>
                <a:lnTo>
                  <a:pt x="87" y="102"/>
                </a:lnTo>
                <a:lnTo>
                  <a:pt x="82" y="103"/>
                </a:lnTo>
                <a:lnTo>
                  <a:pt x="79" y="106"/>
                </a:lnTo>
                <a:lnTo>
                  <a:pt x="76" y="106"/>
                </a:lnTo>
                <a:lnTo>
                  <a:pt x="74" y="105"/>
                </a:lnTo>
                <a:lnTo>
                  <a:pt x="74" y="103"/>
                </a:lnTo>
                <a:lnTo>
                  <a:pt x="72" y="102"/>
                </a:lnTo>
                <a:lnTo>
                  <a:pt x="72" y="101"/>
                </a:lnTo>
                <a:lnTo>
                  <a:pt x="70" y="100"/>
                </a:lnTo>
                <a:lnTo>
                  <a:pt x="68" y="100"/>
                </a:lnTo>
                <a:lnTo>
                  <a:pt x="65" y="100"/>
                </a:lnTo>
                <a:lnTo>
                  <a:pt x="63" y="100"/>
                </a:lnTo>
                <a:lnTo>
                  <a:pt x="62" y="99"/>
                </a:lnTo>
                <a:lnTo>
                  <a:pt x="61" y="98"/>
                </a:lnTo>
                <a:lnTo>
                  <a:pt x="61" y="97"/>
                </a:lnTo>
                <a:lnTo>
                  <a:pt x="59" y="93"/>
                </a:lnTo>
                <a:lnTo>
                  <a:pt x="56" y="91"/>
                </a:lnTo>
                <a:lnTo>
                  <a:pt x="54" y="90"/>
                </a:lnTo>
                <a:lnTo>
                  <a:pt x="48" y="88"/>
                </a:lnTo>
                <a:lnTo>
                  <a:pt x="43" y="86"/>
                </a:lnTo>
                <a:lnTo>
                  <a:pt x="41" y="84"/>
                </a:lnTo>
                <a:lnTo>
                  <a:pt x="40" y="84"/>
                </a:lnTo>
                <a:lnTo>
                  <a:pt x="39" y="83"/>
                </a:lnTo>
                <a:lnTo>
                  <a:pt x="36" y="86"/>
                </a:lnTo>
                <a:lnTo>
                  <a:pt x="36" y="87"/>
                </a:lnTo>
                <a:lnTo>
                  <a:pt x="34" y="87"/>
                </a:lnTo>
                <a:lnTo>
                  <a:pt x="33" y="87"/>
                </a:lnTo>
                <a:lnTo>
                  <a:pt x="32" y="86"/>
                </a:lnTo>
                <a:lnTo>
                  <a:pt x="31" y="84"/>
                </a:lnTo>
                <a:lnTo>
                  <a:pt x="31" y="83"/>
                </a:lnTo>
                <a:lnTo>
                  <a:pt x="21" y="79"/>
                </a:lnTo>
                <a:lnTo>
                  <a:pt x="14" y="76"/>
                </a:lnTo>
                <a:lnTo>
                  <a:pt x="10" y="74"/>
                </a:lnTo>
                <a:lnTo>
                  <a:pt x="10" y="66"/>
                </a:lnTo>
                <a:lnTo>
                  <a:pt x="9" y="61"/>
                </a:lnTo>
                <a:lnTo>
                  <a:pt x="5" y="52"/>
                </a:lnTo>
                <a:lnTo>
                  <a:pt x="0" y="37"/>
                </a:lnTo>
                <a:lnTo>
                  <a:pt x="0" y="30"/>
                </a:lnTo>
                <a:lnTo>
                  <a:pt x="0" y="17"/>
                </a:lnTo>
                <a:lnTo>
                  <a:pt x="3" y="17"/>
                </a:lnTo>
                <a:lnTo>
                  <a:pt x="7" y="16"/>
                </a:lnTo>
                <a:lnTo>
                  <a:pt x="12" y="16"/>
                </a:lnTo>
                <a:lnTo>
                  <a:pt x="22" y="10"/>
                </a:lnTo>
                <a:lnTo>
                  <a:pt x="30" y="4"/>
                </a:lnTo>
                <a:lnTo>
                  <a:pt x="36" y="0"/>
                </a:lnTo>
                <a:lnTo>
                  <a:pt x="53" y="0"/>
                </a:lnTo>
                <a:lnTo>
                  <a:pt x="53" y="3"/>
                </a:lnTo>
                <a:lnTo>
                  <a:pt x="54" y="6"/>
                </a:lnTo>
                <a:lnTo>
                  <a:pt x="55" y="7"/>
                </a:lnTo>
                <a:lnTo>
                  <a:pt x="56" y="7"/>
                </a:lnTo>
                <a:lnTo>
                  <a:pt x="59" y="8"/>
                </a:lnTo>
                <a:lnTo>
                  <a:pt x="63" y="7"/>
                </a:lnTo>
                <a:lnTo>
                  <a:pt x="68" y="7"/>
                </a:lnTo>
                <a:lnTo>
                  <a:pt x="102" y="7"/>
                </a:lnTo>
                <a:lnTo>
                  <a:pt x="103" y="9"/>
                </a:lnTo>
                <a:lnTo>
                  <a:pt x="104" y="11"/>
                </a:lnTo>
                <a:lnTo>
                  <a:pt x="107" y="12"/>
                </a:lnTo>
                <a:lnTo>
                  <a:pt x="111" y="13"/>
                </a:lnTo>
                <a:lnTo>
                  <a:pt x="112" y="13"/>
                </a:lnTo>
                <a:lnTo>
                  <a:pt x="114" y="16"/>
                </a:lnTo>
                <a:lnTo>
                  <a:pt x="116" y="20"/>
                </a:lnTo>
                <a:lnTo>
                  <a:pt x="116" y="22"/>
                </a:lnTo>
                <a:lnTo>
                  <a:pt x="117" y="26"/>
                </a:lnTo>
                <a:lnTo>
                  <a:pt x="119" y="29"/>
                </a:lnTo>
                <a:lnTo>
                  <a:pt x="119" y="34"/>
                </a:lnTo>
                <a:lnTo>
                  <a:pt x="120" y="38"/>
                </a:lnTo>
                <a:lnTo>
                  <a:pt x="121" y="40"/>
                </a:lnTo>
                <a:lnTo>
                  <a:pt x="116" y="44"/>
                </a:lnTo>
                <a:lnTo>
                  <a:pt x="115" y="47"/>
                </a:lnTo>
                <a:lnTo>
                  <a:pt x="114" y="48"/>
                </a:lnTo>
                <a:lnTo>
                  <a:pt x="114" y="50"/>
                </a:lnTo>
                <a:lnTo>
                  <a:pt x="114" y="53"/>
                </a:lnTo>
                <a:lnTo>
                  <a:pt x="116" y="56"/>
                </a:lnTo>
                <a:lnTo>
                  <a:pt x="117" y="61"/>
                </a:lnTo>
                <a:lnTo>
                  <a:pt x="119" y="66"/>
                </a:lnTo>
                <a:lnTo>
                  <a:pt x="123" y="75"/>
                </a:lnTo>
                <a:lnTo>
                  <a:pt x="125" y="79"/>
                </a:lnTo>
                <a:lnTo>
                  <a:pt x="126" y="81"/>
                </a:lnTo>
                <a:lnTo>
                  <a:pt x="124" y="83"/>
                </a:lnTo>
                <a:lnTo>
                  <a:pt x="122" y="85"/>
                </a:lnTo>
                <a:lnTo>
                  <a:pt x="119" y="92"/>
                </a:lnTo>
                <a:lnTo>
                  <a:pt x="115" y="99"/>
                </a:lnTo>
                <a:lnTo>
                  <a:pt x="111" y="107"/>
                </a:lnTo>
                <a:lnTo>
                  <a:pt x="110" y="107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63" name="Freeform 162">
            <a:extLst>
              <a:ext uri="{FF2B5EF4-FFF2-40B4-BE49-F238E27FC236}">
                <a16:creationId xmlns:a16="http://schemas.microsoft.com/office/drawing/2014/main" id="{0A17E1C6-5389-4DB0-B4FD-4C89365142E7}"/>
              </a:ext>
            </a:extLst>
          </p:cNvPr>
          <p:cNvSpPr>
            <a:spLocks/>
          </p:cNvSpPr>
          <p:nvPr/>
        </p:nvSpPr>
        <p:spPr bwMode="auto">
          <a:xfrm>
            <a:off x="6482725" y="3387571"/>
            <a:ext cx="268288" cy="209550"/>
          </a:xfrm>
          <a:custGeom>
            <a:avLst/>
            <a:gdLst>
              <a:gd name="T0" fmla="*/ 35 w 133"/>
              <a:gd name="T1" fmla="*/ 0 h 112"/>
              <a:gd name="T2" fmla="*/ 22 w 133"/>
              <a:gd name="T3" fmla="*/ 1 h 112"/>
              <a:gd name="T4" fmla="*/ 19 w 133"/>
              <a:gd name="T5" fmla="*/ 3 h 112"/>
              <a:gd name="T6" fmla="*/ 11 w 133"/>
              <a:gd name="T7" fmla="*/ 4 h 112"/>
              <a:gd name="T8" fmla="*/ 0 w 133"/>
              <a:gd name="T9" fmla="*/ 3 h 112"/>
              <a:gd name="T10" fmla="*/ 0 w 133"/>
              <a:gd name="T11" fmla="*/ 13 h 112"/>
              <a:gd name="T12" fmla="*/ 3 w 133"/>
              <a:gd name="T13" fmla="*/ 19 h 112"/>
              <a:gd name="T14" fmla="*/ 7 w 133"/>
              <a:gd name="T15" fmla="*/ 30 h 112"/>
              <a:gd name="T16" fmla="*/ 12 w 133"/>
              <a:gd name="T17" fmla="*/ 35 h 112"/>
              <a:gd name="T18" fmla="*/ 14 w 133"/>
              <a:gd name="T19" fmla="*/ 37 h 112"/>
              <a:gd name="T20" fmla="*/ 16 w 133"/>
              <a:gd name="T21" fmla="*/ 31 h 112"/>
              <a:gd name="T22" fmla="*/ 22 w 133"/>
              <a:gd name="T23" fmla="*/ 35 h 112"/>
              <a:gd name="T24" fmla="*/ 27 w 133"/>
              <a:gd name="T25" fmla="*/ 48 h 112"/>
              <a:gd name="T26" fmla="*/ 33 w 133"/>
              <a:gd name="T27" fmla="*/ 55 h 112"/>
              <a:gd name="T28" fmla="*/ 38 w 133"/>
              <a:gd name="T29" fmla="*/ 60 h 112"/>
              <a:gd name="T30" fmla="*/ 43 w 133"/>
              <a:gd name="T31" fmla="*/ 60 h 112"/>
              <a:gd name="T32" fmla="*/ 49 w 133"/>
              <a:gd name="T33" fmla="*/ 59 h 112"/>
              <a:gd name="T34" fmla="*/ 60 w 133"/>
              <a:gd name="T35" fmla="*/ 64 h 112"/>
              <a:gd name="T36" fmla="*/ 73 w 133"/>
              <a:gd name="T37" fmla="*/ 74 h 112"/>
              <a:gd name="T38" fmla="*/ 80 w 133"/>
              <a:gd name="T39" fmla="*/ 82 h 112"/>
              <a:gd name="T40" fmla="*/ 84 w 133"/>
              <a:gd name="T41" fmla="*/ 86 h 112"/>
              <a:gd name="T42" fmla="*/ 86 w 133"/>
              <a:gd name="T43" fmla="*/ 80 h 112"/>
              <a:gd name="T44" fmla="*/ 92 w 133"/>
              <a:gd name="T45" fmla="*/ 80 h 112"/>
              <a:gd name="T46" fmla="*/ 96 w 133"/>
              <a:gd name="T47" fmla="*/ 84 h 112"/>
              <a:gd name="T48" fmla="*/ 99 w 133"/>
              <a:gd name="T49" fmla="*/ 90 h 112"/>
              <a:gd name="T50" fmla="*/ 99 w 133"/>
              <a:gd name="T51" fmla="*/ 99 h 112"/>
              <a:gd name="T52" fmla="*/ 100 w 133"/>
              <a:gd name="T53" fmla="*/ 104 h 112"/>
              <a:gd name="T54" fmla="*/ 102 w 133"/>
              <a:gd name="T55" fmla="*/ 107 h 112"/>
              <a:gd name="T56" fmla="*/ 106 w 133"/>
              <a:gd name="T57" fmla="*/ 109 h 112"/>
              <a:gd name="T58" fmla="*/ 109 w 133"/>
              <a:gd name="T59" fmla="*/ 111 h 112"/>
              <a:gd name="T60" fmla="*/ 120 w 133"/>
              <a:gd name="T61" fmla="*/ 108 h 112"/>
              <a:gd name="T62" fmla="*/ 127 w 133"/>
              <a:gd name="T63" fmla="*/ 107 h 112"/>
              <a:gd name="T64" fmla="*/ 132 w 133"/>
              <a:gd name="T65" fmla="*/ 102 h 112"/>
              <a:gd name="T66" fmla="*/ 132 w 133"/>
              <a:gd name="T67" fmla="*/ 99 h 112"/>
              <a:gd name="T68" fmla="*/ 131 w 133"/>
              <a:gd name="T69" fmla="*/ 89 h 112"/>
              <a:gd name="T70" fmla="*/ 128 w 133"/>
              <a:gd name="T71" fmla="*/ 87 h 112"/>
              <a:gd name="T72" fmla="*/ 126 w 133"/>
              <a:gd name="T73" fmla="*/ 85 h 112"/>
              <a:gd name="T74" fmla="*/ 125 w 133"/>
              <a:gd name="T75" fmla="*/ 82 h 112"/>
              <a:gd name="T76" fmla="*/ 127 w 133"/>
              <a:gd name="T77" fmla="*/ 74 h 112"/>
              <a:gd name="T78" fmla="*/ 129 w 133"/>
              <a:gd name="T79" fmla="*/ 67 h 112"/>
              <a:gd name="T80" fmla="*/ 126 w 133"/>
              <a:gd name="T81" fmla="*/ 60 h 112"/>
              <a:gd name="T82" fmla="*/ 125 w 133"/>
              <a:gd name="T83" fmla="*/ 54 h 112"/>
              <a:gd name="T84" fmla="*/ 124 w 133"/>
              <a:gd name="T85" fmla="*/ 52 h 112"/>
              <a:gd name="T86" fmla="*/ 125 w 133"/>
              <a:gd name="T87" fmla="*/ 48 h 112"/>
              <a:gd name="T88" fmla="*/ 119 w 133"/>
              <a:gd name="T89" fmla="*/ 44 h 112"/>
              <a:gd name="T90" fmla="*/ 110 w 133"/>
              <a:gd name="T91" fmla="*/ 39 h 112"/>
              <a:gd name="T92" fmla="*/ 106 w 133"/>
              <a:gd name="T93" fmla="*/ 32 h 112"/>
              <a:gd name="T94" fmla="*/ 105 w 133"/>
              <a:gd name="T95" fmla="*/ 28 h 112"/>
              <a:gd name="T96" fmla="*/ 100 w 133"/>
              <a:gd name="T97" fmla="*/ 26 h 112"/>
              <a:gd name="T98" fmla="*/ 99 w 133"/>
              <a:gd name="T99" fmla="*/ 23 h 112"/>
              <a:gd name="T100" fmla="*/ 96 w 133"/>
              <a:gd name="T101" fmla="*/ 21 h 112"/>
              <a:gd name="T102" fmla="*/ 95 w 133"/>
              <a:gd name="T103" fmla="*/ 15 h 112"/>
              <a:gd name="T104" fmla="*/ 88 w 133"/>
              <a:gd name="T105" fmla="*/ 14 h 112"/>
              <a:gd name="T106" fmla="*/ 84 w 133"/>
              <a:gd name="T107" fmla="*/ 12 h 112"/>
              <a:gd name="T108" fmla="*/ 78 w 133"/>
              <a:gd name="T109" fmla="*/ 13 h 112"/>
              <a:gd name="T110" fmla="*/ 69 w 133"/>
              <a:gd name="T111" fmla="*/ 17 h 112"/>
              <a:gd name="T112" fmla="*/ 63 w 133"/>
              <a:gd name="T113" fmla="*/ 18 h 112"/>
              <a:gd name="T114" fmla="*/ 54 w 133"/>
              <a:gd name="T115" fmla="*/ 16 h 112"/>
              <a:gd name="T116" fmla="*/ 48 w 133"/>
              <a:gd name="T117" fmla="*/ 10 h 112"/>
              <a:gd name="T118" fmla="*/ 39 w 133"/>
              <a:gd name="T119" fmla="*/ 3 h 112"/>
              <a:gd name="T120" fmla="*/ 36 w 133"/>
              <a:gd name="T121" fmla="*/ 0 h 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33" h="112">
                <a:moveTo>
                  <a:pt x="36" y="0"/>
                </a:moveTo>
                <a:lnTo>
                  <a:pt x="35" y="0"/>
                </a:lnTo>
                <a:lnTo>
                  <a:pt x="34" y="1"/>
                </a:lnTo>
                <a:lnTo>
                  <a:pt x="22" y="1"/>
                </a:lnTo>
                <a:lnTo>
                  <a:pt x="21" y="3"/>
                </a:lnTo>
                <a:lnTo>
                  <a:pt x="19" y="3"/>
                </a:lnTo>
                <a:lnTo>
                  <a:pt x="16" y="4"/>
                </a:lnTo>
                <a:lnTo>
                  <a:pt x="11" y="4"/>
                </a:lnTo>
                <a:lnTo>
                  <a:pt x="5" y="4"/>
                </a:lnTo>
                <a:lnTo>
                  <a:pt x="0" y="3"/>
                </a:lnTo>
                <a:lnTo>
                  <a:pt x="0" y="7"/>
                </a:lnTo>
                <a:lnTo>
                  <a:pt x="0" y="13"/>
                </a:lnTo>
                <a:lnTo>
                  <a:pt x="2" y="16"/>
                </a:lnTo>
                <a:lnTo>
                  <a:pt x="3" y="19"/>
                </a:lnTo>
                <a:lnTo>
                  <a:pt x="6" y="26"/>
                </a:lnTo>
                <a:lnTo>
                  <a:pt x="7" y="30"/>
                </a:lnTo>
                <a:lnTo>
                  <a:pt x="9" y="32"/>
                </a:lnTo>
                <a:lnTo>
                  <a:pt x="12" y="35"/>
                </a:lnTo>
                <a:lnTo>
                  <a:pt x="12" y="36"/>
                </a:lnTo>
                <a:lnTo>
                  <a:pt x="14" y="37"/>
                </a:lnTo>
                <a:lnTo>
                  <a:pt x="14" y="34"/>
                </a:lnTo>
                <a:lnTo>
                  <a:pt x="16" y="31"/>
                </a:lnTo>
                <a:lnTo>
                  <a:pt x="19" y="25"/>
                </a:lnTo>
                <a:lnTo>
                  <a:pt x="22" y="35"/>
                </a:lnTo>
                <a:lnTo>
                  <a:pt x="25" y="44"/>
                </a:lnTo>
                <a:lnTo>
                  <a:pt x="27" y="48"/>
                </a:lnTo>
                <a:lnTo>
                  <a:pt x="30" y="52"/>
                </a:lnTo>
                <a:lnTo>
                  <a:pt x="33" y="55"/>
                </a:lnTo>
                <a:lnTo>
                  <a:pt x="36" y="59"/>
                </a:lnTo>
                <a:lnTo>
                  <a:pt x="38" y="60"/>
                </a:lnTo>
                <a:lnTo>
                  <a:pt x="39" y="60"/>
                </a:lnTo>
                <a:lnTo>
                  <a:pt x="43" y="60"/>
                </a:lnTo>
                <a:lnTo>
                  <a:pt x="47" y="59"/>
                </a:lnTo>
                <a:lnTo>
                  <a:pt x="49" y="59"/>
                </a:lnTo>
                <a:lnTo>
                  <a:pt x="51" y="60"/>
                </a:lnTo>
                <a:lnTo>
                  <a:pt x="60" y="64"/>
                </a:lnTo>
                <a:lnTo>
                  <a:pt x="68" y="71"/>
                </a:lnTo>
                <a:lnTo>
                  <a:pt x="73" y="74"/>
                </a:lnTo>
                <a:lnTo>
                  <a:pt x="77" y="78"/>
                </a:lnTo>
                <a:lnTo>
                  <a:pt x="80" y="82"/>
                </a:lnTo>
                <a:lnTo>
                  <a:pt x="83" y="87"/>
                </a:lnTo>
                <a:lnTo>
                  <a:pt x="84" y="86"/>
                </a:lnTo>
                <a:lnTo>
                  <a:pt x="85" y="81"/>
                </a:lnTo>
                <a:lnTo>
                  <a:pt x="86" y="80"/>
                </a:lnTo>
                <a:lnTo>
                  <a:pt x="89" y="78"/>
                </a:lnTo>
                <a:lnTo>
                  <a:pt x="92" y="80"/>
                </a:lnTo>
                <a:lnTo>
                  <a:pt x="95" y="81"/>
                </a:lnTo>
                <a:lnTo>
                  <a:pt x="96" y="84"/>
                </a:lnTo>
                <a:lnTo>
                  <a:pt x="99" y="87"/>
                </a:lnTo>
                <a:lnTo>
                  <a:pt x="99" y="90"/>
                </a:lnTo>
                <a:lnTo>
                  <a:pt x="98" y="95"/>
                </a:lnTo>
                <a:lnTo>
                  <a:pt x="99" y="99"/>
                </a:lnTo>
                <a:lnTo>
                  <a:pt x="100" y="103"/>
                </a:lnTo>
                <a:lnTo>
                  <a:pt x="100" y="104"/>
                </a:lnTo>
                <a:lnTo>
                  <a:pt x="101" y="105"/>
                </a:lnTo>
                <a:lnTo>
                  <a:pt x="102" y="107"/>
                </a:lnTo>
                <a:lnTo>
                  <a:pt x="103" y="107"/>
                </a:lnTo>
                <a:lnTo>
                  <a:pt x="106" y="109"/>
                </a:lnTo>
                <a:lnTo>
                  <a:pt x="107" y="111"/>
                </a:lnTo>
                <a:lnTo>
                  <a:pt x="109" y="111"/>
                </a:lnTo>
                <a:lnTo>
                  <a:pt x="117" y="109"/>
                </a:lnTo>
                <a:lnTo>
                  <a:pt x="120" y="108"/>
                </a:lnTo>
                <a:lnTo>
                  <a:pt x="124" y="107"/>
                </a:lnTo>
                <a:lnTo>
                  <a:pt x="127" y="107"/>
                </a:lnTo>
                <a:lnTo>
                  <a:pt x="129" y="104"/>
                </a:lnTo>
                <a:lnTo>
                  <a:pt x="132" y="102"/>
                </a:lnTo>
                <a:lnTo>
                  <a:pt x="132" y="100"/>
                </a:lnTo>
                <a:lnTo>
                  <a:pt x="132" y="99"/>
                </a:lnTo>
                <a:lnTo>
                  <a:pt x="132" y="89"/>
                </a:lnTo>
                <a:lnTo>
                  <a:pt x="131" y="89"/>
                </a:lnTo>
                <a:lnTo>
                  <a:pt x="129" y="89"/>
                </a:lnTo>
                <a:lnTo>
                  <a:pt x="128" y="87"/>
                </a:lnTo>
                <a:lnTo>
                  <a:pt x="127" y="86"/>
                </a:lnTo>
                <a:lnTo>
                  <a:pt x="126" y="85"/>
                </a:lnTo>
                <a:lnTo>
                  <a:pt x="125" y="84"/>
                </a:lnTo>
                <a:lnTo>
                  <a:pt x="125" y="82"/>
                </a:lnTo>
                <a:lnTo>
                  <a:pt x="126" y="77"/>
                </a:lnTo>
                <a:lnTo>
                  <a:pt x="127" y="74"/>
                </a:lnTo>
                <a:lnTo>
                  <a:pt x="128" y="69"/>
                </a:lnTo>
                <a:lnTo>
                  <a:pt x="129" y="67"/>
                </a:lnTo>
                <a:lnTo>
                  <a:pt x="128" y="63"/>
                </a:lnTo>
                <a:lnTo>
                  <a:pt x="126" y="60"/>
                </a:lnTo>
                <a:lnTo>
                  <a:pt x="125" y="57"/>
                </a:lnTo>
                <a:lnTo>
                  <a:pt x="125" y="54"/>
                </a:lnTo>
                <a:lnTo>
                  <a:pt x="124" y="53"/>
                </a:lnTo>
                <a:lnTo>
                  <a:pt x="124" y="52"/>
                </a:lnTo>
                <a:lnTo>
                  <a:pt x="124" y="50"/>
                </a:lnTo>
                <a:lnTo>
                  <a:pt x="125" y="48"/>
                </a:lnTo>
                <a:lnTo>
                  <a:pt x="122" y="46"/>
                </a:lnTo>
                <a:lnTo>
                  <a:pt x="119" y="44"/>
                </a:lnTo>
                <a:lnTo>
                  <a:pt x="113" y="41"/>
                </a:lnTo>
                <a:lnTo>
                  <a:pt x="110" y="39"/>
                </a:lnTo>
                <a:lnTo>
                  <a:pt x="107" y="36"/>
                </a:lnTo>
                <a:lnTo>
                  <a:pt x="106" y="32"/>
                </a:lnTo>
                <a:lnTo>
                  <a:pt x="106" y="30"/>
                </a:lnTo>
                <a:lnTo>
                  <a:pt x="105" y="28"/>
                </a:lnTo>
                <a:lnTo>
                  <a:pt x="101" y="27"/>
                </a:lnTo>
                <a:lnTo>
                  <a:pt x="100" y="26"/>
                </a:lnTo>
                <a:lnTo>
                  <a:pt x="99" y="25"/>
                </a:lnTo>
                <a:lnTo>
                  <a:pt x="99" y="23"/>
                </a:lnTo>
                <a:lnTo>
                  <a:pt x="97" y="23"/>
                </a:lnTo>
                <a:lnTo>
                  <a:pt x="96" y="21"/>
                </a:lnTo>
                <a:lnTo>
                  <a:pt x="95" y="19"/>
                </a:lnTo>
                <a:lnTo>
                  <a:pt x="95" y="15"/>
                </a:lnTo>
                <a:lnTo>
                  <a:pt x="91" y="15"/>
                </a:lnTo>
                <a:lnTo>
                  <a:pt x="88" y="14"/>
                </a:lnTo>
                <a:lnTo>
                  <a:pt x="85" y="13"/>
                </a:lnTo>
                <a:lnTo>
                  <a:pt x="84" y="12"/>
                </a:lnTo>
                <a:lnTo>
                  <a:pt x="83" y="10"/>
                </a:lnTo>
                <a:lnTo>
                  <a:pt x="78" y="13"/>
                </a:lnTo>
                <a:lnTo>
                  <a:pt x="74" y="15"/>
                </a:lnTo>
                <a:lnTo>
                  <a:pt x="69" y="17"/>
                </a:lnTo>
                <a:lnTo>
                  <a:pt x="66" y="18"/>
                </a:lnTo>
                <a:lnTo>
                  <a:pt x="63" y="18"/>
                </a:lnTo>
                <a:lnTo>
                  <a:pt x="58" y="18"/>
                </a:lnTo>
                <a:lnTo>
                  <a:pt x="54" y="16"/>
                </a:lnTo>
                <a:lnTo>
                  <a:pt x="51" y="13"/>
                </a:lnTo>
                <a:lnTo>
                  <a:pt x="48" y="10"/>
                </a:lnTo>
                <a:lnTo>
                  <a:pt x="42" y="5"/>
                </a:lnTo>
                <a:lnTo>
                  <a:pt x="39" y="3"/>
                </a:lnTo>
                <a:lnTo>
                  <a:pt x="35" y="0"/>
                </a:lnTo>
                <a:lnTo>
                  <a:pt x="36" y="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64" name="Freeform 163">
            <a:extLst>
              <a:ext uri="{FF2B5EF4-FFF2-40B4-BE49-F238E27FC236}">
                <a16:creationId xmlns:a16="http://schemas.microsoft.com/office/drawing/2014/main" id="{5B979861-C52A-2549-4529-295B5ABA2680}"/>
              </a:ext>
            </a:extLst>
          </p:cNvPr>
          <p:cNvSpPr>
            <a:spLocks/>
          </p:cNvSpPr>
          <p:nvPr/>
        </p:nvSpPr>
        <p:spPr bwMode="auto">
          <a:xfrm>
            <a:off x="6555750" y="3322484"/>
            <a:ext cx="177800" cy="100013"/>
          </a:xfrm>
          <a:custGeom>
            <a:avLst/>
            <a:gdLst>
              <a:gd name="T0" fmla="*/ 53 w 88"/>
              <a:gd name="T1" fmla="*/ 49 h 54"/>
              <a:gd name="T2" fmla="*/ 50 w 88"/>
              <a:gd name="T3" fmla="*/ 47 h 54"/>
              <a:gd name="T4" fmla="*/ 49 w 88"/>
              <a:gd name="T5" fmla="*/ 46 h 54"/>
              <a:gd name="T6" fmla="*/ 47 w 88"/>
              <a:gd name="T7" fmla="*/ 44 h 54"/>
              <a:gd name="T8" fmla="*/ 43 w 88"/>
              <a:gd name="T9" fmla="*/ 47 h 54"/>
              <a:gd name="T10" fmla="*/ 39 w 88"/>
              <a:gd name="T11" fmla="*/ 49 h 54"/>
              <a:gd name="T12" fmla="*/ 33 w 88"/>
              <a:gd name="T13" fmla="*/ 52 h 54"/>
              <a:gd name="T14" fmla="*/ 30 w 88"/>
              <a:gd name="T15" fmla="*/ 53 h 54"/>
              <a:gd name="T16" fmla="*/ 27 w 88"/>
              <a:gd name="T17" fmla="*/ 53 h 54"/>
              <a:gd name="T18" fmla="*/ 23 w 88"/>
              <a:gd name="T19" fmla="*/ 53 h 54"/>
              <a:gd name="T20" fmla="*/ 18 w 88"/>
              <a:gd name="T21" fmla="*/ 51 h 54"/>
              <a:gd name="T22" fmla="*/ 16 w 88"/>
              <a:gd name="T23" fmla="*/ 48 h 54"/>
              <a:gd name="T24" fmla="*/ 13 w 88"/>
              <a:gd name="T25" fmla="*/ 45 h 54"/>
              <a:gd name="T26" fmla="*/ 6 w 88"/>
              <a:gd name="T27" fmla="*/ 39 h 54"/>
              <a:gd name="T28" fmla="*/ 3 w 88"/>
              <a:gd name="T29" fmla="*/ 37 h 54"/>
              <a:gd name="T30" fmla="*/ 0 w 88"/>
              <a:gd name="T31" fmla="*/ 35 h 54"/>
              <a:gd name="T32" fmla="*/ 2 w 88"/>
              <a:gd name="T33" fmla="*/ 33 h 54"/>
              <a:gd name="T34" fmla="*/ 3 w 88"/>
              <a:gd name="T35" fmla="*/ 30 h 54"/>
              <a:gd name="T36" fmla="*/ 4 w 88"/>
              <a:gd name="T37" fmla="*/ 27 h 54"/>
              <a:gd name="T38" fmla="*/ 6 w 88"/>
              <a:gd name="T39" fmla="*/ 24 h 54"/>
              <a:gd name="T40" fmla="*/ 6 w 88"/>
              <a:gd name="T41" fmla="*/ 20 h 54"/>
              <a:gd name="T42" fmla="*/ 7 w 88"/>
              <a:gd name="T43" fmla="*/ 16 h 54"/>
              <a:gd name="T44" fmla="*/ 9 w 88"/>
              <a:gd name="T45" fmla="*/ 13 h 54"/>
              <a:gd name="T46" fmla="*/ 12 w 88"/>
              <a:gd name="T47" fmla="*/ 11 h 54"/>
              <a:gd name="T48" fmla="*/ 17 w 88"/>
              <a:gd name="T49" fmla="*/ 15 h 54"/>
              <a:gd name="T50" fmla="*/ 20 w 88"/>
              <a:gd name="T51" fmla="*/ 16 h 54"/>
              <a:gd name="T52" fmla="*/ 24 w 88"/>
              <a:gd name="T53" fmla="*/ 16 h 54"/>
              <a:gd name="T54" fmla="*/ 30 w 88"/>
              <a:gd name="T55" fmla="*/ 13 h 54"/>
              <a:gd name="T56" fmla="*/ 39 w 88"/>
              <a:gd name="T57" fmla="*/ 10 h 54"/>
              <a:gd name="T58" fmla="*/ 47 w 88"/>
              <a:gd name="T59" fmla="*/ 6 h 54"/>
              <a:gd name="T60" fmla="*/ 51 w 88"/>
              <a:gd name="T61" fmla="*/ 3 h 54"/>
              <a:gd name="T62" fmla="*/ 52 w 88"/>
              <a:gd name="T63" fmla="*/ 3 h 54"/>
              <a:gd name="T64" fmla="*/ 53 w 88"/>
              <a:gd name="T65" fmla="*/ 1 h 54"/>
              <a:gd name="T66" fmla="*/ 55 w 88"/>
              <a:gd name="T67" fmla="*/ 1 h 54"/>
              <a:gd name="T68" fmla="*/ 57 w 88"/>
              <a:gd name="T69" fmla="*/ 0 h 54"/>
              <a:gd name="T70" fmla="*/ 60 w 88"/>
              <a:gd name="T71" fmla="*/ 0 h 54"/>
              <a:gd name="T72" fmla="*/ 64 w 88"/>
              <a:gd name="T73" fmla="*/ 1 h 54"/>
              <a:gd name="T74" fmla="*/ 70 w 88"/>
              <a:gd name="T75" fmla="*/ 3 h 54"/>
              <a:gd name="T76" fmla="*/ 73 w 88"/>
              <a:gd name="T77" fmla="*/ 3 h 54"/>
              <a:gd name="T78" fmla="*/ 76 w 88"/>
              <a:gd name="T79" fmla="*/ 3 h 54"/>
              <a:gd name="T80" fmla="*/ 76 w 88"/>
              <a:gd name="T81" fmla="*/ 1 h 54"/>
              <a:gd name="T82" fmla="*/ 77 w 88"/>
              <a:gd name="T83" fmla="*/ 3 h 54"/>
              <a:gd name="T84" fmla="*/ 80 w 88"/>
              <a:gd name="T85" fmla="*/ 6 h 54"/>
              <a:gd name="T86" fmla="*/ 83 w 88"/>
              <a:gd name="T87" fmla="*/ 7 h 54"/>
              <a:gd name="T88" fmla="*/ 87 w 88"/>
              <a:gd name="T89" fmla="*/ 9 h 54"/>
              <a:gd name="T90" fmla="*/ 85 w 88"/>
              <a:gd name="T91" fmla="*/ 11 h 54"/>
              <a:gd name="T92" fmla="*/ 83 w 88"/>
              <a:gd name="T93" fmla="*/ 13 h 54"/>
              <a:gd name="T94" fmla="*/ 80 w 88"/>
              <a:gd name="T95" fmla="*/ 16 h 54"/>
              <a:gd name="T96" fmla="*/ 77 w 88"/>
              <a:gd name="T97" fmla="*/ 19 h 54"/>
              <a:gd name="T98" fmla="*/ 74 w 88"/>
              <a:gd name="T99" fmla="*/ 23 h 54"/>
              <a:gd name="T100" fmla="*/ 73 w 88"/>
              <a:gd name="T101" fmla="*/ 29 h 54"/>
              <a:gd name="T102" fmla="*/ 72 w 88"/>
              <a:gd name="T103" fmla="*/ 33 h 54"/>
              <a:gd name="T104" fmla="*/ 71 w 88"/>
              <a:gd name="T105" fmla="*/ 37 h 54"/>
              <a:gd name="T106" fmla="*/ 69 w 88"/>
              <a:gd name="T107" fmla="*/ 40 h 54"/>
              <a:gd name="T108" fmla="*/ 66 w 88"/>
              <a:gd name="T109" fmla="*/ 42 h 54"/>
              <a:gd name="T110" fmla="*/ 65 w 88"/>
              <a:gd name="T111" fmla="*/ 43 h 54"/>
              <a:gd name="T112" fmla="*/ 60 w 88"/>
              <a:gd name="T113" fmla="*/ 44 h 54"/>
              <a:gd name="T114" fmla="*/ 56 w 88"/>
              <a:gd name="T115" fmla="*/ 46 h 54"/>
              <a:gd name="T116" fmla="*/ 55 w 88"/>
              <a:gd name="T117" fmla="*/ 47 h 54"/>
              <a:gd name="T118" fmla="*/ 53 w 88"/>
              <a:gd name="T119" fmla="*/ 48 h 54"/>
              <a:gd name="T120" fmla="*/ 53 w 88"/>
              <a:gd name="T121" fmla="*/ 49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88" h="54">
                <a:moveTo>
                  <a:pt x="53" y="49"/>
                </a:moveTo>
                <a:lnTo>
                  <a:pt x="50" y="47"/>
                </a:lnTo>
                <a:lnTo>
                  <a:pt x="49" y="46"/>
                </a:lnTo>
                <a:lnTo>
                  <a:pt x="47" y="44"/>
                </a:lnTo>
                <a:lnTo>
                  <a:pt x="43" y="47"/>
                </a:lnTo>
                <a:lnTo>
                  <a:pt x="39" y="49"/>
                </a:lnTo>
                <a:lnTo>
                  <a:pt x="33" y="52"/>
                </a:lnTo>
                <a:lnTo>
                  <a:pt x="30" y="53"/>
                </a:lnTo>
                <a:lnTo>
                  <a:pt x="27" y="53"/>
                </a:lnTo>
                <a:lnTo>
                  <a:pt x="23" y="53"/>
                </a:lnTo>
                <a:lnTo>
                  <a:pt x="18" y="51"/>
                </a:lnTo>
                <a:lnTo>
                  <a:pt x="16" y="48"/>
                </a:lnTo>
                <a:lnTo>
                  <a:pt x="13" y="45"/>
                </a:lnTo>
                <a:lnTo>
                  <a:pt x="6" y="39"/>
                </a:lnTo>
                <a:lnTo>
                  <a:pt x="3" y="37"/>
                </a:lnTo>
                <a:lnTo>
                  <a:pt x="0" y="35"/>
                </a:lnTo>
                <a:lnTo>
                  <a:pt x="2" y="33"/>
                </a:lnTo>
                <a:lnTo>
                  <a:pt x="3" y="30"/>
                </a:lnTo>
                <a:lnTo>
                  <a:pt x="4" y="27"/>
                </a:lnTo>
                <a:lnTo>
                  <a:pt x="6" y="24"/>
                </a:lnTo>
                <a:lnTo>
                  <a:pt x="6" y="20"/>
                </a:lnTo>
                <a:lnTo>
                  <a:pt x="7" y="16"/>
                </a:lnTo>
                <a:lnTo>
                  <a:pt x="9" y="13"/>
                </a:lnTo>
                <a:lnTo>
                  <a:pt x="12" y="11"/>
                </a:lnTo>
                <a:lnTo>
                  <a:pt x="17" y="15"/>
                </a:lnTo>
                <a:lnTo>
                  <a:pt x="20" y="16"/>
                </a:lnTo>
                <a:lnTo>
                  <a:pt x="24" y="16"/>
                </a:lnTo>
                <a:lnTo>
                  <a:pt x="30" y="13"/>
                </a:lnTo>
                <a:lnTo>
                  <a:pt x="39" y="10"/>
                </a:lnTo>
                <a:lnTo>
                  <a:pt x="47" y="6"/>
                </a:lnTo>
                <a:lnTo>
                  <a:pt x="51" y="3"/>
                </a:lnTo>
                <a:lnTo>
                  <a:pt x="52" y="3"/>
                </a:lnTo>
                <a:lnTo>
                  <a:pt x="53" y="1"/>
                </a:lnTo>
                <a:lnTo>
                  <a:pt x="55" y="1"/>
                </a:lnTo>
                <a:lnTo>
                  <a:pt x="57" y="0"/>
                </a:lnTo>
                <a:lnTo>
                  <a:pt x="60" y="0"/>
                </a:lnTo>
                <a:lnTo>
                  <a:pt x="64" y="1"/>
                </a:lnTo>
                <a:lnTo>
                  <a:pt x="70" y="3"/>
                </a:lnTo>
                <a:lnTo>
                  <a:pt x="73" y="3"/>
                </a:lnTo>
                <a:lnTo>
                  <a:pt x="76" y="3"/>
                </a:lnTo>
                <a:lnTo>
                  <a:pt x="76" y="1"/>
                </a:lnTo>
                <a:lnTo>
                  <a:pt x="77" y="3"/>
                </a:lnTo>
                <a:lnTo>
                  <a:pt x="80" y="6"/>
                </a:lnTo>
                <a:lnTo>
                  <a:pt x="83" y="7"/>
                </a:lnTo>
                <a:lnTo>
                  <a:pt x="87" y="9"/>
                </a:lnTo>
                <a:lnTo>
                  <a:pt x="85" y="11"/>
                </a:lnTo>
                <a:lnTo>
                  <a:pt x="83" y="13"/>
                </a:lnTo>
                <a:lnTo>
                  <a:pt x="80" y="16"/>
                </a:lnTo>
                <a:lnTo>
                  <a:pt x="77" y="19"/>
                </a:lnTo>
                <a:lnTo>
                  <a:pt x="74" y="23"/>
                </a:lnTo>
                <a:lnTo>
                  <a:pt x="73" y="29"/>
                </a:lnTo>
                <a:lnTo>
                  <a:pt x="72" y="33"/>
                </a:lnTo>
                <a:lnTo>
                  <a:pt x="71" y="37"/>
                </a:lnTo>
                <a:lnTo>
                  <a:pt x="69" y="40"/>
                </a:lnTo>
                <a:lnTo>
                  <a:pt x="66" y="42"/>
                </a:lnTo>
                <a:lnTo>
                  <a:pt x="65" y="43"/>
                </a:lnTo>
                <a:lnTo>
                  <a:pt x="60" y="44"/>
                </a:lnTo>
                <a:lnTo>
                  <a:pt x="56" y="46"/>
                </a:lnTo>
                <a:lnTo>
                  <a:pt x="55" y="47"/>
                </a:lnTo>
                <a:lnTo>
                  <a:pt x="53" y="48"/>
                </a:lnTo>
                <a:lnTo>
                  <a:pt x="53" y="49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65" name="Freeform 164">
            <a:extLst>
              <a:ext uri="{FF2B5EF4-FFF2-40B4-BE49-F238E27FC236}">
                <a16:creationId xmlns:a16="http://schemas.microsoft.com/office/drawing/2014/main" id="{A839CB57-7A7C-B750-A171-AE5F49DD52DA}"/>
              </a:ext>
            </a:extLst>
          </p:cNvPr>
          <p:cNvSpPr>
            <a:spLocks/>
          </p:cNvSpPr>
          <p:nvPr/>
        </p:nvSpPr>
        <p:spPr bwMode="auto">
          <a:xfrm>
            <a:off x="6665288" y="3339946"/>
            <a:ext cx="257175" cy="157163"/>
          </a:xfrm>
          <a:custGeom>
            <a:avLst/>
            <a:gdLst>
              <a:gd name="T0" fmla="*/ 33 w 128"/>
              <a:gd name="T1" fmla="*/ 72 h 84"/>
              <a:gd name="T2" fmla="*/ 24 w 128"/>
              <a:gd name="T3" fmla="*/ 67 h 84"/>
              <a:gd name="T4" fmla="*/ 18 w 128"/>
              <a:gd name="T5" fmla="*/ 62 h 84"/>
              <a:gd name="T6" fmla="*/ 16 w 128"/>
              <a:gd name="T7" fmla="*/ 57 h 84"/>
              <a:gd name="T8" fmla="*/ 12 w 128"/>
              <a:gd name="T9" fmla="*/ 54 h 84"/>
              <a:gd name="T10" fmla="*/ 11 w 128"/>
              <a:gd name="T11" fmla="*/ 52 h 84"/>
              <a:gd name="T12" fmla="*/ 10 w 128"/>
              <a:gd name="T13" fmla="*/ 50 h 84"/>
              <a:gd name="T14" fmla="*/ 7 w 128"/>
              <a:gd name="T15" fmla="*/ 47 h 84"/>
              <a:gd name="T16" fmla="*/ 6 w 128"/>
              <a:gd name="T17" fmla="*/ 41 h 84"/>
              <a:gd name="T18" fmla="*/ 0 w 128"/>
              <a:gd name="T19" fmla="*/ 40 h 84"/>
              <a:gd name="T20" fmla="*/ 3 w 128"/>
              <a:gd name="T21" fmla="*/ 38 h 84"/>
              <a:gd name="T22" fmla="*/ 11 w 128"/>
              <a:gd name="T23" fmla="*/ 35 h 84"/>
              <a:gd name="T24" fmla="*/ 15 w 128"/>
              <a:gd name="T25" fmla="*/ 32 h 84"/>
              <a:gd name="T26" fmla="*/ 17 w 128"/>
              <a:gd name="T27" fmla="*/ 29 h 84"/>
              <a:gd name="T28" fmla="*/ 19 w 128"/>
              <a:gd name="T29" fmla="*/ 21 h 84"/>
              <a:gd name="T30" fmla="*/ 20 w 128"/>
              <a:gd name="T31" fmla="*/ 15 h 84"/>
              <a:gd name="T32" fmla="*/ 23 w 128"/>
              <a:gd name="T33" fmla="*/ 12 h 84"/>
              <a:gd name="T34" fmla="*/ 29 w 128"/>
              <a:gd name="T35" fmla="*/ 5 h 84"/>
              <a:gd name="T36" fmla="*/ 32 w 128"/>
              <a:gd name="T37" fmla="*/ 1 h 84"/>
              <a:gd name="T38" fmla="*/ 48 w 128"/>
              <a:gd name="T39" fmla="*/ 6 h 84"/>
              <a:gd name="T40" fmla="*/ 60 w 128"/>
              <a:gd name="T41" fmla="*/ 8 h 84"/>
              <a:gd name="T42" fmla="*/ 65 w 128"/>
              <a:gd name="T43" fmla="*/ 7 h 84"/>
              <a:gd name="T44" fmla="*/ 74 w 128"/>
              <a:gd name="T45" fmla="*/ 0 h 84"/>
              <a:gd name="T46" fmla="*/ 80 w 128"/>
              <a:gd name="T47" fmla="*/ 0 h 84"/>
              <a:gd name="T48" fmla="*/ 86 w 128"/>
              <a:gd name="T49" fmla="*/ 0 h 84"/>
              <a:gd name="T50" fmla="*/ 91 w 128"/>
              <a:gd name="T51" fmla="*/ 3 h 84"/>
              <a:gd name="T52" fmla="*/ 94 w 128"/>
              <a:gd name="T53" fmla="*/ 9 h 84"/>
              <a:gd name="T54" fmla="*/ 99 w 128"/>
              <a:gd name="T55" fmla="*/ 21 h 84"/>
              <a:gd name="T56" fmla="*/ 104 w 128"/>
              <a:gd name="T57" fmla="*/ 45 h 84"/>
              <a:gd name="T58" fmla="*/ 106 w 128"/>
              <a:gd name="T59" fmla="*/ 51 h 84"/>
              <a:gd name="T60" fmla="*/ 106 w 128"/>
              <a:gd name="T61" fmla="*/ 50 h 84"/>
              <a:gd name="T62" fmla="*/ 113 w 128"/>
              <a:gd name="T63" fmla="*/ 47 h 84"/>
              <a:gd name="T64" fmla="*/ 119 w 128"/>
              <a:gd name="T65" fmla="*/ 44 h 84"/>
              <a:gd name="T66" fmla="*/ 123 w 128"/>
              <a:gd name="T67" fmla="*/ 45 h 84"/>
              <a:gd name="T68" fmla="*/ 126 w 128"/>
              <a:gd name="T69" fmla="*/ 50 h 84"/>
              <a:gd name="T70" fmla="*/ 127 w 128"/>
              <a:gd name="T71" fmla="*/ 56 h 84"/>
              <a:gd name="T72" fmla="*/ 122 w 128"/>
              <a:gd name="T73" fmla="*/ 57 h 84"/>
              <a:gd name="T74" fmla="*/ 116 w 128"/>
              <a:gd name="T75" fmla="*/ 63 h 84"/>
              <a:gd name="T76" fmla="*/ 110 w 128"/>
              <a:gd name="T77" fmla="*/ 81 h 84"/>
              <a:gd name="T78" fmla="*/ 102 w 128"/>
              <a:gd name="T79" fmla="*/ 76 h 84"/>
              <a:gd name="T80" fmla="*/ 96 w 128"/>
              <a:gd name="T81" fmla="*/ 74 h 84"/>
              <a:gd name="T82" fmla="*/ 91 w 128"/>
              <a:gd name="T83" fmla="*/ 74 h 84"/>
              <a:gd name="T84" fmla="*/ 84 w 128"/>
              <a:gd name="T85" fmla="*/ 79 h 84"/>
              <a:gd name="T86" fmla="*/ 78 w 128"/>
              <a:gd name="T87" fmla="*/ 83 h 84"/>
              <a:gd name="T88" fmla="*/ 56 w 128"/>
              <a:gd name="T89" fmla="*/ 83 h 84"/>
              <a:gd name="T90" fmla="*/ 52 w 128"/>
              <a:gd name="T91" fmla="*/ 80 h 84"/>
              <a:gd name="T92" fmla="*/ 43 w 128"/>
              <a:gd name="T93" fmla="*/ 80 h 84"/>
              <a:gd name="T94" fmla="*/ 38 w 128"/>
              <a:gd name="T95" fmla="*/ 78 h 84"/>
              <a:gd name="T96" fmla="*/ 35 w 128"/>
              <a:gd name="T97" fmla="*/ 74 h 84"/>
              <a:gd name="T98" fmla="*/ 35 w 128"/>
              <a:gd name="T99" fmla="*/ 74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28" h="84">
                <a:moveTo>
                  <a:pt x="35" y="74"/>
                </a:moveTo>
                <a:lnTo>
                  <a:pt x="33" y="72"/>
                </a:lnTo>
                <a:lnTo>
                  <a:pt x="30" y="70"/>
                </a:lnTo>
                <a:lnTo>
                  <a:pt x="24" y="67"/>
                </a:lnTo>
                <a:lnTo>
                  <a:pt x="21" y="65"/>
                </a:lnTo>
                <a:lnTo>
                  <a:pt x="18" y="62"/>
                </a:lnTo>
                <a:lnTo>
                  <a:pt x="16" y="58"/>
                </a:lnTo>
                <a:lnTo>
                  <a:pt x="16" y="57"/>
                </a:lnTo>
                <a:lnTo>
                  <a:pt x="16" y="54"/>
                </a:lnTo>
                <a:lnTo>
                  <a:pt x="12" y="54"/>
                </a:lnTo>
                <a:lnTo>
                  <a:pt x="11" y="53"/>
                </a:lnTo>
                <a:lnTo>
                  <a:pt x="11" y="52"/>
                </a:lnTo>
                <a:lnTo>
                  <a:pt x="10" y="51"/>
                </a:lnTo>
                <a:lnTo>
                  <a:pt x="10" y="50"/>
                </a:lnTo>
                <a:lnTo>
                  <a:pt x="8" y="49"/>
                </a:lnTo>
                <a:lnTo>
                  <a:pt x="7" y="47"/>
                </a:lnTo>
                <a:lnTo>
                  <a:pt x="6" y="45"/>
                </a:lnTo>
                <a:lnTo>
                  <a:pt x="6" y="41"/>
                </a:lnTo>
                <a:lnTo>
                  <a:pt x="3" y="41"/>
                </a:lnTo>
                <a:lnTo>
                  <a:pt x="0" y="40"/>
                </a:lnTo>
                <a:lnTo>
                  <a:pt x="1" y="39"/>
                </a:lnTo>
                <a:lnTo>
                  <a:pt x="3" y="38"/>
                </a:lnTo>
                <a:lnTo>
                  <a:pt x="6" y="36"/>
                </a:lnTo>
                <a:lnTo>
                  <a:pt x="11" y="35"/>
                </a:lnTo>
                <a:lnTo>
                  <a:pt x="13" y="34"/>
                </a:lnTo>
                <a:lnTo>
                  <a:pt x="15" y="32"/>
                </a:lnTo>
                <a:lnTo>
                  <a:pt x="16" y="31"/>
                </a:lnTo>
                <a:lnTo>
                  <a:pt x="17" y="29"/>
                </a:lnTo>
                <a:lnTo>
                  <a:pt x="18" y="25"/>
                </a:lnTo>
                <a:lnTo>
                  <a:pt x="19" y="21"/>
                </a:lnTo>
                <a:lnTo>
                  <a:pt x="19" y="18"/>
                </a:lnTo>
                <a:lnTo>
                  <a:pt x="20" y="15"/>
                </a:lnTo>
                <a:lnTo>
                  <a:pt x="22" y="13"/>
                </a:lnTo>
                <a:lnTo>
                  <a:pt x="23" y="12"/>
                </a:lnTo>
                <a:lnTo>
                  <a:pt x="26" y="9"/>
                </a:lnTo>
                <a:lnTo>
                  <a:pt x="29" y="5"/>
                </a:lnTo>
                <a:lnTo>
                  <a:pt x="31" y="3"/>
                </a:lnTo>
                <a:lnTo>
                  <a:pt x="32" y="1"/>
                </a:lnTo>
                <a:lnTo>
                  <a:pt x="39" y="4"/>
                </a:lnTo>
                <a:lnTo>
                  <a:pt x="48" y="6"/>
                </a:lnTo>
                <a:lnTo>
                  <a:pt x="55" y="8"/>
                </a:lnTo>
                <a:lnTo>
                  <a:pt x="60" y="8"/>
                </a:lnTo>
                <a:lnTo>
                  <a:pt x="62" y="8"/>
                </a:lnTo>
                <a:lnTo>
                  <a:pt x="65" y="7"/>
                </a:lnTo>
                <a:lnTo>
                  <a:pt x="70" y="3"/>
                </a:lnTo>
                <a:lnTo>
                  <a:pt x="74" y="0"/>
                </a:lnTo>
                <a:lnTo>
                  <a:pt x="78" y="0"/>
                </a:lnTo>
                <a:lnTo>
                  <a:pt x="80" y="0"/>
                </a:lnTo>
                <a:lnTo>
                  <a:pt x="84" y="0"/>
                </a:lnTo>
                <a:lnTo>
                  <a:pt x="86" y="0"/>
                </a:lnTo>
                <a:lnTo>
                  <a:pt x="87" y="1"/>
                </a:lnTo>
                <a:lnTo>
                  <a:pt x="91" y="3"/>
                </a:lnTo>
                <a:lnTo>
                  <a:pt x="92" y="6"/>
                </a:lnTo>
                <a:lnTo>
                  <a:pt x="94" y="9"/>
                </a:lnTo>
                <a:lnTo>
                  <a:pt x="96" y="12"/>
                </a:lnTo>
                <a:lnTo>
                  <a:pt x="99" y="21"/>
                </a:lnTo>
                <a:lnTo>
                  <a:pt x="102" y="38"/>
                </a:lnTo>
                <a:lnTo>
                  <a:pt x="104" y="45"/>
                </a:lnTo>
                <a:lnTo>
                  <a:pt x="105" y="48"/>
                </a:lnTo>
                <a:lnTo>
                  <a:pt x="106" y="51"/>
                </a:lnTo>
                <a:lnTo>
                  <a:pt x="105" y="50"/>
                </a:lnTo>
                <a:lnTo>
                  <a:pt x="106" y="50"/>
                </a:lnTo>
                <a:lnTo>
                  <a:pt x="108" y="49"/>
                </a:lnTo>
                <a:lnTo>
                  <a:pt x="113" y="47"/>
                </a:lnTo>
                <a:lnTo>
                  <a:pt x="117" y="44"/>
                </a:lnTo>
                <a:lnTo>
                  <a:pt x="119" y="44"/>
                </a:lnTo>
                <a:lnTo>
                  <a:pt x="121" y="44"/>
                </a:lnTo>
                <a:lnTo>
                  <a:pt x="123" y="45"/>
                </a:lnTo>
                <a:lnTo>
                  <a:pt x="123" y="46"/>
                </a:lnTo>
                <a:lnTo>
                  <a:pt x="126" y="50"/>
                </a:lnTo>
                <a:lnTo>
                  <a:pt x="126" y="54"/>
                </a:lnTo>
                <a:lnTo>
                  <a:pt x="127" y="56"/>
                </a:lnTo>
                <a:lnTo>
                  <a:pt x="124" y="57"/>
                </a:lnTo>
                <a:lnTo>
                  <a:pt x="122" y="57"/>
                </a:lnTo>
                <a:lnTo>
                  <a:pt x="118" y="56"/>
                </a:lnTo>
                <a:lnTo>
                  <a:pt x="116" y="63"/>
                </a:lnTo>
                <a:lnTo>
                  <a:pt x="114" y="70"/>
                </a:lnTo>
                <a:lnTo>
                  <a:pt x="110" y="81"/>
                </a:lnTo>
                <a:lnTo>
                  <a:pt x="106" y="79"/>
                </a:lnTo>
                <a:lnTo>
                  <a:pt x="102" y="76"/>
                </a:lnTo>
                <a:lnTo>
                  <a:pt x="97" y="75"/>
                </a:lnTo>
                <a:lnTo>
                  <a:pt x="96" y="74"/>
                </a:lnTo>
                <a:lnTo>
                  <a:pt x="93" y="74"/>
                </a:lnTo>
                <a:lnTo>
                  <a:pt x="91" y="74"/>
                </a:lnTo>
                <a:lnTo>
                  <a:pt x="87" y="75"/>
                </a:lnTo>
                <a:lnTo>
                  <a:pt x="84" y="79"/>
                </a:lnTo>
                <a:lnTo>
                  <a:pt x="80" y="81"/>
                </a:lnTo>
                <a:lnTo>
                  <a:pt x="78" y="83"/>
                </a:lnTo>
                <a:lnTo>
                  <a:pt x="75" y="83"/>
                </a:lnTo>
                <a:lnTo>
                  <a:pt x="56" y="83"/>
                </a:lnTo>
                <a:lnTo>
                  <a:pt x="53" y="81"/>
                </a:lnTo>
                <a:lnTo>
                  <a:pt x="52" y="80"/>
                </a:lnTo>
                <a:lnTo>
                  <a:pt x="48" y="80"/>
                </a:lnTo>
                <a:lnTo>
                  <a:pt x="43" y="80"/>
                </a:lnTo>
                <a:lnTo>
                  <a:pt x="39" y="79"/>
                </a:lnTo>
                <a:lnTo>
                  <a:pt x="38" y="78"/>
                </a:lnTo>
                <a:lnTo>
                  <a:pt x="37" y="76"/>
                </a:lnTo>
                <a:lnTo>
                  <a:pt x="35" y="74"/>
                </a:lnTo>
                <a:lnTo>
                  <a:pt x="34" y="73"/>
                </a:lnTo>
                <a:lnTo>
                  <a:pt x="35" y="74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66" name="Freeform 165">
            <a:extLst>
              <a:ext uri="{FF2B5EF4-FFF2-40B4-BE49-F238E27FC236}">
                <a16:creationId xmlns:a16="http://schemas.microsoft.com/office/drawing/2014/main" id="{65792E90-DCE6-8971-A5F0-11012A502C7F}"/>
              </a:ext>
            </a:extLst>
          </p:cNvPr>
          <p:cNvSpPr>
            <a:spLocks/>
          </p:cNvSpPr>
          <p:nvPr/>
        </p:nvSpPr>
        <p:spPr bwMode="auto">
          <a:xfrm>
            <a:off x="6731963" y="3473296"/>
            <a:ext cx="165100" cy="107950"/>
          </a:xfrm>
          <a:custGeom>
            <a:avLst/>
            <a:gdLst>
              <a:gd name="T0" fmla="*/ 9 w 82"/>
              <a:gd name="T1" fmla="*/ 42 h 58"/>
              <a:gd name="T2" fmla="*/ 7 w 82"/>
              <a:gd name="T3" fmla="*/ 42 h 58"/>
              <a:gd name="T4" fmla="*/ 4 w 82"/>
              <a:gd name="T5" fmla="*/ 39 h 58"/>
              <a:gd name="T6" fmla="*/ 2 w 82"/>
              <a:gd name="T7" fmla="*/ 36 h 58"/>
              <a:gd name="T8" fmla="*/ 3 w 82"/>
              <a:gd name="T9" fmla="*/ 30 h 58"/>
              <a:gd name="T10" fmla="*/ 5 w 82"/>
              <a:gd name="T11" fmla="*/ 22 h 58"/>
              <a:gd name="T12" fmla="*/ 5 w 82"/>
              <a:gd name="T13" fmla="*/ 16 h 58"/>
              <a:gd name="T14" fmla="*/ 2 w 82"/>
              <a:gd name="T15" fmla="*/ 10 h 58"/>
              <a:gd name="T16" fmla="*/ 1 w 82"/>
              <a:gd name="T17" fmla="*/ 6 h 58"/>
              <a:gd name="T18" fmla="*/ 0 w 82"/>
              <a:gd name="T19" fmla="*/ 2 h 58"/>
              <a:gd name="T20" fmla="*/ 2 w 82"/>
              <a:gd name="T21" fmla="*/ 1 h 58"/>
              <a:gd name="T22" fmla="*/ 4 w 82"/>
              <a:gd name="T23" fmla="*/ 5 h 58"/>
              <a:gd name="T24" fmla="*/ 8 w 82"/>
              <a:gd name="T25" fmla="*/ 6 h 58"/>
              <a:gd name="T26" fmla="*/ 14 w 82"/>
              <a:gd name="T27" fmla="*/ 7 h 58"/>
              <a:gd name="T28" fmla="*/ 18 w 82"/>
              <a:gd name="T29" fmla="*/ 7 h 58"/>
              <a:gd name="T30" fmla="*/ 23 w 82"/>
              <a:gd name="T31" fmla="*/ 10 h 58"/>
              <a:gd name="T32" fmla="*/ 45 w 82"/>
              <a:gd name="T33" fmla="*/ 10 h 58"/>
              <a:gd name="T34" fmla="*/ 51 w 82"/>
              <a:gd name="T35" fmla="*/ 6 h 58"/>
              <a:gd name="T36" fmla="*/ 58 w 82"/>
              <a:gd name="T37" fmla="*/ 1 h 58"/>
              <a:gd name="T38" fmla="*/ 63 w 82"/>
              <a:gd name="T39" fmla="*/ 1 h 58"/>
              <a:gd name="T40" fmla="*/ 70 w 82"/>
              <a:gd name="T41" fmla="*/ 3 h 58"/>
              <a:gd name="T42" fmla="*/ 78 w 82"/>
              <a:gd name="T43" fmla="*/ 8 h 58"/>
              <a:gd name="T44" fmla="*/ 77 w 82"/>
              <a:gd name="T45" fmla="*/ 20 h 58"/>
              <a:gd name="T46" fmla="*/ 77 w 82"/>
              <a:gd name="T47" fmla="*/ 29 h 58"/>
              <a:gd name="T48" fmla="*/ 79 w 82"/>
              <a:gd name="T49" fmla="*/ 36 h 58"/>
              <a:gd name="T50" fmla="*/ 77 w 82"/>
              <a:gd name="T51" fmla="*/ 41 h 58"/>
              <a:gd name="T52" fmla="*/ 64 w 82"/>
              <a:gd name="T53" fmla="*/ 42 h 58"/>
              <a:gd name="T54" fmla="*/ 58 w 82"/>
              <a:gd name="T55" fmla="*/ 43 h 58"/>
              <a:gd name="T56" fmla="*/ 56 w 82"/>
              <a:gd name="T57" fmla="*/ 46 h 58"/>
              <a:gd name="T58" fmla="*/ 55 w 82"/>
              <a:gd name="T59" fmla="*/ 48 h 58"/>
              <a:gd name="T60" fmla="*/ 52 w 82"/>
              <a:gd name="T61" fmla="*/ 52 h 58"/>
              <a:gd name="T62" fmla="*/ 49 w 82"/>
              <a:gd name="T63" fmla="*/ 53 h 58"/>
              <a:gd name="T64" fmla="*/ 46 w 82"/>
              <a:gd name="T65" fmla="*/ 56 h 58"/>
              <a:gd name="T66" fmla="*/ 42 w 82"/>
              <a:gd name="T67" fmla="*/ 57 h 58"/>
              <a:gd name="T68" fmla="*/ 36 w 82"/>
              <a:gd name="T69" fmla="*/ 53 h 58"/>
              <a:gd name="T70" fmla="*/ 31 w 82"/>
              <a:gd name="T71" fmla="*/ 51 h 58"/>
              <a:gd name="T72" fmla="*/ 27 w 82"/>
              <a:gd name="T73" fmla="*/ 51 h 58"/>
              <a:gd name="T74" fmla="*/ 19 w 82"/>
              <a:gd name="T75" fmla="*/ 53 h 58"/>
              <a:gd name="T76" fmla="*/ 14 w 82"/>
              <a:gd name="T77" fmla="*/ 53 h 58"/>
              <a:gd name="T78" fmla="*/ 8 w 82"/>
              <a:gd name="T79" fmla="*/ 53 h 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82" h="58">
                <a:moveTo>
                  <a:pt x="9" y="52"/>
                </a:moveTo>
                <a:lnTo>
                  <a:pt x="9" y="42"/>
                </a:lnTo>
                <a:lnTo>
                  <a:pt x="8" y="42"/>
                </a:lnTo>
                <a:lnTo>
                  <a:pt x="7" y="42"/>
                </a:lnTo>
                <a:lnTo>
                  <a:pt x="5" y="40"/>
                </a:lnTo>
                <a:lnTo>
                  <a:pt x="4" y="39"/>
                </a:lnTo>
                <a:lnTo>
                  <a:pt x="3" y="38"/>
                </a:lnTo>
                <a:lnTo>
                  <a:pt x="2" y="36"/>
                </a:lnTo>
                <a:lnTo>
                  <a:pt x="2" y="35"/>
                </a:lnTo>
                <a:lnTo>
                  <a:pt x="3" y="30"/>
                </a:lnTo>
                <a:lnTo>
                  <a:pt x="4" y="26"/>
                </a:lnTo>
                <a:lnTo>
                  <a:pt x="5" y="22"/>
                </a:lnTo>
                <a:lnTo>
                  <a:pt x="7" y="20"/>
                </a:lnTo>
                <a:lnTo>
                  <a:pt x="5" y="16"/>
                </a:lnTo>
                <a:lnTo>
                  <a:pt x="3" y="13"/>
                </a:lnTo>
                <a:lnTo>
                  <a:pt x="2" y="10"/>
                </a:lnTo>
                <a:lnTo>
                  <a:pt x="2" y="7"/>
                </a:lnTo>
                <a:lnTo>
                  <a:pt x="1" y="6"/>
                </a:lnTo>
                <a:lnTo>
                  <a:pt x="0" y="3"/>
                </a:lnTo>
                <a:lnTo>
                  <a:pt x="0" y="2"/>
                </a:lnTo>
                <a:lnTo>
                  <a:pt x="0" y="0"/>
                </a:lnTo>
                <a:lnTo>
                  <a:pt x="2" y="1"/>
                </a:lnTo>
                <a:lnTo>
                  <a:pt x="3" y="3"/>
                </a:lnTo>
                <a:lnTo>
                  <a:pt x="4" y="5"/>
                </a:lnTo>
                <a:lnTo>
                  <a:pt x="5" y="6"/>
                </a:lnTo>
                <a:lnTo>
                  <a:pt x="8" y="6"/>
                </a:lnTo>
                <a:lnTo>
                  <a:pt x="10" y="7"/>
                </a:lnTo>
                <a:lnTo>
                  <a:pt x="14" y="7"/>
                </a:lnTo>
                <a:lnTo>
                  <a:pt x="17" y="7"/>
                </a:lnTo>
                <a:lnTo>
                  <a:pt x="18" y="7"/>
                </a:lnTo>
                <a:lnTo>
                  <a:pt x="20" y="8"/>
                </a:lnTo>
                <a:lnTo>
                  <a:pt x="23" y="10"/>
                </a:lnTo>
                <a:lnTo>
                  <a:pt x="42" y="10"/>
                </a:lnTo>
                <a:lnTo>
                  <a:pt x="45" y="10"/>
                </a:lnTo>
                <a:lnTo>
                  <a:pt x="47" y="8"/>
                </a:lnTo>
                <a:lnTo>
                  <a:pt x="51" y="6"/>
                </a:lnTo>
                <a:lnTo>
                  <a:pt x="55" y="2"/>
                </a:lnTo>
                <a:lnTo>
                  <a:pt x="58" y="1"/>
                </a:lnTo>
                <a:lnTo>
                  <a:pt x="60" y="1"/>
                </a:lnTo>
                <a:lnTo>
                  <a:pt x="63" y="1"/>
                </a:lnTo>
                <a:lnTo>
                  <a:pt x="65" y="2"/>
                </a:lnTo>
                <a:lnTo>
                  <a:pt x="70" y="3"/>
                </a:lnTo>
                <a:lnTo>
                  <a:pt x="73" y="6"/>
                </a:lnTo>
                <a:lnTo>
                  <a:pt x="78" y="8"/>
                </a:lnTo>
                <a:lnTo>
                  <a:pt x="77" y="15"/>
                </a:lnTo>
                <a:lnTo>
                  <a:pt x="77" y="20"/>
                </a:lnTo>
                <a:lnTo>
                  <a:pt x="77" y="24"/>
                </a:lnTo>
                <a:lnTo>
                  <a:pt x="77" y="29"/>
                </a:lnTo>
                <a:lnTo>
                  <a:pt x="77" y="33"/>
                </a:lnTo>
                <a:lnTo>
                  <a:pt x="79" y="36"/>
                </a:lnTo>
                <a:lnTo>
                  <a:pt x="81" y="40"/>
                </a:lnTo>
                <a:lnTo>
                  <a:pt x="77" y="41"/>
                </a:lnTo>
                <a:lnTo>
                  <a:pt x="73" y="41"/>
                </a:lnTo>
                <a:lnTo>
                  <a:pt x="64" y="42"/>
                </a:lnTo>
                <a:lnTo>
                  <a:pt x="60" y="43"/>
                </a:lnTo>
                <a:lnTo>
                  <a:pt x="58" y="43"/>
                </a:lnTo>
                <a:lnTo>
                  <a:pt x="56" y="44"/>
                </a:lnTo>
                <a:lnTo>
                  <a:pt x="56" y="46"/>
                </a:lnTo>
                <a:lnTo>
                  <a:pt x="55" y="46"/>
                </a:lnTo>
                <a:lnTo>
                  <a:pt x="55" y="48"/>
                </a:lnTo>
                <a:lnTo>
                  <a:pt x="52" y="50"/>
                </a:lnTo>
                <a:lnTo>
                  <a:pt x="52" y="52"/>
                </a:lnTo>
                <a:lnTo>
                  <a:pt x="51" y="53"/>
                </a:lnTo>
                <a:lnTo>
                  <a:pt x="49" y="53"/>
                </a:lnTo>
                <a:lnTo>
                  <a:pt x="49" y="55"/>
                </a:lnTo>
                <a:lnTo>
                  <a:pt x="46" y="56"/>
                </a:lnTo>
                <a:lnTo>
                  <a:pt x="44" y="57"/>
                </a:lnTo>
                <a:lnTo>
                  <a:pt x="42" y="57"/>
                </a:lnTo>
                <a:lnTo>
                  <a:pt x="40" y="56"/>
                </a:lnTo>
                <a:lnTo>
                  <a:pt x="36" y="53"/>
                </a:lnTo>
                <a:lnTo>
                  <a:pt x="33" y="52"/>
                </a:lnTo>
                <a:lnTo>
                  <a:pt x="31" y="51"/>
                </a:lnTo>
                <a:lnTo>
                  <a:pt x="29" y="51"/>
                </a:lnTo>
                <a:lnTo>
                  <a:pt x="27" y="51"/>
                </a:lnTo>
                <a:lnTo>
                  <a:pt x="24" y="51"/>
                </a:lnTo>
                <a:lnTo>
                  <a:pt x="19" y="53"/>
                </a:lnTo>
                <a:lnTo>
                  <a:pt x="17" y="53"/>
                </a:lnTo>
                <a:lnTo>
                  <a:pt x="14" y="53"/>
                </a:lnTo>
                <a:lnTo>
                  <a:pt x="11" y="53"/>
                </a:lnTo>
                <a:lnTo>
                  <a:pt x="8" y="53"/>
                </a:lnTo>
                <a:lnTo>
                  <a:pt x="9" y="52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67" name="Freeform 166">
            <a:extLst>
              <a:ext uri="{FF2B5EF4-FFF2-40B4-BE49-F238E27FC236}">
                <a16:creationId xmlns:a16="http://schemas.microsoft.com/office/drawing/2014/main" id="{ACC26A89-3E08-AA55-EA03-A3913E38B696}"/>
              </a:ext>
            </a:extLst>
          </p:cNvPr>
          <p:cNvSpPr>
            <a:spLocks/>
          </p:cNvSpPr>
          <p:nvPr/>
        </p:nvSpPr>
        <p:spPr bwMode="auto">
          <a:xfrm>
            <a:off x="6652588" y="3533621"/>
            <a:ext cx="201613" cy="223838"/>
          </a:xfrm>
          <a:custGeom>
            <a:avLst/>
            <a:gdLst>
              <a:gd name="T0" fmla="*/ 94 w 100"/>
              <a:gd name="T1" fmla="*/ 21 h 120"/>
              <a:gd name="T2" fmla="*/ 99 w 100"/>
              <a:gd name="T3" fmla="*/ 33 h 120"/>
              <a:gd name="T4" fmla="*/ 66 w 100"/>
              <a:gd name="T5" fmla="*/ 36 h 120"/>
              <a:gd name="T6" fmla="*/ 70 w 100"/>
              <a:gd name="T7" fmla="*/ 42 h 120"/>
              <a:gd name="T8" fmla="*/ 65 w 100"/>
              <a:gd name="T9" fmla="*/ 46 h 120"/>
              <a:gd name="T10" fmla="*/ 56 w 100"/>
              <a:gd name="T11" fmla="*/ 43 h 120"/>
              <a:gd name="T12" fmla="*/ 49 w 100"/>
              <a:gd name="T13" fmla="*/ 39 h 120"/>
              <a:gd name="T14" fmla="*/ 50 w 100"/>
              <a:gd name="T15" fmla="*/ 43 h 120"/>
              <a:gd name="T16" fmla="*/ 52 w 100"/>
              <a:gd name="T17" fmla="*/ 52 h 120"/>
              <a:gd name="T18" fmla="*/ 58 w 100"/>
              <a:gd name="T19" fmla="*/ 63 h 120"/>
              <a:gd name="T20" fmla="*/ 76 w 100"/>
              <a:gd name="T21" fmla="*/ 80 h 120"/>
              <a:gd name="T22" fmla="*/ 74 w 100"/>
              <a:gd name="T23" fmla="*/ 85 h 120"/>
              <a:gd name="T24" fmla="*/ 69 w 100"/>
              <a:gd name="T25" fmla="*/ 88 h 120"/>
              <a:gd name="T26" fmla="*/ 62 w 100"/>
              <a:gd name="T27" fmla="*/ 85 h 120"/>
              <a:gd name="T28" fmla="*/ 62 w 100"/>
              <a:gd name="T29" fmla="*/ 91 h 120"/>
              <a:gd name="T30" fmla="*/ 61 w 100"/>
              <a:gd name="T31" fmla="*/ 96 h 120"/>
              <a:gd name="T32" fmla="*/ 57 w 100"/>
              <a:gd name="T33" fmla="*/ 98 h 120"/>
              <a:gd name="T34" fmla="*/ 61 w 100"/>
              <a:gd name="T35" fmla="*/ 112 h 120"/>
              <a:gd name="T36" fmla="*/ 58 w 100"/>
              <a:gd name="T37" fmla="*/ 115 h 120"/>
              <a:gd name="T38" fmla="*/ 49 w 100"/>
              <a:gd name="T39" fmla="*/ 109 h 120"/>
              <a:gd name="T40" fmla="*/ 43 w 100"/>
              <a:gd name="T41" fmla="*/ 106 h 120"/>
              <a:gd name="T42" fmla="*/ 39 w 100"/>
              <a:gd name="T43" fmla="*/ 104 h 120"/>
              <a:gd name="T44" fmla="*/ 35 w 100"/>
              <a:gd name="T45" fmla="*/ 96 h 120"/>
              <a:gd name="T46" fmla="*/ 31 w 100"/>
              <a:gd name="T47" fmla="*/ 79 h 120"/>
              <a:gd name="T48" fmla="*/ 29 w 100"/>
              <a:gd name="T49" fmla="*/ 70 h 120"/>
              <a:gd name="T50" fmla="*/ 19 w 100"/>
              <a:gd name="T51" fmla="*/ 60 h 120"/>
              <a:gd name="T52" fmla="*/ 11 w 100"/>
              <a:gd name="T53" fmla="*/ 51 h 120"/>
              <a:gd name="T54" fmla="*/ 6 w 100"/>
              <a:gd name="T55" fmla="*/ 29 h 120"/>
              <a:gd name="T56" fmla="*/ 3 w 100"/>
              <a:gd name="T57" fmla="*/ 12 h 120"/>
              <a:gd name="T58" fmla="*/ 1 w 100"/>
              <a:gd name="T59" fmla="*/ 3 h 120"/>
              <a:gd name="T60" fmla="*/ 5 w 100"/>
              <a:gd name="T61" fmla="*/ 0 h 120"/>
              <a:gd name="T62" fmla="*/ 13 w 100"/>
              <a:gd name="T63" fmla="*/ 6 h 120"/>
              <a:gd name="T64" fmla="*/ 14 w 100"/>
              <a:gd name="T65" fmla="*/ 16 h 120"/>
              <a:gd name="T66" fmla="*/ 16 w 100"/>
              <a:gd name="T67" fmla="*/ 25 h 120"/>
              <a:gd name="T68" fmla="*/ 19 w 100"/>
              <a:gd name="T69" fmla="*/ 29 h 120"/>
              <a:gd name="T70" fmla="*/ 26 w 100"/>
              <a:gd name="T71" fmla="*/ 32 h 120"/>
              <a:gd name="T72" fmla="*/ 40 w 100"/>
              <a:gd name="T73" fmla="*/ 29 h 120"/>
              <a:gd name="T74" fmla="*/ 48 w 100"/>
              <a:gd name="T75" fmla="*/ 23 h 120"/>
              <a:gd name="T76" fmla="*/ 47 w 100"/>
              <a:gd name="T77" fmla="*/ 21 h 120"/>
              <a:gd name="T78" fmla="*/ 56 w 100"/>
              <a:gd name="T79" fmla="*/ 22 h 120"/>
              <a:gd name="T80" fmla="*/ 66 w 100"/>
              <a:gd name="T81" fmla="*/ 19 h 120"/>
              <a:gd name="T82" fmla="*/ 72 w 100"/>
              <a:gd name="T83" fmla="*/ 20 h 120"/>
              <a:gd name="T84" fmla="*/ 79 w 100"/>
              <a:gd name="T85" fmla="*/ 24 h 120"/>
              <a:gd name="T86" fmla="*/ 85 w 100"/>
              <a:gd name="T87" fmla="*/ 24 h 120"/>
              <a:gd name="T88" fmla="*/ 89 w 100"/>
              <a:gd name="T89" fmla="*/ 22 h 120"/>
              <a:gd name="T90" fmla="*/ 92 w 100"/>
              <a:gd name="T91" fmla="*/ 17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00" h="120">
                <a:moveTo>
                  <a:pt x="93" y="16"/>
                </a:moveTo>
                <a:lnTo>
                  <a:pt x="94" y="19"/>
                </a:lnTo>
                <a:lnTo>
                  <a:pt x="94" y="21"/>
                </a:lnTo>
                <a:lnTo>
                  <a:pt x="95" y="22"/>
                </a:lnTo>
                <a:lnTo>
                  <a:pt x="99" y="24"/>
                </a:lnTo>
                <a:lnTo>
                  <a:pt x="99" y="33"/>
                </a:lnTo>
                <a:lnTo>
                  <a:pt x="66" y="33"/>
                </a:lnTo>
                <a:lnTo>
                  <a:pt x="66" y="35"/>
                </a:lnTo>
                <a:lnTo>
                  <a:pt x="66" y="36"/>
                </a:lnTo>
                <a:lnTo>
                  <a:pt x="67" y="39"/>
                </a:lnTo>
                <a:lnTo>
                  <a:pt x="68" y="41"/>
                </a:lnTo>
                <a:lnTo>
                  <a:pt x="70" y="42"/>
                </a:lnTo>
                <a:lnTo>
                  <a:pt x="66" y="42"/>
                </a:lnTo>
                <a:lnTo>
                  <a:pt x="65" y="44"/>
                </a:lnTo>
                <a:lnTo>
                  <a:pt x="65" y="46"/>
                </a:lnTo>
                <a:lnTo>
                  <a:pt x="63" y="47"/>
                </a:lnTo>
                <a:lnTo>
                  <a:pt x="60" y="46"/>
                </a:lnTo>
                <a:lnTo>
                  <a:pt x="56" y="43"/>
                </a:lnTo>
                <a:lnTo>
                  <a:pt x="54" y="39"/>
                </a:lnTo>
                <a:lnTo>
                  <a:pt x="52" y="37"/>
                </a:lnTo>
                <a:lnTo>
                  <a:pt x="49" y="39"/>
                </a:lnTo>
                <a:lnTo>
                  <a:pt x="49" y="41"/>
                </a:lnTo>
                <a:lnTo>
                  <a:pt x="49" y="42"/>
                </a:lnTo>
                <a:lnTo>
                  <a:pt x="50" y="43"/>
                </a:lnTo>
                <a:lnTo>
                  <a:pt x="50" y="44"/>
                </a:lnTo>
                <a:lnTo>
                  <a:pt x="50" y="48"/>
                </a:lnTo>
                <a:lnTo>
                  <a:pt x="52" y="52"/>
                </a:lnTo>
                <a:lnTo>
                  <a:pt x="52" y="55"/>
                </a:lnTo>
                <a:lnTo>
                  <a:pt x="54" y="57"/>
                </a:lnTo>
                <a:lnTo>
                  <a:pt x="58" y="63"/>
                </a:lnTo>
                <a:lnTo>
                  <a:pt x="62" y="66"/>
                </a:lnTo>
                <a:lnTo>
                  <a:pt x="72" y="76"/>
                </a:lnTo>
                <a:lnTo>
                  <a:pt x="76" y="80"/>
                </a:lnTo>
                <a:lnTo>
                  <a:pt x="79" y="82"/>
                </a:lnTo>
                <a:lnTo>
                  <a:pt x="81" y="85"/>
                </a:lnTo>
                <a:lnTo>
                  <a:pt x="74" y="85"/>
                </a:lnTo>
                <a:lnTo>
                  <a:pt x="72" y="87"/>
                </a:lnTo>
                <a:lnTo>
                  <a:pt x="71" y="88"/>
                </a:lnTo>
                <a:lnTo>
                  <a:pt x="69" y="88"/>
                </a:lnTo>
                <a:lnTo>
                  <a:pt x="67" y="88"/>
                </a:lnTo>
                <a:lnTo>
                  <a:pt x="65" y="86"/>
                </a:lnTo>
                <a:lnTo>
                  <a:pt x="62" y="85"/>
                </a:lnTo>
                <a:lnTo>
                  <a:pt x="61" y="85"/>
                </a:lnTo>
                <a:lnTo>
                  <a:pt x="62" y="89"/>
                </a:lnTo>
                <a:lnTo>
                  <a:pt x="62" y="91"/>
                </a:lnTo>
                <a:lnTo>
                  <a:pt x="66" y="93"/>
                </a:lnTo>
                <a:lnTo>
                  <a:pt x="62" y="95"/>
                </a:lnTo>
                <a:lnTo>
                  <a:pt x="61" y="96"/>
                </a:lnTo>
                <a:lnTo>
                  <a:pt x="60" y="95"/>
                </a:lnTo>
                <a:lnTo>
                  <a:pt x="56" y="95"/>
                </a:lnTo>
                <a:lnTo>
                  <a:pt x="57" y="98"/>
                </a:lnTo>
                <a:lnTo>
                  <a:pt x="57" y="102"/>
                </a:lnTo>
                <a:lnTo>
                  <a:pt x="59" y="106"/>
                </a:lnTo>
                <a:lnTo>
                  <a:pt x="61" y="112"/>
                </a:lnTo>
                <a:lnTo>
                  <a:pt x="62" y="115"/>
                </a:lnTo>
                <a:lnTo>
                  <a:pt x="62" y="119"/>
                </a:lnTo>
                <a:lnTo>
                  <a:pt x="58" y="115"/>
                </a:lnTo>
                <a:lnTo>
                  <a:pt x="56" y="113"/>
                </a:lnTo>
                <a:lnTo>
                  <a:pt x="53" y="112"/>
                </a:lnTo>
                <a:lnTo>
                  <a:pt x="49" y="109"/>
                </a:lnTo>
                <a:lnTo>
                  <a:pt x="48" y="105"/>
                </a:lnTo>
                <a:lnTo>
                  <a:pt x="46" y="106"/>
                </a:lnTo>
                <a:lnTo>
                  <a:pt x="43" y="106"/>
                </a:lnTo>
                <a:lnTo>
                  <a:pt x="41" y="105"/>
                </a:lnTo>
                <a:lnTo>
                  <a:pt x="40" y="105"/>
                </a:lnTo>
                <a:lnTo>
                  <a:pt x="39" y="104"/>
                </a:lnTo>
                <a:lnTo>
                  <a:pt x="38" y="102"/>
                </a:lnTo>
                <a:lnTo>
                  <a:pt x="36" y="98"/>
                </a:lnTo>
                <a:lnTo>
                  <a:pt x="35" y="96"/>
                </a:lnTo>
                <a:lnTo>
                  <a:pt x="34" y="95"/>
                </a:lnTo>
                <a:lnTo>
                  <a:pt x="33" y="89"/>
                </a:lnTo>
                <a:lnTo>
                  <a:pt x="31" y="79"/>
                </a:lnTo>
                <a:lnTo>
                  <a:pt x="30" y="76"/>
                </a:lnTo>
                <a:lnTo>
                  <a:pt x="29" y="73"/>
                </a:lnTo>
                <a:lnTo>
                  <a:pt x="29" y="70"/>
                </a:lnTo>
                <a:lnTo>
                  <a:pt x="26" y="68"/>
                </a:lnTo>
                <a:lnTo>
                  <a:pt x="23" y="64"/>
                </a:lnTo>
                <a:lnTo>
                  <a:pt x="19" y="60"/>
                </a:lnTo>
                <a:lnTo>
                  <a:pt x="16" y="57"/>
                </a:lnTo>
                <a:lnTo>
                  <a:pt x="13" y="53"/>
                </a:lnTo>
                <a:lnTo>
                  <a:pt x="11" y="51"/>
                </a:lnTo>
                <a:lnTo>
                  <a:pt x="9" y="49"/>
                </a:lnTo>
                <a:lnTo>
                  <a:pt x="8" y="42"/>
                </a:lnTo>
                <a:lnTo>
                  <a:pt x="6" y="29"/>
                </a:lnTo>
                <a:lnTo>
                  <a:pt x="5" y="22"/>
                </a:lnTo>
                <a:lnTo>
                  <a:pt x="3" y="16"/>
                </a:lnTo>
                <a:lnTo>
                  <a:pt x="3" y="12"/>
                </a:lnTo>
                <a:lnTo>
                  <a:pt x="0" y="8"/>
                </a:lnTo>
                <a:lnTo>
                  <a:pt x="0" y="7"/>
                </a:lnTo>
                <a:lnTo>
                  <a:pt x="1" y="3"/>
                </a:lnTo>
                <a:lnTo>
                  <a:pt x="3" y="2"/>
                </a:lnTo>
                <a:lnTo>
                  <a:pt x="3" y="1"/>
                </a:lnTo>
                <a:lnTo>
                  <a:pt x="5" y="0"/>
                </a:lnTo>
                <a:lnTo>
                  <a:pt x="8" y="1"/>
                </a:lnTo>
                <a:lnTo>
                  <a:pt x="11" y="3"/>
                </a:lnTo>
                <a:lnTo>
                  <a:pt x="13" y="6"/>
                </a:lnTo>
                <a:lnTo>
                  <a:pt x="16" y="8"/>
                </a:lnTo>
                <a:lnTo>
                  <a:pt x="16" y="12"/>
                </a:lnTo>
                <a:lnTo>
                  <a:pt x="14" y="16"/>
                </a:lnTo>
                <a:lnTo>
                  <a:pt x="16" y="20"/>
                </a:lnTo>
                <a:lnTo>
                  <a:pt x="16" y="24"/>
                </a:lnTo>
                <a:lnTo>
                  <a:pt x="16" y="25"/>
                </a:lnTo>
                <a:lnTo>
                  <a:pt x="17" y="26"/>
                </a:lnTo>
                <a:lnTo>
                  <a:pt x="18" y="28"/>
                </a:lnTo>
                <a:lnTo>
                  <a:pt x="19" y="29"/>
                </a:lnTo>
                <a:lnTo>
                  <a:pt x="22" y="30"/>
                </a:lnTo>
                <a:lnTo>
                  <a:pt x="23" y="32"/>
                </a:lnTo>
                <a:lnTo>
                  <a:pt x="26" y="32"/>
                </a:lnTo>
                <a:lnTo>
                  <a:pt x="33" y="30"/>
                </a:lnTo>
                <a:lnTo>
                  <a:pt x="36" y="29"/>
                </a:lnTo>
                <a:lnTo>
                  <a:pt x="40" y="29"/>
                </a:lnTo>
                <a:lnTo>
                  <a:pt x="43" y="28"/>
                </a:lnTo>
                <a:lnTo>
                  <a:pt x="46" y="26"/>
                </a:lnTo>
                <a:lnTo>
                  <a:pt x="48" y="23"/>
                </a:lnTo>
                <a:lnTo>
                  <a:pt x="48" y="22"/>
                </a:lnTo>
                <a:lnTo>
                  <a:pt x="48" y="20"/>
                </a:lnTo>
                <a:lnTo>
                  <a:pt x="47" y="21"/>
                </a:lnTo>
                <a:lnTo>
                  <a:pt x="50" y="22"/>
                </a:lnTo>
                <a:lnTo>
                  <a:pt x="53" y="22"/>
                </a:lnTo>
                <a:lnTo>
                  <a:pt x="56" y="22"/>
                </a:lnTo>
                <a:lnTo>
                  <a:pt x="58" y="21"/>
                </a:lnTo>
                <a:lnTo>
                  <a:pt x="62" y="19"/>
                </a:lnTo>
                <a:lnTo>
                  <a:pt x="66" y="19"/>
                </a:lnTo>
                <a:lnTo>
                  <a:pt x="68" y="19"/>
                </a:lnTo>
                <a:lnTo>
                  <a:pt x="70" y="19"/>
                </a:lnTo>
                <a:lnTo>
                  <a:pt x="72" y="20"/>
                </a:lnTo>
                <a:lnTo>
                  <a:pt x="74" y="21"/>
                </a:lnTo>
                <a:lnTo>
                  <a:pt x="75" y="22"/>
                </a:lnTo>
                <a:lnTo>
                  <a:pt x="79" y="24"/>
                </a:lnTo>
                <a:lnTo>
                  <a:pt x="80" y="25"/>
                </a:lnTo>
                <a:lnTo>
                  <a:pt x="82" y="25"/>
                </a:lnTo>
                <a:lnTo>
                  <a:pt x="85" y="24"/>
                </a:lnTo>
                <a:lnTo>
                  <a:pt x="87" y="23"/>
                </a:lnTo>
                <a:lnTo>
                  <a:pt x="87" y="22"/>
                </a:lnTo>
                <a:lnTo>
                  <a:pt x="89" y="22"/>
                </a:lnTo>
                <a:lnTo>
                  <a:pt x="90" y="20"/>
                </a:lnTo>
                <a:lnTo>
                  <a:pt x="90" y="19"/>
                </a:lnTo>
                <a:lnTo>
                  <a:pt x="92" y="17"/>
                </a:lnTo>
                <a:lnTo>
                  <a:pt x="93" y="16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68" name="Freeform 167">
            <a:extLst>
              <a:ext uri="{FF2B5EF4-FFF2-40B4-BE49-F238E27FC236}">
                <a16:creationId xmlns:a16="http://schemas.microsoft.com/office/drawing/2014/main" id="{088CA7A6-C12B-415B-CC16-EEA8CB355527}"/>
              </a:ext>
            </a:extLst>
          </p:cNvPr>
          <p:cNvSpPr>
            <a:spLocks/>
          </p:cNvSpPr>
          <p:nvPr/>
        </p:nvSpPr>
        <p:spPr bwMode="auto">
          <a:xfrm>
            <a:off x="6652588" y="3533621"/>
            <a:ext cx="53975" cy="106363"/>
          </a:xfrm>
          <a:custGeom>
            <a:avLst/>
            <a:gdLst>
              <a:gd name="T0" fmla="*/ 26 w 27"/>
              <a:gd name="T1" fmla="*/ 32 h 57"/>
              <a:gd name="T2" fmla="*/ 26 w 27"/>
              <a:gd name="T3" fmla="*/ 33 h 57"/>
              <a:gd name="T4" fmla="*/ 25 w 27"/>
              <a:gd name="T5" fmla="*/ 37 h 57"/>
              <a:gd name="T6" fmla="*/ 23 w 27"/>
              <a:gd name="T7" fmla="*/ 39 h 57"/>
              <a:gd name="T8" fmla="*/ 21 w 27"/>
              <a:gd name="T9" fmla="*/ 45 h 57"/>
              <a:gd name="T10" fmla="*/ 16 w 27"/>
              <a:gd name="T11" fmla="*/ 49 h 57"/>
              <a:gd name="T12" fmla="*/ 14 w 27"/>
              <a:gd name="T13" fmla="*/ 52 h 57"/>
              <a:gd name="T14" fmla="*/ 13 w 27"/>
              <a:gd name="T15" fmla="*/ 56 h 57"/>
              <a:gd name="T16" fmla="*/ 12 w 27"/>
              <a:gd name="T17" fmla="*/ 52 h 57"/>
              <a:gd name="T18" fmla="*/ 9 w 27"/>
              <a:gd name="T19" fmla="*/ 51 h 57"/>
              <a:gd name="T20" fmla="*/ 9 w 27"/>
              <a:gd name="T21" fmla="*/ 47 h 57"/>
              <a:gd name="T22" fmla="*/ 8 w 27"/>
              <a:gd name="T23" fmla="*/ 43 h 57"/>
              <a:gd name="T24" fmla="*/ 6 w 27"/>
              <a:gd name="T25" fmla="*/ 29 h 57"/>
              <a:gd name="T26" fmla="*/ 5 w 27"/>
              <a:gd name="T27" fmla="*/ 22 h 57"/>
              <a:gd name="T28" fmla="*/ 3 w 27"/>
              <a:gd name="T29" fmla="*/ 16 h 57"/>
              <a:gd name="T30" fmla="*/ 3 w 27"/>
              <a:gd name="T31" fmla="*/ 12 h 57"/>
              <a:gd name="T32" fmla="*/ 0 w 27"/>
              <a:gd name="T33" fmla="*/ 8 h 57"/>
              <a:gd name="T34" fmla="*/ 0 w 27"/>
              <a:gd name="T35" fmla="*/ 7 h 57"/>
              <a:gd name="T36" fmla="*/ 1 w 27"/>
              <a:gd name="T37" fmla="*/ 3 h 57"/>
              <a:gd name="T38" fmla="*/ 3 w 27"/>
              <a:gd name="T39" fmla="*/ 2 h 57"/>
              <a:gd name="T40" fmla="*/ 3 w 27"/>
              <a:gd name="T41" fmla="*/ 1 h 57"/>
              <a:gd name="T42" fmla="*/ 5 w 27"/>
              <a:gd name="T43" fmla="*/ 0 h 57"/>
              <a:gd name="T44" fmla="*/ 8 w 27"/>
              <a:gd name="T45" fmla="*/ 1 h 57"/>
              <a:gd name="T46" fmla="*/ 11 w 27"/>
              <a:gd name="T47" fmla="*/ 3 h 57"/>
              <a:gd name="T48" fmla="*/ 13 w 27"/>
              <a:gd name="T49" fmla="*/ 6 h 57"/>
              <a:gd name="T50" fmla="*/ 16 w 27"/>
              <a:gd name="T51" fmla="*/ 8 h 57"/>
              <a:gd name="T52" fmla="*/ 16 w 27"/>
              <a:gd name="T53" fmla="*/ 12 h 57"/>
              <a:gd name="T54" fmla="*/ 16 w 27"/>
              <a:gd name="T55" fmla="*/ 17 h 57"/>
              <a:gd name="T56" fmla="*/ 16 w 27"/>
              <a:gd name="T57" fmla="*/ 21 h 57"/>
              <a:gd name="T58" fmla="*/ 16 w 27"/>
              <a:gd name="T59" fmla="*/ 24 h 57"/>
              <a:gd name="T60" fmla="*/ 17 w 27"/>
              <a:gd name="T61" fmla="*/ 27 h 57"/>
              <a:gd name="T62" fmla="*/ 18 w 27"/>
              <a:gd name="T63" fmla="*/ 28 h 57"/>
              <a:gd name="T64" fmla="*/ 19 w 27"/>
              <a:gd name="T65" fmla="*/ 30 h 57"/>
              <a:gd name="T66" fmla="*/ 22 w 27"/>
              <a:gd name="T67" fmla="*/ 31 h 57"/>
              <a:gd name="T68" fmla="*/ 23 w 27"/>
              <a:gd name="T69" fmla="*/ 32 h 57"/>
              <a:gd name="T70" fmla="*/ 26 w 27"/>
              <a:gd name="T71" fmla="*/ 32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7" h="57">
                <a:moveTo>
                  <a:pt x="26" y="32"/>
                </a:moveTo>
                <a:lnTo>
                  <a:pt x="26" y="33"/>
                </a:lnTo>
                <a:lnTo>
                  <a:pt x="25" y="37"/>
                </a:lnTo>
                <a:lnTo>
                  <a:pt x="23" y="39"/>
                </a:lnTo>
                <a:lnTo>
                  <a:pt x="21" y="45"/>
                </a:lnTo>
                <a:lnTo>
                  <a:pt x="16" y="49"/>
                </a:lnTo>
                <a:lnTo>
                  <a:pt x="14" y="52"/>
                </a:lnTo>
                <a:lnTo>
                  <a:pt x="13" y="56"/>
                </a:lnTo>
                <a:lnTo>
                  <a:pt x="12" y="52"/>
                </a:lnTo>
                <a:lnTo>
                  <a:pt x="9" y="51"/>
                </a:lnTo>
                <a:lnTo>
                  <a:pt x="9" y="47"/>
                </a:lnTo>
                <a:lnTo>
                  <a:pt x="8" y="43"/>
                </a:lnTo>
                <a:lnTo>
                  <a:pt x="6" y="29"/>
                </a:lnTo>
                <a:lnTo>
                  <a:pt x="5" y="22"/>
                </a:lnTo>
                <a:lnTo>
                  <a:pt x="3" y="16"/>
                </a:lnTo>
                <a:lnTo>
                  <a:pt x="3" y="12"/>
                </a:lnTo>
                <a:lnTo>
                  <a:pt x="0" y="8"/>
                </a:lnTo>
                <a:lnTo>
                  <a:pt x="0" y="7"/>
                </a:lnTo>
                <a:lnTo>
                  <a:pt x="1" y="3"/>
                </a:lnTo>
                <a:lnTo>
                  <a:pt x="3" y="2"/>
                </a:lnTo>
                <a:lnTo>
                  <a:pt x="3" y="1"/>
                </a:lnTo>
                <a:lnTo>
                  <a:pt x="5" y="0"/>
                </a:lnTo>
                <a:lnTo>
                  <a:pt x="8" y="1"/>
                </a:lnTo>
                <a:lnTo>
                  <a:pt x="11" y="3"/>
                </a:lnTo>
                <a:lnTo>
                  <a:pt x="13" y="6"/>
                </a:lnTo>
                <a:lnTo>
                  <a:pt x="16" y="8"/>
                </a:lnTo>
                <a:lnTo>
                  <a:pt x="16" y="12"/>
                </a:lnTo>
                <a:lnTo>
                  <a:pt x="16" y="17"/>
                </a:lnTo>
                <a:lnTo>
                  <a:pt x="16" y="21"/>
                </a:lnTo>
                <a:lnTo>
                  <a:pt x="16" y="24"/>
                </a:lnTo>
                <a:lnTo>
                  <a:pt x="17" y="27"/>
                </a:lnTo>
                <a:lnTo>
                  <a:pt x="18" y="28"/>
                </a:lnTo>
                <a:lnTo>
                  <a:pt x="19" y="30"/>
                </a:lnTo>
                <a:lnTo>
                  <a:pt x="22" y="31"/>
                </a:lnTo>
                <a:lnTo>
                  <a:pt x="23" y="32"/>
                </a:lnTo>
                <a:lnTo>
                  <a:pt x="26" y="32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69" name="Freeform 168">
            <a:extLst>
              <a:ext uri="{FF2B5EF4-FFF2-40B4-BE49-F238E27FC236}">
                <a16:creationId xmlns:a16="http://schemas.microsoft.com/office/drawing/2014/main" id="{61DBA7BC-5E5A-5A03-6652-F275EBF2E659}"/>
              </a:ext>
            </a:extLst>
          </p:cNvPr>
          <p:cNvSpPr>
            <a:spLocks/>
          </p:cNvSpPr>
          <p:nvPr/>
        </p:nvSpPr>
        <p:spPr bwMode="auto">
          <a:xfrm>
            <a:off x="6679575" y="3565371"/>
            <a:ext cx="174625" cy="192088"/>
          </a:xfrm>
          <a:custGeom>
            <a:avLst/>
            <a:gdLst>
              <a:gd name="T0" fmla="*/ 20 w 87"/>
              <a:gd name="T1" fmla="*/ 13 h 103"/>
              <a:gd name="T2" fmla="*/ 27 w 87"/>
              <a:gd name="T3" fmla="*/ 12 h 103"/>
              <a:gd name="T4" fmla="*/ 32 w 87"/>
              <a:gd name="T5" fmla="*/ 9 h 103"/>
              <a:gd name="T6" fmla="*/ 34 w 87"/>
              <a:gd name="T7" fmla="*/ 5 h 103"/>
              <a:gd name="T8" fmla="*/ 34 w 87"/>
              <a:gd name="T9" fmla="*/ 4 h 103"/>
              <a:gd name="T10" fmla="*/ 40 w 87"/>
              <a:gd name="T11" fmla="*/ 5 h 103"/>
              <a:gd name="T12" fmla="*/ 44 w 87"/>
              <a:gd name="T13" fmla="*/ 4 h 103"/>
              <a:gd name="T14" fmla="*/ 52 w 87"/>
              <a:gd name="T15" fmla="*/ 3 h 103"/>
              <a:gd name="T16" fmla="*/ 57 w 87"/>
              <a:gd name="T17" fmla="*/ 3 h 103"/>
              <a:gd name="T18" fmla="*/ 61 w 87"/>
              <a:gd name="T19" fmla="*/ 4 h 103"/>
              <a:gd name="T20" fmla="*/ 65 w 87"/>
              <a:gd name="T21" fmla="*/ 7 h 103"/>
              <a:gd name="T22" fmla="*/ 69 w 87"/>
              <a:gd name="T23" fmla="*/ 8 h 103"/>
              <a:gd name="T24" fmla="*/ 74 w 87"/>
              <a:gd name="T25" fmla="*/ 6 h 103"/>
              <a:gd name="T26" fmla="*/ 76 w 87"/>
              <a:gd name="T27" fmla="*/ 5 h 103"/>
              <a:gd name="T28" fmla="*/ 77 w 87"/>
              <a:gd name="T29" fmla="*/ 2 h 103"/>
              <a:gd name="T30" fmla="*/ 80 w 87"/>
              <a:gd name="T31" fmla="*/ 0 h 103"/>
              <a:gd name="T32" fmla="*/ 81 w 87"/>
              <a:gd name="T33" fmla="*/ 4 h 103"/>
              <a:gd name="T34" fmla="*/ 86 w 87"/>
              <a:gd name="T35" fmla="*/ 7 h 103"/>
              <a:gd name="T36" fmla="*/ 52 w 87"/>
              <a:gd name="T37" fmla="*/ 16 h 103"/>
              <a:gd name="T38" fmla="*/ 53 w 87"/>
              <a:gd name="T39" fmla="*/ 19 h 103"/>
              <a:gd name="T40" fmla="*/ 55 w 87"/>
              <a:gd name="T41" fmla="*/ 24 h 103"/>
              <a:gd name="T42" fmla="*/ 53 w 87"/>
              <a:gd name="T43" fmla="*/ 26 h 103"/>
              <a:gd name="T44" fmla="*/ 51 w 87"/>
              <a:gd name="T45" fmla="*/ 29 h 103"/>
              <a:gd name="T46" fmla="*/ 47 w 87"/>
              <a:gd name="T47" fmla="*/ 29 h 103"/>
              <a:gd name="T48" fmla="*/ 41 w 87"/>
              <a:gd name="T49" fmla="*/ 23 h 103"/>
              <a:gd name="T50" fmla="*/ 35 w 87"/>
              <a:gd name="T51" fmla="*/ 23 h 103"/>
              <a:gd name="T52" fmla="*/ 36 w 87"/>
              <a:gd name="T53" fmla="*/ 26 h 103"/>
              <a:gd name="T54" fmla="*/ 37 w 87"/>
              <a:gd name="T55" fmla="*/ 27 h 103"/>
              <a:gd name="T56" fmla="*/ 38 w 87"/>
              <a:gd name="T57" fmla="*/ 35 h 103"/>
              <a:gd name="T58" fmla="*/ 41 w 87"/>
              <a:gd name="T59" fmla="*/ 40 h 103"/>
              <a:gd name="T60" fmla="*/ 49 w 87"/>
              <a:gd name="T61" fmla="*/ 49 h 103"/>
              <a:gd name="T62" fmla="*/ 63 w 87"/>
              <a:gd name="T63" fmla="*/ 63 h 103"/>
              <a:gd name="T64" fmla="*/ 68 w 87"/>
              <a:gd name="T65" fmla="*/ 69 h 103"/>
              <a:gd name="T66" fmla="*/ 58 w 87"/>
              <a:gd name="T67" fmla="*/ 70 h 103"/>
              <a:gd name="T68" fmla="*/ 56 w 87"/>
              <a:gd name="T69" fmla="*/ 71 h 103"/>
              <a:gd name="T70" fmla="*/ 51 w 87"/>
              <a:gd name="T71" fmla="*/ 69 h 103"/>
              <a:gd name="T72" fmla="*/ 48 w 87"/>
              <a:gd name="T73" fmla="*/ 69 h 103"/>
              <a:gd name="T74" fmla="*/ 49 w 87"/>
              <a:gd name="T75" fmla="*/ 74 h 103"/>
              <a:gd name="T76" fmla="*/ 49 w 87"/>
              <a:gd name="T77" fmla="*/ 78 h 103"/>
              <a:gd name="T78" fmla="*/ 47 w 87"/>
              <a:gd name="T79" fmla="*/ 78 h 103"/>
              <a:gd name="T80" fmla="*/ 44 w 87"/>
              <a:gd name="T81" fmla="*/ 81 h 103"/>
              <a:gd name="T82" fmla="*/ 45 w 87"/>
              <a:gd name="T83" fmla="*/ 89 h 103"/>
              <a:gd name="T84" fmla="*/ 48 w 87"/>
              <a:gd name="T85" fmla="*/ 98 h 103"/>
              <a:gd name="T86" fmla="*/ 44 w 87"/>
              <a:gd name="T87" fmla="*/ 98 h 103"/>
              <a:gd name="T88" fmla="*/ 40 w 87"/>
              <a:gd name="T89" fmla="*/ 95 h 103"/>
              <a:gd name="T90" fmla="*/ 34 w 87"/>
              <a:gd name="T91" fmla="*/ 88 h 103"/>
              <a:gd name="T92" fmla="*/ 30 w 87"/>
              <a:gd name="T93" fmla="*/ 89 h 103"/>
              <a:gd name="T94" fmla="*/ 25 w 87"/>
              <a:gd name="T95" fmla="*/ 87 h 103"/>
              <a:gd name="T96" fmla="*/ 22 w 87"/>
              <a:gd name="T97" fmla="*/ 81 h 103"/>
              <a:gd name="T98" fmla="*/ 20 w 87"/>
              <a:gd name="T99" fmla="*/ 78 h 103"/>
              <a:gd name="T100" fmla="*/ 17 w 87"/>
              <a:gd name="T101" fmla="*/ 62 h 103"/>
              <a:gd name="T102" fmla="*/ 15 w 87"/>
              <a:gd name="T103" fmla="*/ 54 h 103"/>
              <a:gd name="T104" fmla="*/ 10 w 87"/>
              <a:gd name="T105" fmla="*/ 48 h 103"/>
              <a:gd name="T106" fmla="*/ 0 w 87"/>
              <a:gd name="T107" fmla="*/ 38 h 103"/>
              <a:gd name="T108" fmla="*/ 7 w 87"/>
              <a:gd name="T109" fmla="*/ 27 h 103"/>
              <a:gd name="T110" fmla="*/ 10 w 87"/>
              <a:gd name="T111" fmla="*/ 22 h 103"/>
              <a:gd name="T112" fmla="*/ 12 w 87"/>
              <a:gd name="T113" fmla="*/ 16 h 1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87" h="103">
                <a:moveTo>
                  <a:pt x="12" y="15"/>
                </a:moveTo>
                <a:lnTo>
                  <a:pt x="20" y="13"/>
                </a:lnTo>
                <a:lnTo>
                  <a:pt x="23" y="13"/>
                </a:lnTo>
                <a:lnTo>
                  <a:pt x="27" y="12"/>
                </a:lnTo>
                <a:lnTo>
                  <a:pt x="30" y="11"/>
                </a:lnTo>
                <a:lnTo>
                  <a:pt x="32" y="9"/>
                </a:lnTo>
                <a:lnTo>
                  <a:pt x="34" y="6"/>
                </a:lnTo>
                <a:lnTo>
                  <a:pt x="34" y="5"/>
                </a:lnTo>
                <a:lnTo>
                  <a:pt x="34" y="3"/>
                </a:lnTo>
                <a:lnTo>
                  <a:pt x="34" y="4"/>
                </a:lnTo>
                <a:lnTo>
                  <a:pt x="37" y="5"/>
                </a:lnTo>
                <a:lnTo>
                  <a:pt x="40" y="5"/>
                </a:lnTo>
                <a:lnTo>
                  <a:pt x="42" y="5"/>
                </a:lnTo>
                <a:lnTo>
                  <a:pt x="44" y="4"/>
                </a:lnTo>
                <a:lnTo>
                  <a:pt x="49" y="3"/>
                </a:lnTo>
                <a:lnTo>
                  <a:pt x="52" y="3"/>
                </a:lnTo>
                <a:lnTo>
                  <a:pt x="55" y="3"/>
                </a:lnTo>
                <a:lnTo>
                  <a:pt x="57" y="3"/>
                </a:lnTo>
                <a:lnTo>
                  <a:pt x="58" y="3"/>
                </a:lnTo>
                <a:lnTo>
                  <a:pt x="61" y="4"/>
                </a:lnTo>
                <a:lnTo>
                  <a:pt x="61" y="5"/>
                </a:lnTo>
                <a:lnTo>
                  <a:pt x="65" y="7"/>
                </a:lnTo>
                <a:lnTo>
                  <a:pt x="67" y="8"/>
                </a:lnTo>
                <a:lnTo>
                  <a:pt x="69" y="8"/>
                </a:lnTo>
                <a:lnTo>
                  <a:pt x="72" y="7"/>
                </a:lnTo>
                <a:lnTo>
                  <a:pt x="74" y="6"/>
                </a:lnTo>
                <a:lnTo>
                  <a:pt x="74" y="5"/>
                </a:lnTo>
                <a:lnTo>
                  <a:pt x="76" y="5"/>
                </a:lnTo>
                <a:lnTo>
                  <a:pt x="77" y="3"/>
                </a:lnTo>
                <a:lnTo>
                  <a:pt x="77" y="2"/>
                </a:lnTo>
                <a:lnTo>
                  <a:pt x="79" y="0"/>
                </a:lnTo>
                <a:lnTo>
                  <a:pt x="80" y="0"/>
                </a:lnTo>
                <a:lnTo>
                  <a:pt x="81" y="3"/>
                </a:lnTo>
                <a:lnTo>
                  <a:pt x="81" y="4"/>
                </a:lnTo>
                <a:lnTo>
                  <a:pt x="82" y="5"/>
                </a:lnTo>
                <a:lnTo>
                  <a:pt x="86" y="7"/>
                </a:lnTo>
                <a:lnTo>
                  <a:pt x="86" y="16"/>
                </a:lnTo>
                <a:lnTo>
                  <a:pt x="52" y="16"/>
                </a:lnTo>
                <a:lnTo>
                  <a:pt x="53" y="18"/>
                </a:lnTo>
                <a:lnTo>
                  <a:pt x="53" y="19"/>
                </a:lnTo>
                <a:lnTo>
                  <a:pt x="54" y="22"/>
                </a:lnTo>
                <a:lnTo>
                  <a:pt x="55" y="24"/>
                </a:lnTo>
                <a:lnTo>
                  <a:pt x="57" y="25"/>
                </a:lnTo>
                <a:lnTo>
                  <a:pt x="53" y="26"/>
                </a:lnTo>
                <a:lnTo>
                  <a:pt x="51" y="27"/>
                </a:lnTo>
                <a:lnTo>
                  <a:pt x="51" y="29"/>
                </a:lnTo>
                <a:lnTo>
                  <a:pt x="50" y="30"/>
                </a:lnTo>
                <a:lnTo>
                  <a:pt x="47" y="29"/>
                </a:lnTo>
                <a:lnTo>
                  <a:pt x="43" y="26"/>
                </a:lnTo>
                <a:lnTo>
                  <a:pt x="41" y="23"/>
                </a:lnTo>
                <a:lnTo>
                  <a:pt x="38" y="20"/>
                </a:lnTo>
                <a:lnTo>
                  <a:pt x="35" y="23"/>
                </a:lnTo>
                <a:lnTo>
                  <a:pt x="35" y="24"/>
                </a:lnTo>
                <a:lnTo>
                  <a:pt x="36" y="26"/>
                </a:lnTo>
                <a:lnTo>
                  <a:pt x="37" y="26"/>
                </a:lnTo>
                <a:lnTo>
                  <a:pt x="37" y="27"/>
                </a:lnTo>
                <a:lnTo>
                  <a:pt x="37" y="31"/>
                </a:lnTo>
                <a:lnTo>
                  <a:pt x="38" y="35"/>
                </a:lnTo>
                <a:lnTo>
                  <a:pt x="39" y="38"/>
                </a:lnTo>
                <a:lnTo>
                  <a:pt x="41" y="40"/>
                </a:lnTo>
                <a:lnTo>
                  <a:pt x="44" y="46"/>
                </a:lnTo>
                <a:lnTo>
                  <a:pt x="49" y="49"/>
                </a:lnTo>
                <a:lnTo>
                  <a:pt x="59" y="59"/>
                </a:lnTo>
                <a:lnTo>
                  <a:pt x="63" y="63"/>
                </a:lnTo>
                <a:lnTo>
                  <a:pt x="66" y="65"/>
                </a:lnTo>
                <a:lnTo>
                  <a:pt x="68" y="69"/>
                </a:lnTo>
                <a:lnTo>
                  <a:pt x="61" y="69"/>
                </a:lnTo>
                <a:lnTo>
                  <a:pt x="58" y="70"/>
                </a:lnTo>
                <a:lnTo>
                  <a:pt x="58" y="71"/>
                </a:lnTo>
                <a:lnTo>
                  <a:pt x="56" y="71"/>
                </a:lnTo>
                <a:lnTo>
                  <a:pt x="54" y="71"/>
                </a:lnTo>
                <a:lnTo>
                  <a:pt x="51" y="69"/>
                </a:lnTo>
                <a:lnTo>
                  <a:pt x="49" y="69"/>
                </a:lnTo>
                <a:lnTo>
                  <a:pt x="48" y="69"/>
                </a:lnTo>
                <a:lnTo>
                  <a:pt x="48" y="72"/>
                </a:lnTo>
                <a:lnTo>
                  <a:pt x="49" y="74"/>
                </a:lnTo>
                <a:lnTo>
                  <a:pt x="52" y="76"/>
                </a:lnTo>
                <a:lnTo>
                  <a:pt x="49" y="78"/>
                </a:lnTo>
                <a:lnTo>
                  <a:pt x="48" y="79"/>
                </a:lnTo>
                <a:lnTo>
                  <a:pt x="47" y="78"/>
                </a:lnTo>
                <a:lnTo>
                  <a:pt x="43" y="78"/>
                </a:lnTo>
                <a:lnTo>
                  <a:pt x="44" y="81"/>
                </a:lnTo>
                <a:lnTo>
                  <a:pt x="44" y="85"/>
                </a:lnTo>
                <a:lnTo>
                  <a:pt x="45" y="89"/>
                </a:lnTo>
                <a:lnTo>
                  <a:pt x="48" y="95"/>
                </a:lnTo>
                <a:lnTo>
                  <a:pt x="48" y="98"/>
                </a:lnTo>
                <a:lnTo>
                  <a:pt x="48" y="102"/>
                </a:lnTo>
                <a:lnTo>
                  <a:pt x="44" y="98"/>
                </a:lnTo>
                <a:lnTo>
                  <a:pt x="43" y="96"/>
                </a:lnTo>
                <a:lnTo>
                  <a:pt x="40" y="95"/>
                </a:lnTo>
                <a:lnTo>
                  <a:pt x="36" y="92"/>
                </a:lnTo>
                <a:lnTo>
                  <a:pt x="34" y="88"/>
                </a:lnTo>
                <a:lnTo>
                  <a:pt x="32" y="89"/>
                </a:lnTo>
                <a:lnTo>
                  <a:pt x="30" y="89"/>
                </a:lnTo>
                <a:lnTo>
                  <a:pt x="27" y="88"/>
                </a:lnTo>
                <a:lnTo>
                  <a:pt x="25" y="87"/>
                </a:lnTo>
                <a:lnTo>
                  <a:pt x="24" y="85"/>
                </a:lnTo>
                <a:lnTo>
                  <a:pt x="22" y="81"/>
                </a:lnTo>
                <a:lnTo>
                  <a:pt x="21" y="79"/>
                </a:lnTo>
                <a:lnTo>
                  <a:pt x="20" y="78"/>
                </a:lnTo>
                <a:lnTo>
                  <a:pt x="20" y="72"/>
                </a:lnTo>
                <a:lnTo>
                  <a:pt x="17" y="62"/>
                </a:lnTo>
                <a:lnTo>
                  <a:pt x="17" y="58"/>
                </a:lnTo>
                <a:lnTo>
                  <a:pt x="15" y="54"/>
                </a:lnTo>
                <a:lnTo>
                  <a:pt x="13" y="51"/>
                </a:lnTo>
                <a:lnTo>
                  <a:pt x="10" y="48"/>
                </a:lnTo>
                <a:lnTo>
                  <a:pt x="4" y="42"/>
                </a:lnTo>
                <a:lnTo>
                  <a:pt x="0" y="38"/>
                </a:lnTo>
                <a:lnTo>
                  <a:pt x="3" y="32"/>
                </a:lnTo>
                <a:lnTo>
                  <a:pt x="7" y="27"/>
                </a:lnTo>
                <a:lnTo>
                  <a:pt x="9" y="25"/>
                </a:lnTo>
                <a:lnTo>
                  <a:pt x="10" y="22"/>
                </a:lnTo>
                <a:lnTo>
                  <a:pt x="11" y="19"/>
                </a:lnTo>
                <a:lnTo>
                  <a:pt x="12" y="16"/>
                </a:lnTo>
                <a:lnTo>
                  <a:pt x="12" y="15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70" name="Freeform 169">
            <a:extLst>
              <a:ext uri="{FF2B5EF4-FFF2-40B4-BE49-F238E27FC236}">
                <a16:creationId xmlns:a16="http://schemas.microsoft.com/office/drawing/2014/main" id="{F229EFF2-4D8D-C982-C4DB-81EB36B7E024}"/>
              </a:ext>
            </a:extLst>
          </p:cNvPr>
          <p:cNvSpPr>
            <a:spLocks/>
          </p:cNvSpPr>
          <p:nvPr/>
        </p:nvSpPr>
        <p:spPr bwMode="auto">
          <a:xfrm>
            <a:off x="7452688" y="3976534"/>
            <a:ext cx="77788" cy="58738"/>
          </a:xfrm>
          <a:custGeom>
            <a:avLst/>
            <a:gdLst>
              <a:gd name="T0" fmla="*/ 36 w 38"/>
              <a:gd name="T1" fmla="*/ 30 h 31"/>
              <a:gd name="T2" fmla="*/ 20 w 38"/>
              <a:gd name="T3" fmla="*/ 30 h 31"/>
              <a:gd name="T4" fmla="*/ 16 w 38"/>
              <a:gd name="T5" fmla="*/ 26 h 31"/>
              <a:gd name="T6" fmla="*/ 13 w 38"/>
              <a:gd name="T7" fmla="*/ 23 h 31"/>
              <a:gd name="T8" fmla="*/ 7 w 38"/>
              <a:gd name="T9" fmla="*/ 21 h 31"/>
              <a:gd name="T10" fmla="*/ 0 w 38"/>
              <a:gd name="T11" fmla="*/ 20 h 31"/>
              <a:gd name="T12" fmla="*/ 3 w 38"/>
              <a:gd name="T13" fmla="*/ 10 h 31"/>
              <a:gd name="T14" fmla="*/ 5 w 38"/>
              <a:gd name="T15" fmla="*/ 6 h 31"/>
              <a:gd name="T16" fmla="*/ 7 w 38"/>
              <a:gd name="T17" fmla="*/ 3 h 31"/>
              <a:gd name="T18" fmla="*/ 9 w 38"/>
              <a:gd name="T19" fmla="*/ 1 h 31"/>
              <a:gd name="T20" fmla="*/ 10 w 38"/>
              <a:gd name="T21" fmla="*/ 0 h 31"/>
              <a:gd name="T22" fmla="*/ 12 w 38"/>
              <a:gd name="T23" fmla="*/ 0 h 31"/>
              <a:gd name="T24" fmla="*/ 14 w 38"/>
              <a:gd name="T25" fmla="*/ 0 h 31"/>
              <a:gd name="T26" fmla="*/ 18 w 38"/>
              <a:gd name="T27" fmla="*/ 1 h 31"/>
              <a:gd name="T28" fmla="*/ 20 w 38"/>
              <a:gd name="T29" fmla="*/ 2 h 31"/>
              <a:gd name="T30" fmla="*/ 22 w 38"/>
              <a:gd name="T31" fmla="*/ 2 h 31"/>
              <a:gd name="T32" fmla="*/ 23 w 38"/>
              <a:gd name="T33" fmla="*/ 2 h 31"/>
              <a:gd name="T34" fmla="*/ 26 w 38"/>
              <a:gd name="T35" fmla="*/ 1 h 31"/>
              <a:gd name="T36" fmla="*/ 23 w 38"/>
              <a:gd name="T37" fmla="*/ 3 h 31"/>
              <a:gd name="T38" fmla="*/ 20 w 38"/>
              <a:gd name="T39" fmla="*/ 4 h 31"/>
              <a:gd name="T40" fmla="*/ 21 w 38"/>
              <a:gd name="T41" fmla="*/ 6 h 31"/>
              <a:gd name="T42" fmla="*/ 21 w 38"/>
              <a:gd name="T43" fmla="*/ 7 h 31"/>
              <a:gd name="T44" fmla="*/ 22 w 38"/>
              <a:gd name="T45" fmla="*/ 10 h 31"/>
              <a:gd name="T46" fmla="*/ 23 w 38"/>
              <a:gd name="T47" fmla="*/ 13 h 31"/>
              <a:gd name="T48" fmla="*/ 25 w 38"/>
              <a:gd name="T49" fmla="*/ 15 h 31"/>
              <a:gd name="T50" fmla="*/ 28 w 38"/>
              <a:gd name="T51" fmla="*/ 19 h 31"/>
              <a:gd name="T52" fmla="*/ 33 w 38"/>
              <a:gd name="T53" fmla="*/ 21 h 31"/>
              <a:gd name="T54" fmla="*/ 34 w 38"/>
              <a:gd name="T55" fmla="*/ 23 h 31"/>
              <a:gd name="T56" fmla="*/ 35 w 38"/>
              <a:gd name="T57" fmla="*/ 24 h 31"/>
              <a:gd name="T58" fmla="*/ 37 w 38"/>
              <a:gd name="T59" fmla="*/ 28 h 31"/>
              <a:gd name="T60" fmla="*/ 36 w 38"/>
              <a:gd name="T61" fmla="*/ 3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8" h="31">
                <a:moveTo>
                  <a:pt x="36" y="30"/>
                </a:moveTo>
                <a:lnTo>
                  <a:pt x="20" y="30"/>
                </a:lnTo>
                <a:lnTo>
                  <a:pt x="16" y="26"/>
                </a:lnTo>
                <a:lnTo>
                  <a:pt x="13" y="23"/>
                </a:lnTo>
                <a:lnTo>
                  <a:pt x="7" y="21"/>
                </a:lnTo>
                <a:lnTo>
                  <a:pt x="0" y="20"/>
                </a:lnTo>
                <a:lnTo>
                  <a:pt x="3" y="10"/>
                </a:lnTo>
                <a:lnTo>
                  <a:pt x="5" y="6"/>
                </a:lnTo>
                <a:lnTo>
                  <a:pt x="7" y="3"/>
                </a:lnTo>
                <a:lnTo>
                  <a:pt x="9" y="1"/>
                </a:lnTo>
                <a:lnTo>
                  <a:pt x="10" y="0"/>
                </a:lnTo>
                <a:lnTo>
                  <a:pt x="12" y="0"/>
                </a:lnTo>
                <a:lnTo>
                  <a:pt x="14" y="0"/>
                </a:lnTo>
                <a:lnTo>
                  <a:pt x="18" y="1"/>
                </a:lnTo>
                <a:lnTo>
                  <a:pt x="20" y="2"/>
                </a:lnTo>
                <a:lnTo>
                  <a:pt x="22" y="2"/>
                </a:lnTo>
                <a:lnTo>
                  <a:pt x="23" y="2"/>
                </a:lnTo>
                <a:lnTo>
                  <a:pt x="26" y="1"/>
                </a:lnTo>
                <a:lnTo>
                  <a:pt x="23" y="3"/>
                </a:lnTo>
                <a:lnTo>
                  <a:pt x="20" y="4"/>
                </a:lnTo>
                <a:lnTo>
                  <a:pt x="21" y="6"/>
                </a:lnTo>
                <a:lnTo>
                  <a:pt x="21" y="7"/>
                </a:lnTo>
                <a:lnTo>
                  <a:pt x="22" y="10"/>
                </a:lnTo>
                <a:lnTo>
                  <a:pt x="23" y="13"/>
                </a:lnTo>
                <a:lnTo>
                  <a:pt x="25" y="15"/>
                </a:lnTo>
                <a:lnTo>
                  <a:pt x="28" y="19"/>
                </a:lnTo>
                <a:lnTo>
                  <a:pt x="33" y="21"/>
                </a:lnTo>
                <a:lnTo>
                  <a:pt x="34" y="23"/>
                </a:lnTo>
                <a:lnTo>
                  <a:pt x="35" y="24"/>
                </a:lnTo>
                <a:lnTo>
                  <a:pt x="37" y="28"/>
                </a:lnTo>
                <a:lnTo>
                  <a:pt x="36" y="3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71" name="Freeform 170">
            <a:extLst>
              <a:ext uri="{FF2B5EF4-FFF2-40B4-BE49-F238E27FC236}">
                <a16:creationId xmlns:a16="http://schemas.microsoft.com/office/drawing/2014/main" id="{4C94D75C-D8DA-5E95-32DC-0220020297AF}"/>
              </a:ext>
            </a:extLst>
          </p:cNvPr>
          <p:cNvSpPr>
            <a:spLocks/>
          </p:cNvSpPr>
          <p:nvPr/>
        </p:nvSpPr>
        <p:spPr bwMode="auto">
          <a:xfrm>
            <a:off x="7122488" y="3908271"/>
            <a:ext cx="609600" cy="476250"/>
          </a:xfrm>
          <a:custGeom>
            <a:avLst/>
            <a:gdLst>
              <a:gd name="T0" fmla="*/ 202 w 302"/>
              <a:gd name="T1" fmla="*/ 71 h 255"/>
              <a:gd name="T2" fmla="*/ 204 w 302"/>
              <a:gd name="T3" fmla="*/ 79 h 255"/>
              <a:gd name="T4" fmla="*/ 207 w 302"/>
              <a:gd name="T5" fmla="*/ 83 h 255"/>
              <a:gd name="T6" fmla="*/ 212 w 302"/>
              <a:gd name="T7" fmla="*/ 87 h 255"/>
              <a:gd name="T8" fmla="*/ 214 w 302"/>
              <a:gd name="T9" fmla="*/ 90 h 255"/>
              <a:gd name="T10" fmla="*/ 222 w 302"/>
              <a:gd name="T11" fmla="*/ 103 h 255"/>
              <a:gd name="T12" fmla="*/ 230 w 302"/>
              <a:gd name="T13" fmla="*/ 116 h 255"/>
              <a:gd name="T14" fmla="*/ 232 w 302"/>
              <a:gd name="T15" fmla="*/ 123 h 255"/>
              <a:gd name="T16" fmla="*/ 232 w 302"/>
              <a:gd name="T17" fmla="*/ 135 h 255"/>
              <a:gd name="T18" fmla="*/ 236 w 302"/>
              <a:gd name="T19" fmla="*/ 134 h 255"/>
              <a:gd name="T20" fmla="*/ 248 w 302"/>
              <a:gd name="T21" fmla="*/ 126 h 255"/>
              <a:gd name="T22" fmla="*/ 253 w 302"/>
              <a:gd name="T23" fmla="*/ 123 h 255"/>
              <a:gd name="T24" fmla="*/ 293 w 302"/>
              <a:gd name="T25" fmla="*/ 136 h 255"/>
              <a:gd name="T26" fmla="*/ 301 w 302"/>
              <a:gd name="T27" fmla="*/ 170 h 255"/>
              <a:gd name="T28" fmla="*/ 211 w 302"/>
              <a:gd name="T29" fmla="*/ 206 h 255"/>
              <a:gd name="T30" fmla="*/ 170 w 302"/>
              <a:gd name="T31" fmla="*/ 228 h 255"/>
              <a:gd name="T32" fmla="*/ 150 w 302"/>
              <a:gd name="T33" fmla="*/ 221 h 255"/>
              <a:gd name="T34" fmla="*/ 147 w 302"/>
              <a:gd name="T35" fmla="*/ 223 h 255"/>
              <a:gd name="T36" fmla="*/ 144 w 302"/>
              <a:gd name="T37" fmla="*/ 221 h 255"/>
              <a:gd name="T38" fmla="*/ 140 w 302"/>
              <a:gd name="T39" fmla="*/ 219 h 255"/>
              <a:gd name="T40" fmla="*/ 137 w 302"/>
              <a:gd name="T41" fmla="*/ 219 h 255"/>
              <a:gd name="T42" fmla="*/ 133 w 302"/>
              <a:gd name="T43" fmla="*/ 221 h 255"/>
              <a:gd name="T44" fmla="*/ 132 w 302"/>
              <a:gd name="T45" fmla="*/ 229 h 255"/>
              <a:gd name="T46" fmla="*/ 129 w 302"/>
              <a:gd name="T47" fmla="*/ 231 h 255"/>
              <a:gd name="T48" fmla="*/ 120 w 302"/>
              <a:gd name="T49" fmla="*/ 219 h 255"/>
              <a:gd name="T50" fmla="*/ 109 w 302"/>
              <a:gd name="T51" fmla="*/ 203 h 255"/>
              <a:gd name="T52" fmla="*/ 105 w 302"/>
              <a:gd name="T53" fmla="*/ 203 h 255"/>
              <a:gd name="T54" fmla="*/ 102 w 302"/>
              <a:gd name="T55" fmla="*/ 204 h 255"/>
              <a:gd name="T56" fmla="*/ 100 w 302"/>
              <a:gd name="T57" fmla="*/ 204 h 255"/>
              <a:gd name="T58" fmla="*/ 96 w 302"/>
              <a:gd name="T59" fmla="*/ 197 h 255"/>
              <a:gd name="T60" fmla="*/ 86 w 302"/>
              <a:gd name="T61" fmla="*/ 187 h 255"/>
              <a:gd name="T62" fmla="*/ 78 w 302"/>
              <a:gd name="T63" fmla="*/ 177 h 255"/>
              <a:gd name="T64" fmla="*/ 75 w 302"/>
              <a:gd name="T65" fmla="*/ 173 h 255"/>
              <a:gd name="T66" fmla="*/ 70 w 302"/>
              <a:gd name="T67" fmla="*/ 170 h 255"/>
              <a:gd name="T68" fmla="*/ 66 w 302"/>
              <a:gd name="T69" fmla="*/ 136 h 255"/>
              <a:gd name="T70" fmla="*/ 63 w 302"/>
              <a:gd name="T71" fmla="*/ 133 h 255"/>
              <a:gd name="T72" fmla="*/ 56 w 302"/>
              <a:gd name="T73" fmla="*/ 131 h 255"/>
              <a:gd name="T74" fmla="*/ 48 w 302"/>
              <a:gd name="T75" fmla="*/ 134 h 255"/>
              <a:gd name="T76" fmla="*/ 44 w 302"/>
              <a:gd name="T77" fmla="*/ 134 h 255"/>
              <a:gd name="T78" fmla="*/ 40 w 302"/>
              <a:gd name="T79" fmla="*/ 133 h 255"/>
              <a:gd name="T80" fmla="*/ 37 w 302"/>
              <a:gd name="T81" fmla="*/ 128 h 255"/>
              <a:gd name="T82" fmla="*/ 21 w 302"/>
              <a:gd name="T83" fmla="*/ 94 h 255"/>
              <a:gd name="T84" fmla="*/ 13 w 302"/>
              <a:gd name="T85" fmla="*/ 80 h 255"/>
              <a:gd name="T86" fmla="*/ 3 w 302"/>
              <a:gd name="T87" fmla="*/ 67 h 255"/>
              <a:gd name="T88" fmla="*/ 0 w 302"/>
              <a:gd name="T89" fmla="*/ 56 h 255"/>
              <a:gd name="T90" fmla="*/ 16 w 302"/>
              <a:gd name="T91" fmla="*/ 56 h 255"/>
              <a:gd name="T92" fmla="*/ 21 w 302"/>
              <a:gd name="T93" fmla="*/ 46 h 255"/>
              <a:gd name="T94" fmla="*/ 30 w 302"/>
              <a:gd name="T95" fmla="*/ 43 h 255"/>
              <a:gd name="T96" fmla="*/ 41 w 302"/>
              <a:gd name="T97" fmla="*/ 36 h 255"/>
              <a:gd name="T98" fmla="*/ 56 w 302"/>
              <a:gd name="T99" fmla="*/ 0 h 255"/>
              <a:gd name="T100" fmla="*/ 109 w 302"/>
              <a:gd name="T101" fmla="*/ 26 h 255"/>
              <a:gd name="T102" fmla="*/ 113 w 302"/>
              <a:gd name="T103" fmla="*/ 30 h 255"/>
              <a:gd name="T104" fmla="*/ 118 w 302"/>
              <a:gd name="T105" fmla="*/ 34 h 255"/>
              <a:gd name="T106" fmla="*/ 120 w 302"/>
              <a:gd name="T107" fmla="*/ 45 h 255"/>
              <a:gd name="T108" fmla="*/ 163 w 302"/>
              <a:gd name="T109" fmla="*/ 57 h 255"/>
              <a:gd name="T110" fmla="*/ 177 w 302"/>
              <a:gd name="T111" fmla="*/ 60 h 255"/>
              <a:gd name="T112" fmla="*/ 184 w 302"/>
              <a:gd name="T113" fmla="*/ 66 h 255"/>
              <a:gd name="T114" fmla="*/ 200 w 302"/>
              <a:gd name="T115" fmla="*/ 65 h 2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02" h="255">
                <a:moveTo>
                  <a:pt x="200" y="65"/>
                </a:moveTo>
                <a:lnTo>
                  <a:pt x="202" y="71"/>
                </a:lnTo>
                <a:lnTo>
                  <a:pt x="202" y="76"/>
                </a:lnTo>
                <a:lnTo>
                  <a:pt x="204" y="79"/>
                </a:lnTo>
                <a:lnTo>
                  <a:pt x="204" y="80"/>
                </a:lnTo>
                <a:lnTo>
                  <a:pt x="207" y="83"/>
                </a:lnTo>
                <a:lnTo>
                  <a:pt x="208" y="84"/>
                </a:lnTo>
                <a:lnTo>
                  <a:pt x="212" y="87"/>
                </a:lnTo>
                <a:lnTo>
                  <a:pt x="213" y="89"/>
                </a:lnTo>
                <a:lnTo>
                  <a:pt x="214" y="90"/>
                </a:lnTo>
                <a:lnTo>
                  <a:pt x="218" y="98"/>
                </a:lnTo>
                <a:lnTo>
                  <a:pt x="222" y="103"/>
                </a:lnTo>
                <a:lnTo>
                  <a:pt x="225" y="109"/>
                </a:lnTo>
                <a:lnTo>
                  <a:pt x="230" y="116"/>
                </a:lnTo>
                <a:lnTo>
                  <a:pt x="230" y="120"/>
                </a:lnTo>
                <a:lnTo>
                  <a:pt x="232" y="123"/>
                </a:lnTo>
                <a:lnTo>
                  <a:pt x="235" y="129"/>
                </a:lnTo>
                <a:lnTo>
                  <a:pt x="232" y="135"/>
                </a:lnTo>
                <a:lnTo>
                  <a:pt x="234" y="135"/>
                </a:lnTo>
                <a:lnTo>
                  <a:pt x="236" y="134"/>
                </a:lnTo>
                <a:lnTo>
                  <a:pt x="243" y="130"/>
                </a:lnTo>
                <a:lnTo>
                  <a:pt x="248" y="126"/>
                </a:lnTo>
                <a:lnTo>
                  <a:pt x="251" y="124"/>
                </a:lnTo>
                <a:lnTo>
                  <a:pt x="253" y="123"/>
                </a:lnTo>
                <a:lnTo>
                  <a:pt x="253" y="134"/>
                </a:lnTo>
                <a:lnTo>
                  <a:pt x="293" y="136"/>
                </a:lnTo>
                <a:lnTo>
                  <a:pt x="301" y="141"/>
                </a:lnTo>
                <a:lnTo>
                  <a:pt x="301" y="170"/>
                </a:lnTo>
                <a:lnTo>
                  <a:pt x="256" y="193"/>
                </a:lnTo>
                <a:lnTo>
                  <a:pt x="211" y="206"/>
                </a:lnTo>
                <a:lnTo>
                  <a:pt x="173" y="254"/>
                </a:lnTo>
                <a:lnTo>
                  <a:pt x="170" y="228"/>
                </a:lnTo>
                <a:lnTo>
                  <a:pt x="151" y="223"/>
                </a:lnTo>
                <a:lnTo>
                  <a:pt x="150" y="221"/>
                </a:lnTo>
                <a:lnTo>
                  <a:pt x="149" y="221"/>
                </a:lnTo>
                <a:lnTo>
                  <a:pt x="147" y="223"/>
                </a:lnTo>
                <a:lnTo>
                  <a:pt x="146" y="223"/>
                </a:lnTo>
                <a:lnTo>
                  <a:pt x="144" y="221"/>
                </a:lnTo>
                <a:lnTo>
                  <a:pt x="142" y="220"/>
                </a:lnTo>
                <a:lnTo>
                  <a:pt x="140" y="219"/>
                </a:lnTo>
                <a:lnTo>
                  <a:pt x="138" y="219"/>
                </a:lnTo>
                <a:lnTo>
                  <a:pt x="137" y="219"/>
                </a:lnTo>
                <a:lnTo>
                  <a:pt x="136" y="220"/>
                </a:lnTo>
                <a:lnTo>
                  <a:pt x="133" y="221"/>
                </a:lnTo>
                <a:lnTo>
                  <a:pt x="133" y="223"/>
                </a:lnTo>
                <a:lnTo>
                  <a:pt x="132" y="229"/>
                </a:lnTo>
                <a:lnTo>
                  <a:pt x="130" y="233"/>
                </a:lnTo>
                <a:lnTo>
                  <a:pt x="129" y="231"/>
                </a:lnTo>
                <a:lnTo>
                  <a:pt x="127" y="227"/>
                </a:lnTo>
                <a:lnTo>
                  <a:pt x="120" y="219"/>
                </a:lnTo>
                <a:lnTo>
                  <a:pt x="111" y="206"/>
                </a:lnTo>
                <a:lnTo>
                  <a:pt x="109" y="203"/>
                </a:lnTo>
                <a:lnTo>
                  <a:pt x="107" y="202"/>
                </a:lnTo>
                <a:lnTo>
                  <a:pt x="105" y="203"/>
                </a:lnTo>
                <a:lnTo>
                  <a:pt x="103" y="204"/>
                </a:lnTo>
                <a:lnTo>
                  <a:pt x="102" y="204"/>
                </a:lnTo>
                <a:lnTo>
                  <a:pt x="101" y="205"/>
                </a:lnTo>
                <a:lnTo>
                  <a:pt x="100" y="204"/>
                </a:lnTo>
                <a:lnTo>
                  <a:pt x="98" y="201"/>
                </a:lnTo>
                <a:lnTo>
                  <a:pt x="96" y="197"/>
                </a:lnTo>
                <a:lnTo>
                  <a:pt x="93" y="193"/>
                </a:lnTo>
                <a:lnTo>
                  <a:pt x="86" y="187"/>
                </a:lnTo>
                <a:lnTo>
                  <a:pt x="81" y="180"/>
                </a:lnTo>
                <a:lnTo>
                  <a:pt x="78" y="177"/>
                </a:lnTo>
                <a:lnTo>
                  <a:pt x="74" y="173"/>
                </a:lnTo>
                <a:lnTo>
                  <a:pt x="75" y="173"/>
                </a:lnTo>
                <a:lnTo>
                  <a:pt x="74" y="170"/>
                </a:lnTo>
                <a:lnTo>
                  <a:pt x="70" y="170"/>
                </a:lnTo>
                <a:lnTo>
                  <a:pt x="70" y="140"/>
                </a:lnTo>
                <a:lnTo>
                  <a:pt x="66" y="136"/>
                </a:lnTo>
                <a:lnTo>
                  <a:pt x="65" y="134"/>
                </a:lnTo>
                <a:lnTo>
                  <a:pt x="63" y="133"/>
                </a:lnTo>
                <a:lnTo>
                  <a:pt x="60" y="131"/>
                </a:lnTo>
                <a:lnTo>
                  <a:pt x="56" y="131"/>
                </a:lnTo>
                <a:lnTo>
                  <a:pt x="52" y="133"/>
                </a:lnTo>
                <a:lnTo>
                  <a:pt x="48" y="134"/>
                </a:lnTo>
                <a:lnTo>
                  <a:pt x="46" y="134"/>
                </a:lnTo>
                <a:lnTo>
                  <a:pt x="44" y="134"/>
                </a:lnTo>
                <a:lnTo>
                  <a:pt x="43" y="134"/>
                </a:lnTo>
                <a:lnTo>
                  <a:pt x="40" y="133"/>
                </a:lnTo>
                <a:lnTo>
                  <a:pt x="38" y="130"/>
                </a:lnTo>
                <a:lnTo>
                  <a:pt x="37" y="128"/>
                </a:lnTo>
                <a:lnTo>
                  <a:pt x="29" y="111"/>
                </a:lnTo>
                <a:lnTo>
                  <a:pt x="21" y="94"/>
                </a:lnTo>
                <a:lnTo>
                  <a:pt x="17" y="87"/>
                </a:lnTo>
                <a:lnTo>
                  <a:pt x="13" y="80"/>
                </a:lnTo>
                <a:lnTo>
                  <a:pt x="8" y="73"/>
                </a:lnTo>
                <a:lnTo>
                  <a:pt x="3" y="67"/>
                </a:lnTo>
                <a:lnTo>
                  <a:pt x="1" y="62"/>
                </a:lnTo>
                <a:lnTo>
                  <a:pt x="0" y="56"/>
                </a:lnTo>
                <a:lnTo>
                  <a:pt x="16" y="58"/>
                </a:lnTo>
                <a:lnTo>
                  <a:pt x="16" y="56"/>
                </a:lnTo>
                <a:lnTo>
                  <a:pt x="19" y="53"/>
                </a:lnTo>
                <a:lnTo>
                  <a:pt x="21" y="46"/>
                </a:lnTo>
                <a:lnTo>
                  <a:pt x="26" y="43"/>
                </a:lnTo>
                <a:lnTo>
                  <a:pt x="30" y="43"/>
                </a:lnTo>
                <a:lnTo>
                  <a:pt x="34" y="36"/>
                </a:lnTo>
                <a:lnTo>
                  <a:pt x="41" y="36"/>
                </a:lnTo>
                <a:lnTo>
                  <a:pt x="28" y="10"/>
                </a:lnTo>
                <a:lnTo>
                  <a:pt x="56" y="0"/>
                </a:lnTo>
                <a:lnTo>
                  <a:pt x="107" y="26"/>
                </a:lnTo>
                <a:lnTo>
                  <a:pt x="109" y="26"/>
                </a:lnTo>
                <a:lnTo>
                  <a:pt x="110" y="27"/>
                </a:lnTo>
                <a:lnTo>
                  <a:pt x="113" y="30"/>
                </a:lnTo>
                <a:lnTo>
                  <a:pt x="116" y="33"/>
                </a:lnTo>
                <a:lnTo>
                  <a:pt x="118" y="34"/>
                </a:lnTo>
                <a:lnTo>
                  <a:pt x="120" y="34"/>
                </a:lnTo>
                <a:lnTo>
                  <a:pt x="120" y="45"/>
                </a:lnTo>
                <a:lnTo>
                  <a:pt x="137" y="56"/>
                </a:lnTo>
                <a:lnTo>
                  <a:pt x="163" y="57"/>
                </a:lnTo>
                <a:lnTo>
                  <a:pt x="171" y="58"/>
                </a:lnTo>
                <a:lnTo>
                  <a:pt x="177" y="60"/>
                </a:lnTo>
                <a:lnTo>
                  <a:pt x="180" y="63"/>
                </a:lnTo>
                <a:lnTo>
                  <a:pt x="184" y="66"/>
                </a:lnTo>
                <a:lnTo>
                  <a:pt x="200" y="66"/>
                </a:lnTo>
                <a:lnTo>
                  <a:pt x="200" y="65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72" name="Freeform 171">
            <a:extLst>
              <a:ext uri="{FF2B5EF4-FFF2-40B4-BE49-F238E27FC236}">
                <a16:creationId xmlns:a16="http://schemas.microsoft.com/office/drawing/2014/main" id="{34B8256A-9008-4D04-BD1B-1BBB31C2FC3A}"/>
              </a:ext>
            </a:extLst>
          </p:cNvPr>
          <p:cNvSpPr>
            <a:spLocks/>
          </p:cNvSpPr>
          <p:nvPr/>
        </p:nvSpPr>
        <p:spPr bwMode="auto">
          <a:xfrm>
            <a:off x="6568450" y="3279621"/>
            <a:ext cx="146050" cy="74613"/>
          </a:xfrm>
          <a:custGeom>
            <a:avLst/>
            <a:gdLst>
              <a:gd name="T0" fmla="*/ 19 w 72"/>
              <a:gd name="T1" fmla="*/ 0 h 40"/>
              <a:gd name="T2" fmla="*/ 21 w 72"/>
              <a:gd name="T3" fmla="*/ 4 h 40"/>
              <a:gd name="T4" fmla="*/ 22 w 72"/>
              <a:gd name="T5" fmla="*/ 6 h 40"/>
              <a:gd name="T6" fmla="*/ 23 w 72"/>
              <a:gd name="T7" fmla="*/ 7 h 40"/>
              <a:gd name="T8" fmla="*/ 25 w 72"/>
              <a:gd name="T9" fmla="*/ 7 h 40"/>
              <a:gd name="T10" fmla="*/ 28 w 72"/>
              <a:gd name="T11" fmla="*/ 7 h 40"/>
              <a:gd name="T12" fmla="*/ 30 w 72"/>
              <a:gd name="T13" fmla="*/ 7 h 40"/>
              <a:gd name="T14" fmla="*/ 32 w 72"/>
              <a:gd name="T15" fmla="*/ 8 h 40"/>
              <a:gd name="T16" fmla="*/ 33 w 72"/>
              <a:gd name="T17" fmla="*/ 8 h 40"/>
              <a:gd name="T18" fmla="*/ 33 w 72"/>
              <a:gd name="T19" fmla="*/ 9 h 40"/>
              <a:gd name="T20" fmla="*/ 34 w 72"/>
              <a:gd name="T21" fmla="*/ 10 h 40"/>
              <a:gd name="T22" fmla="*/ 34 w 72"/>
              <a:gd name="T23" fmla="*/ 12 h 40"/>
              <a:gd name="T24" fmla="*/ 36 w 72"/>
              <a:gd name="T25" fmla="*/ 12 h 40"/>
              <a:gd name="T26" fmla="*/ 39 w 72"/>
              <a:gd name="T27" fmla="*/ 12 h 40"/>
              <a:gd name="T28" fmla="*/ 42 w 72"/>
              <a:gd name="T29" fmla="*/ 10 h 40"/>
              <a:gd name="T30" fmla="*/ 47 w 72"/>
              <a:gd name="T31" fmla="*/ 9 h 40"/>
              <a:gd name="T32" fmla="*/ 50 w 72"/>
              <a:gd name="T33" fmla="*/ 9 h 40"/>
              <a:gd name="T34" fmla="*/ 55 w 72"/>
              <a:gd name="T35" fmla="*/ 9 h 40"/>
              <a:gd name="T36" fmla="*/ 58 w 72"/>
              <a:gd name="T37" fmla="*/ 9 h 40"/>
              <a:gd name="T38" fmla="*/ 66 w 72"/>
              <a:gd name="T39" fmla="*/ 13 h 40"/>
              <a:gd name="T40" fmla="*/ 70 w 72"/>
              <a:gd name="T41" fmla="*/ 13 h 40"/>
              <a:gd name="T42" fmla="*/ 71 w 72"/>
              <a:gd name="T43" fmla="*/ 13 h 40"/>
              <a:gd name="T44" fmla="*/ 69 w 72"/>
              <a:gd name="T45" fmla="*/ 19 h 40"/>
              <a:gd name="T46" fmla="*/ 67 w 72"/>
              <a:gd name="T47" fmla="*/ 24 h 40"/>
              <a:gd name="T48" fmla="*/ 67 w 72"/>
              <a:gd name="T49" fmla="*/ 26 h 40"/>
              <a:gd name="T50" fmla="*/ 65 w 72"/>
              <a:gd name="T51" fmla="*/ 26 h 40"/>
              <a:gd name="T52" fmla="*/ 62 w 72"/>
              <a:gd name="T53" fmla="*/ 26 h 40"/>
              <a:gd name="T54" fmla="*/ 56 w 72"/>
              <a:gd name="T55" fmla="*/ 24 h 40"/>
              <a:gd name="T56" fmla="*/ 52 w 72"/>
              <a:gd name="T57" fmla="*/ 23 h 40"/>
              <a:gd name="T58" fmla="*/ 49 w 72"/>
              <a:gd name="T59" fmla="*/ 23 h 40"/>
              <a:gd name="T60" fmla="*/ 47 w 72"/>
              <a:gd name="T61" fmla="*/ 24 h 40"/>
              <a:gd name="T62" fmla="*/ 44 w 72"/>
              <a:gd name="T63" fmla="*/ 26 h 40"/>
              <a:gd name="T64" fmla="*/ 43 w 72"/>
              <a:gd name="T65" fmla="*/ 27 h 40"/>
              <a:gd name="T66" fmla="*/ 40 w 72"/>
              <a:gd name="T67" fmla="*/ 30 h 40"/>
              <a:gd name="T68" fmla="*/ 31 w 72"/>
              <a:gd name="T69" fmla="*/ 33 h 40"/>
              <a:gd name="T70" fmla="*/ 22 w 72"/>
              <a:gd name="T71" fmla="*/ 36 h 40"/>
              <a:gd name="T72" fmla="*/ 17 w 72"/>
              <a:gd name="T73" fmla="*/ 39 h 40"/>
              <a:gd name="T74" fmla="*/ 13 w 72"/>
              <a:gd name="T75" fmla="*/ 39 h 40"/>
              <a:gd name="T76" fmla="*/ 10 w 72"/>
              <a:gd name="T77" fmla="*/ 38 h 40"/>
              <a:gd name="T78" fmla="*/ 5 w 72"/>
              <a:gd name="T79" fmla="*/ 34 h 40"/>
              <a:gd name="T80" fmla="*/ 3 w 72"/>
              <a:gd name="T81" fmla="*/ 32 h 40"/>
              <a:gd name="T82" fmla="*/ 1 w 72"/>
              <a:gd name="T83" fmla="*/ 30 h 40"/>
              <a:gd name="T84" fmla="*/ 0 w 72"/>
              <a:gd name="T85" fmla="*/ 26 h 40"/>
              <a:gd name="T86" fmla="*/ 0 w 72"/>
              <a:gd name="T87" fmla="*/ 24 h 40"/>
              <a:gd name="T88" fmla="*/ 0 w 72"/>
              <a:gd name="T89" fmla="*/ 23 h 40"/>
              <a:gd name="T90" fmla="*/ 0 w 72"/>
              <a:gd name="T91" fmla="*/ 21 h 40"/>
              <a:gd name="T92" fmla="*/ 1 w 72"/>
              <a:gd name="T93" fmla="*/ 19 h 40"/>
              <a:gd name="T94" fmla="*/ 4 w 72"/>
              <a:gd name="T95" fmla="*/ 17 h 40"/>
              <a:gd name="T96" fmla="*/ 6 w 72"/>
              <a:gd name="T97" fmla="*/ 15 h 40"/>
              <a:gd name="T98" fmla="*/ 9 w 72"/>
              <a:gd name="T99" fmla="*/ 14 h 40"/>
              <a:gd name="T100" fmla="*/ 12 w 72"/>
              <a:gd name="T101" fmla="*/ 12 h 40"/>
              <a:gd name="T102" fmla="*/ 14 w 72"/>
              <a:gd name="T103" fmla="*/ 10 h 40"/>
              <a:gd name="T104" fmla="*/ 15 w 72"/>
              <a:gd name="T105" fmla="*/ 9 h 40"/>
              <a:gd name="T106" fmla="*/ 17 w 72"/>
              <a:gd name="T107" fmla="*/ 5 h 40"/>
              <a:gd name="T108" fmla="*/ 18 w 72"/>
              <a:gd name="T109" fmla="*/ 5 h 40"/>
              <a:gd name="T110" fmla="*/ 19 w 72"/>
              <a:gd name="T111" fmla="*/ 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72" h="40">
                <a:moveTo>
                  <a:pt x="19" y="0"/>
                </a:moveTo>
                <a:lnTo>
                  <a:pt x="21" y="4"/>
                </a:lnTo>
                <a:lnTo>
                  <a:pt x="22" y="6"/>
                </a:lnTo>
                <a:lnTo>
                  <a:pt x="23" y="7"/>
                </a:lnTo>
                <a:lnTo>
                  <a:pt x="25" y="7"/>
                </a:lnTo>
                <a:lnTo>
                  <a:pt x="28" y="7"/>
                </a:lnTo>
                <a:lnTo>
                  <a:pt x="30" y="7"/>
                </a:lnTo>
                <a:lnTo>
                  <a:pt x="32" y="8"/>
                </a:lnTo>
                <a:lnTo>
                  <a:pt x="33" y="8"/>
                </a:lnTo>
                <a:lnTo>
                  <a:pt x="33" y="9"/>
                </a:lnTo>
                <a:lnTo>
                  <a:pt x="34" y="10"/>
                </a:lnTo>
                <a:lnTo>
                  <a:pt x="34" y="12"/>
                </a:lnTo>
                <a:lnTo>
                  <a:pt x="36" y="12"/>
                </a:lnTo>
                <a:lnTo>
                  <a:pt x="39" y="12"/>
                </a:lnTo>
                <a:lnTo>
                  <a:pt x="42" y="10"/>
                </a:lnTo>
                <a:lnTo>
                  <a:pt x="47" y="9"/>
                </a:lnTo>
                <a:lnTo>
                  <a:pt x="50" y="9"/>
                </a:lnTo>
                <a:lnTo>
                  <a:pt x="55" y="9"/>
                </a:lnTo>
                <a:lnTo>
                  <a:pt x="58" y="9"/>
                </a:lnTo>
                <a:lnTo>
                  <a:pt x="66" y="13"/>
                </a:lnTo>
                <a:lnTo>
                  <a:pt x="70" y="13"/>
                </a:lnTo>
                <a:lnTo>
                  <a:pt x="71" y="13"/>
                </a:lnTo>
                <a:lnTo>
                  <a:pt x="69" y="19"/>
                </a:lnTo>
                <a:lnTo>
                  <a:pt x="67" y="24"/>
                </a:lnTo>
                <a:lnTo>
                  <a:pt x="67" y="26"/>
                </a:lnTo>
                <a:lnTo>
                  <a:pt x="65" y="26"/>
                </a:lnTo>
                <a:lnTo>
                  <a:pt x="62" y="26"/>
                </a:lnTo>
                <a:lnTo>
                  <a:pt x="56" y="24"/>
                </a:lnTo>
                <a:lnTo>
                  <a:pt x="52" y="23"/>
                </a:lnTo>
                <a:lnTo>
                  <a:pt x="49" y="23"/>
                </a:lnTo>
                <a:lnTo>
                  <a:pt x="47" y="24"/>
                </a:lnTo>
                <a:lnTo>
                  <a:pt x="44" y="26"/>
                </a:lnTo>
                <a:lnTo>
                  <a:pt x="43" y="27"/>
                </a:lnTo>
                <a:lnTo>
                  <a:pt x="40" y="30"/>
                </a:lnTo>
                <a:lnTo>
                  <a:pt x="31" y="33"/>
                </a:lnTo>
                <a:lnTo>
                  <a:pt x="22" y="36"/>
                </a:lnTo>
                <a:lnTo>
                  <a:pt x="17" y="39"/>
                </a:lnTo>
                <a:lnTo>
                  <a:pt x="13" y="39"/>
                </a:lnTo>
                <a:lnTo>
                  <a:pt x="10" y="38"/>
                </a:lnTo>
                <a:lnTo>
                  <a:pt x="5" y="34"/>
                </a:lnTo>
                <a:lnTo>
                  <a:pt x="3" y="32"/>
                </a:lnTo>
                <a:lnTo>
                  <a:pt x="1" y="30"/>
                </a:lnTo>
                <a:lnTo>
                  <a:pt x="0" y="26"/>
                </a:lnTo>
                <a:lnTo>
                  <a:pt x="0" y="24"/>
                </a:lnTo>
                <a:lnTo>
                  <a:pt x="0" y="23"/>
                </a:lnTo>
                <a:lnTo>
                  <a:pt x="0" y="21"/>
                </a:lnTo>
                <a:lnTo>
                  <a:pt x="1" y="19"/>
                </a:lnTo>
                <a:lnTo>
                  <a:pt x="4" y="17"/>
                </a:lnTo>
                <a:lnTo>
                  <a:pt x="6" y="15"/>
                </a:lnTo>
                <a:lnTo>
                  <a:pt x="9" y="14"/>
                </a:lnTo>
                <a:lnTo>
                  <a:pt x="12" y="12"/>
                </a:lnTo>
                <a:lnTo>
                  <a:pt x="14" y="10"/>
                </a:lnTo>
                <a:lnTo>
                  <a:pt x="15" y="9"/>
                </a:lnTo>
                <a:lnTo>
                  <a:pt x="17" y="5"/>
                </a:lnTo>
                <a:lnTo>
                  <a:pt x="18" y="5"/>
                </a:lnTo>
                <a:lnTo>
                  <a:pt x="19" y="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73" name="Freeform 172">
            <a:extLst>
              <a:ext uri="{FF2B5EF4-FFF2-40B4-BE49-F238E27FC236}">
                <a16:creationId xmlns:a16="http://schemas.microsoft.com/office/drawing/2014/main" id="{2EF6449D-DE68-E0DD-E372-8D11164E1420}"/>
              </a:ext>
            </a:extLst>
          </p:cNvPr>
          <p:cNvSpPr>
            <a:spLocks/>
          </p:cNvSpPr>
          <p:nvPr/>
        </p:nvSpPr>
        <p:spPr bwMode="auto">
          <a:xfrm>
            <a:off x="6447800" y="3244696"/>
            <a:ext cx="165100" cy="79375"/>
          </a:xfrm>
          <a:custGeom>
            <a:avLst/>
            <a:gdLst>
              <a:gd name="T0" fmla="*/ 80 w 81"/>
              <a:gd name="T1" fmla="*/ 18 h 43"/>
              <a:gd name="T2" fmla="*/ 77 w 81"/>
              <a:gd name="T3" fmla="*/ 16 h 43"/>
              <a:gd name="T4" fmla="*/ 75 w 81"/>
              <a:gd name="T5" fmla="*/ 15 h 43"/>
              <a:gd name="T6" fmla="*/ 69 w 81"/>
              <a:gd name="T7" fmla="*/ 13 h 43"/>
              <a:gd name="T8" fmla="*/ 64 w 81"/>
              <a:gd name="T9" fmla="*/ 11 h 43"/>
              <a:gd name="T10" fmla="*/ 62 w 81"/>
              <a:gd name="T11" fmla="*/ 9 h 43"/>
              <a:gd name="T12" fmla="*/ 61 w 81"/>
              <a:gd name="T13" fmla="*/ 9 h 43"/>
              <a:gd name="T14" fmla="*/ 60 w 81"/>
              <a:gd name="T15" fmla="*/ 9 h 43"/>
              <a:gd name="T16" fmla="*/ 57 w 81"/>
              <a:gd name="T17" fmla="*/ 11 h 43"/>
              <a:gd name="T18" fmla="*/ 57 w 81"/>
              <a:gd name="T19" fmla="*/ 12 h 43"/>
              <a:gd name="T20" fmla="*/ 55 w 81"/>
              <a:gd name="T21" fmla="*/ 12 h 43"/>
              <a:gd name="T22" fmla="*/ 54 w 81"/>
              <a:gd name="T23" fmla="*/ 12 h 43"/>
              <a:gd name="T24" fmla="*/ 53 w 81"/>
              <a:gd name="T25" fmla="*/ 11 h 43"/>
              <a:gd name="T26" fmla="*/ 52 w 81"/>
              <a:gd name="T27" fmla="*/ 9 h 43"/>
              <a:gd name="T28" fmla="*/ 42 w 81"/>
              <a:gd name="T29" fmla="*/ 4 h 43"/>
              <a:gd name="T30" fmla="*/ 35 w 81"/>
              <a:gd name="T31" fmla="*/ 1 h 43"/>
              <a:gd name="T32" fmla="*/ 32 w 81"/>
              <a:gd name="T33" fmla="*/ 0 h 43"/>
              <a:gd name="T34" fmla="*/ 30 w 81"/>
              <a:gd name="T35" fmla="*/ 0 h 43"/>
              <a:gd name="T36" fmla="*/ 28 w 81"/>
              <a:gd name="T37" fmla="*/ 0 h 43"/>
              <a:gd name="T38" fmla="*/ 25 w 81"/>
              <a:gd name="T39" fmla="*/ 0 h 43"/>
              <a:gd name="T40" fmla="*/ 0 w 81"/>
              <a:gd name="T41" fmla="*/ 11 h 43"/>
              <a:gd name="T42" fmla="*/ 0 w 81"/>
              <a:gd name="T43" fmla="*/ 14 h 43"/>
              <a:gd name="T44" fmla="*/ 0 w 81"/>
              <a:gd name="T45" fmla="*/ 16 h 43"/>
              <a:gd name="T46" fmla="*/ 3 w 81"/>
              <a:gd name="T47" fmla="*/ 21 h 43"/>
              <a:gd name="T48" fmla="*/ 6 w 81"/>
              <a:gd name="T49" fmla="*/ 24 h 43"/>
              <a:gd name="T50" fmla="*/ 9 w 81"/>
              <a:gd name="T51" fmla="*/ 28 h 43"/>
              <a:gd name="T52" fmla="*/ 16 w 81"/>
              <a:gd name="T53" fmla="*/ 35 h 43"/>
              <a:gd name="T54" fmla="*/ 19 w 81"/>
              <a:gd name="T55" fmla="*/ 38 h 43"/>
              <a:gd name="T56" fmla="*/ 20 w 81"/>
              <a:gd name="T57" fmla="*/ 39 h 43"/>
              <a:gd name="T58" fmla="*/ 21 w 81"/>
              <a:gd name="T59" fmla="*/ 42 h 43"/>
              <a:gd name="T60" fmla="*/ 25 w 81"/>
              <a:gd name="T61" fmla="*/ 42 h 43"/>
              <a:gd name="T62" fmla="*/ 26 w 81"/>
              <a:gd name="T63" fmla="*/ 42 h 43"/>
              <a:gd name="T64" fmla="*/ 29 w 81"/>
              <a:gd name="T65" fmla="*/ 42 h 43"/>
              <a:gd name="T66" fmla="*/ 31 w 81"/>
              <a:gd name="T67" fmla="*/ 41 h 43"/>
              <a:gd name="T68" fmla="*/ 32 w 81"/>
              <a:gd name="T69" fmla="*/ 40 h 43"/>
              <a:gd name="T70" fmla="*/ 34 w 81"/>
              <a:gd name="T71" fmla="*/ 39 h 43"/>
              <a:gd name="T72" fmla="*/ 37 w 81"/>
              <a:gd name="T73" fmla="*/ 36 h 43"/>
              <a:gd name="T74" fmla="*/ 38 w 81"/>
              <a:gd name="T75" fmla="*/ 36 h 43"/>
              <a:gd name="T76" fmla="*/ 39 w 81"/>
              <a:gd name="T77" fmla="*/ 35 h 43"/>
              <a:gd name="T78" fmla="*/ 42 w 81"/>
              <a:gd name="T79" fmla="*/ 35 h 43"/>
              <a:gd name="T80" fmla="*/ 44 w 81"/>
              <a:gd name="T81" fmla="*/ 36 h 43"/>
              <a:gd name="T82" fmla="*/ 47 w 81"/>
              <a:gd name="T83" fmla="*/ 37 h 43"/>
              <a:gd name="T84" fmla="*/ 48 w 81"/>
              <a:gd name="T85" fmla="*/ 38 h 43"/>
              <a:gd name="T86" fmla="*/ 53 w 81"/>
              <a:gd name="T87" fmla="*/ 40 h 43"/>
              <a:gd name="T88" fmla="*/ 56 w 81"/>
              <a:gd name="T89" fmla="*/ 41 h 43"/>
              <a:gd name="T90" fmla="*/ 59 w 81"/>
              <a:gd name="T91" fmla="*/ 41 h 43"/>
              <a:gd name="T92" fmla="*/ 60 w 81"/>
              <a:gd name="T93" fmla="*/ 39 h 43"/>
              <a:gd name="T94" fmla="*/ 60 w 81"/>
              <a:gd name="T95" fmla="*/ 38 h 43"/>
              <a:gd name="T96" fmla="*/ 62 w 81"/>
              <a:gd name="T97" fmla="*/ 35 h 43"/>
              <a:gd name="T98" fmla="*/ 66 w 81"/>
              <a:gd name="T99" fmla="*/ 33 h 43"/>
              <a:gd name="T100" fmla="*/ 69 w 81"/>
              <a:gd name="T101" fmla="*/ 32 h 43"/>
              <a:gd name="T102" fmla="*/ 71 w 81"/>
              <a:gd name="T103" fmla="*/ 31 h 43"/>
              <a:gd name="T104" fmla="*/ 74 w 81"/>
              <a:gd name="T105" fmla="*/ 29 h 43"/>
              <a:gd name="T106" fmla="*/ 76 w 81"/>
              <a:gd name="T107" fmla="*/ 27 h 43"/>
              <a:gd name="T108" fmla="*/ 77 w 81"/>
              <a:gd name="T109" fmla="*/ 23 h 43"/>
              <a:gd name="T110" fmla="*/ 79 w 81"/>
              <a:gd name="T111" fmla="*/ 23 h 43"/>
              <a:gd name="T112" fmla="*/ 80 w 81"/>
              <a:gd name="T113" fmla="*/ 18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81" h="43">
                <a:moveTo>
                  <a:pt x="80" y="18"/>
                </a:moveTo>
                <a:lnTo>
                  <a:pt x="77" y="16"/>
                </a:lnTo>
                <a:lnTo>
                  <a:pt x="75" y="15"/>
                </a:lnTo>
                <a:lnTo>
                  <a:pt x="69" y="13"/>
                </a:lnTo>
                <a:lnTo>
                  <a:pt x="64" y="11"/>
                </a:lnTo>
                <a:lnTo>
                  <a:pt x="62" y="9"/>
                </a:lnTo>
                <a:lnTo>
                  <a:pt x="61" y="9"/>
                </a:lnTo>
                <a:lnTo>
                  <a:pt x="60" y="9"/>
                </a:lnTo>
                <a:lnTo>
                  <a:pt x="57" y="11"/>
                </a:lnTo>
                <a:lnTo>
                  <a:pt x="57" y="12"/>
                </a:lnTo>
                <a:lnTo>
                  <a:pt x="55" y="12"/>
                </a:lnTo>
                <a:lnTo>
                  <a:pt x="54" y="12"/>
                </a:lnTo>
                <a:lnTo>
                  <a:pt x="53" y="11"/>
                </a:lnTo>
                <a:lnTo>
                  <a:pt x="52" y="9"/>
                </a:lnTo>
                <a:lnTo>
                  <a:pt x="42" y="4"/>
                </a:lnTo>
                <a:lnTo>
                  <a:pt x="35" y="1"/>
                </a:lnTo>
                <a:lnTo>
                  <a:pt x="32" y="0"/>
                </a:lnTo>
                <a:lnTo>
                  <a:pt x="30" y="0"/>
                </a:lnTo>
                <a:lnTo>
                  <a:pt x="28" y="0"/>
                </a:lnTo>
                <a:lnTo>
                  <a:pt x="25" y="0"/>
                </a:lnTo>
                <a:lnTo>
                  <a:pt x="0" y="11"/>
                </a:lnTo>
                <a:lnTo>
                  <a:pt x="0" y="14"/>
                </a:lnTo>
                <a:lnTo>
                  <a:pt x="0" y="16"/>
                </a:lnTo>
                <a:lnTo>
                  <a:pt x="3" y="21"/>
                </a:lnTo>
                <a:lnTo>
                  <a:pt x="6" y="24"/>
                </a:lnTo>
                <a:lnTo>
                  <a:pt x="9" y="28"/>
                </a:lnTo>
                <a:lnTo>
                  <a:pt x="16" y="35"/>
                </a:lnTo>
                <a:lnTo>
                  <a:pt x="19" y="38"/>
                </a:lnTo>
                <a:lnTo>
                  <a:pt x="20" y="39"/>
                </a:lnTo>
                <a:lnTo>
                  <a:pt x="21" y="42"/>
                </a:lnTo>
                <a:lnTo>
                  <a:pt x="25" y="42"/>
                </a:lnTo>
                <a:lnTo>
                  <a:pt x="26" y="42"/>
                </a:lnTo>
                <a:lnTo>
                  <a:pt x="29" y="42"/>
                </a:lnTo>
                <a:lnTo>
                  <a:pt x="31" y="41"/>
                </a:lnTo>
                <a:lnTo>
                  <a:pt x="32" y="40"/>
                </a:lnTo>
                <a:lnTo>
                  <a:pt x="34" y="39"/>
                </a:lnTo>
                <a:lnTo>
                  <a:pt x="37" y="36"/>
                </a:lnTo>
                <a:lnTo>
                  <a:pt x="38" y="36"/>
                </a:lnTo>
                <a:lnTo>
                  <a:pt x="39" y="35"/>
                </a:lnTo>
                <a:lnTo>
                  <a:pt x="42" y="35"/>
                </a:lnTo>
                <a:lnTo>
                  <a:pt x="44" y="36"/>
                </a:lnTo>
                <a:lnTo>
                  <a:pt x="47" y="37"/>
                </a:lnTo>
                <a:lnTo>
                  <a:pt x="48" y="38"/>
                </a:lnTo>
                <a:lnTo>
                  <a:pt x="53" y="40"/>
                </a:lnTo>
                <a:lnTo>
                  <a:pt x="56" y="41"/>
                </a:lnTo>
                <a:lnTo>
                  <a:pt x="59" y="41"/>
                </a:lnTo>
                <a:lnTo>
                  <a:pt x="60" y="39"/>
                </a:lnTo>
                <a:lnTo>
                  <a:pt x="60" y="38"/>
                </a:lnTo>
                <a:lnTo>
                  <a:pt x="62" y="35"/>
                </a:lnTo>
                <a:lnTo>
                  <a:pt x="66" y="33"/>
                </a:lnTo>
                <a:lnTo>
                  <a:pt x="69" y="32"/>
                </a:lnTo>
                <a:lnTo>
                  <a:pt x="71" y="31"/>
                </a:lnTo>
                <a:lnTo>
                  <a:pt x="74" y="29"/>
                </a:lnTo>
                <a:lnTo>
                  <a:pt x="76" y="27"/>
                </a:lnTo>
                <a:lnTo>
                  <a:pt x="77" y="23"/>
                </a:lnTo>
                <a:lnTo>
                  <a:pt x="79" y="23"/>
                </a:lnTo>
                <a:lnTo>
                  <a:pt x="80" y="18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74" name="Freeform 173">
            <a:extLst>
              <a:ext uri="{FF2B5EF4-FFF2-40B4-BE49-F238E27FC236}">
                <a16:creationId xmlns:a16="http://schemas.microsoft.com/office/drawing/2014/main" id="{DA66D1EB-07DD-9045-1BB3-2DB7EE8B7BE3}"/>
              </a:ext>
            </a:extLst>
          </p:cNvPr>
          <p:cNvSpPr>
            <a:spLocks/>
          </p:cNvSpPr>
          <p:nvPr/>
        </p:nvSpPr>
        <p:spPr bwMode="auto">
          <a:xfrm>
            <a:off x="6825625" y="3317721"/>
            <a:ext cx="95250" cy="103188"/>
          </a:xfrm>
          <a:custGeom>
            <a:avLst/>
            <a:gdLst>
              <a:gd name="T0" fmla="*/ 22 w 47"/>
              <a:gd name="T1" fmla="*/ 54 h 55"/>
              <a:gd name="T2" fmla="*/ 19 w 47"/>
              <a:gd name="T3" fmla="*/ 40 h 55"/>
              <a:gd name="T4" fmla="*/ 17 w 47"/>
              <a:gd name="T5" fmla="*/ 25 h 55"/>
              <a:gd name="T6" fmla="*/ 14 w 47"/>
              <a:gd name="T7" fmla="*/ 17 h 55"/>
              <a:gd name="T8" fmla="*/ 9 w 47"/>
              <a:gd name="T9" fmla="*/ 10 h 55"/>
              <a:gd name="T10" fmla="*/ 0 w 47"/>
              <a:gd name="T11" fmla="*/ 10 h 55"/>
              <a:gd name="T12" fmla="*/ 16 w 47"/>
              <a:gd name="T13" fmla="*/ 0 h 55"/>
              <a:gd name="T14" fmla="*/ 22 w 47"/>
              <a:gd name="T15" fmla="*/ 2 h 55"/>
              <a:gd name="T16" fmla="*/ 29 w 47"/>
              <a:gd name="T17" fmla="*/ 8 h 55"/>
              <a:gd name="T18" fmla="*/ 37 w 47"/>
              <a:gd name="T19" fmla="*/ 18 h 55"/>
              <a:gd name="T20" fmla="*/ 41 w 47"/>
              <a:gd name="T21" fmla="*/ 25 h 55"/>
              <a:gd name="T22" fmla="*/ 46 w 47"/>
              <a:gd name="T23" fmla="*/ 38 h 55"/>
              <a:gd name="T24" fmla="*/ 30 w 47"/>
              <a:gd name="T25" fmla="*/ 37 h 55"/>
              <a:gd name="T26" fmla="*/ 30 w 47"/>
              <a:gd name="T27" fmla="*/ 49 h 55"/>
              <a:gd name="T28" fmla="*/ 22 w 47"/>
              <a:gd name="T29" fmla="*/ 54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7" h="55">
                <a:moveTo>
                  <a:pt x="22" y="54"/>
                </a:moveTo>
                <a:lnTo>
                  <a:pt x="19" y="40"/>
                </a:lnTo>
                <a:lnTo>
                  <a:pt x="17" y="25"/>
                </a:lnTo>
                <a:lnTo>
                  <a:pt x="14" y="17"/>
                </a:lnTo>
                <a:lnTo>
                  <a:pt x="9" y="10"/>
                </a:lnTo>
                <a:lnTo>
                  <a:pt x="0" y="10"/>
                </a:lnTo>
                <a:lnTo>
                  <a:pt x="16" y="0"/>
                </a:lnTo>
                <a:lnTo>
                  <a:pt x="22" y="2"/>
                </a:lnTo>
                <a:lnTo>
                  <a:pt x="29" y="8"/>
                </a:lnTo>
                <a:lnTo>
                  <a:pt x="37" y="18"/>
                </a:lnTo>
                <a:lnTo>
                  <a:pt x="41" y="25"/>
                </a:lnTo>
                <a:lnTo>
                  <a:pt x="46" y="38"/>
                </a:lnTo>
                <a:lnTo>
                  <a:pt x="30" y="37"/>
                </a:lnTo>
                <a:lnTo>
                  <a:pt x="30" y="49"/>
                </a:lnTo>
                <a:lnTo>
                  <a:pt x="22" y="54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75" name="Freeform 174">
            <a:extLst>
              <a:ext uri="{FF2B5EF4-FFF2-40B4-BE49-F238E27FC236}">
                <a16:creationId xmlns:a16="http://schemas.microsoft.com/office/drawing/2014/main" id="{E0BF8DCA-3286-1439-0149-710703F96091}"/>
              </a:ext>
            </a:extLst>
          </p:cNvPr>
          <p:cNvSpPr>
            <a:spLocks/>
          </p:cNvSpPr>
          <p:nvPr/>
        </p:nvSpPr>
        <p:spPr bwMode="auto">
          <a:xfrm>
            <a:off x="6708150" y="3176434"/>
            <a:ext cx="471488" cy="295275"/>
          </a:xfrm>
          <a:custGeom>
            <a:avLst/>
            <a:gdLst>
              <a:gd name="T0" fmla="*/ 51 w 234"/>
              <a:gd name="T1" fmla="*/ 86 h 158"/>
              <a:gd name="T2" fmla="*/ 40 w 234"/>
              <a:gd name="T3" fmla="*/ 93 h 158"/>
              <a:gd name="T4" fmla="*/ 24 w 234"/>
              <a:gd name="T5" fmla="*/ 90 h 158"/>
              <a:gd name="T6" fmla="*/ 10 w 234"/>
              <a:gd name="T7" fmla="*/ 87 h 158"/>
              <a:gd name="T8" fmla="*/ 0 w 234"/>
              <a:gd name="T9" fmla="*/ 80 h 158"/>
              <a:gd name="T10" fmla="*/ 4 w 234"/>
              <a:gd name="T11" fmla="*/ 60 h 158"/>
              <a:gd name="T12" fmla="*/ 12 w 234"/>
              <a:gd name="T13" fmla="*/ 46 h 158"/>
              <a:gd name="T14" fmla="*/ 12 w 234"/>
              <a:gd name="T15" fmla="*/ 31 h 158"/>
              <a:gd name="T16" fmla="*/ 6 w 234"/>
              <a:gd name="T17" fmla="*/ 13 h 158"/>
              <a:gd name="T18" fmla="*/ 20 w 234"/>
              <a:gd name="T19" fmla="*/ 10 h 158"/>
              <a:gd name="T20" fmla="*/ 31 w 234"/>
              <a:gd name="T21" fmla="*/ 9 h 158"/>
              <a:gd name="T22" fmla="*/ 57 w 234"/>
              <a:gd name="T23" fmla="*/ 10 h 158"/>
              <a:gd name="T24" fmla="*/ 86 w 234"/>
              <a:gd name="T25" fmla="*/ 15 h 158"/>
              <a:gd name="T26" fmla="*/ 104 w 234"/>
              <a:gd name="T27" fmla="*/ 6 h 158"/>
              <a:gd name="T28" fmla="*/ 123 w 234"/>
              <a:gd name="T29" fmla="*/ 4 h 158"/>
              <a:gd name="T30" fmla="*/ 148 w 234"/>
              <a:gd name="T31" fmla="*/ 6 h 158"/>
              <a:gd name="T32" fmla="*/ 150 w 234"/>
              <a:gd name="T33" fmla="*/ 23 h 158"/>
              <a:gd name="T34" fmla="*/ 166 w 234"/>
              <a:gd name="T35" fmla="*/ 30 h 158"/>
              <a:gd name="T36" fmla="*/ 177 w 234"/>
              <a:gd name="T37" fmla="*/ 38 h 158"/>
              <a:gd name="T38" fmla="*/ 194 w 234"/>
              <a:gd name="T39" fmla="*/ 38 h 158"/>
              <a:gd name="T40" fmla="*/ 209 w 234"/>
              <a:gd name="T41" fmla="*/ 50 h 158"/>
              <a:gd name="T42" fmla="*/ 233 w 234"/>
              <a:gd name="T43" fmla="*/ 57 h 158"/>
              <a:gd name="T44" fmla="*/ 226 w 234"/>
              <a:gd name="T45" fmla="*/ 66 h 158"/>
              <a:gd name="T46" fmla="*/ 233 w 234"/>
              <a:gd name="T47" fmla="*/ 80 h 158"/>
              <a:gd name="T48" fmla="*/ 217 w 234"/>
              <a:gd name="T49" fmla="*/ 86 h 158"/>
              <a:gd name="T50" fmla="*/ 210 w 234"/>
              <a:gd name="T51" fmla="*/ 95 h 158"/>
              <a:gd name="T52" fmla="*/ 202 w 234"/>
              <a:gd name="T53" fmla="*/ 104 h 158"/>
              <a:gd name="T54" fmla="*/ 186 w 234"/>
              <a:gd name="T55" fmla="*/ 111 h 158"/>
              <a:gd name="T56" fmla="*/ 168 w 234"/>
              <a:gd name="T57" fmla="*/ 119 h 158"/>
              <a:gd name="T58" fmla="*/ 164 w 234"/>
              <a:gd name="T59" fmla="*/ 125 h 158"/>
              <a:gd name="T60" fmla="*/ 175 w 234"/>
              <a:gd name="T61" fmla="*/ 133 h 158"/>
              <a:gd name="T62" fmla="*/ 189 w 234"/>
              <a:gd name="T63" fmla="*/ 140 h 158"/>
              <a:gd name="T64" fmla="*/ 179 w 234"/>
              <a:gd name="T65" fmla="*/ 148 h 158"/>
              <a:gd name="T66" fmla="*/ 165 w 234"/>
              <a:gd name="T67" fmla="*/ 153 h 158"/>
              <a:gd name="T68" fmla="*/ 157 w 234"/>
              <a:gd name="T69" fmla="*/ 144 h 158"/>
              <a:gd name="T70" fmla="*/ 141 w 234"/>
              <a:gd name="T71" fmla="*/ 132 h 158"/>
              <a:gd name="T72" fmla="*/ 155 w 234"/>
              <a:gd name="T73" fmla="*/ 120 h 158"/>
              <a:gd name="T74" fmla="*/ 143 w 234"/>
              <a:gd name="T75" fmla="*/ 121 h 158"/>
              <a:gd name="T76" fmla="*/ 130 w 234"/>
              <a:gd name="T77" fmla="*/ 114 h 158"/>
              <a:gd name="T78" fmla="*/ 118 w 234"/>
              <a:gd name="T79" fmla="*/ 112 h 158"/>
              <a:gd name="T80" fmla="*/ 113 w 234"/>
              <a:gd name="T81" fmla="*/ 122 h 158"/>
              <a:gd name="T82" fmla="*/ 106 w 234"/>
              <a:gd name="T83" fmla="*/ 131 h 158"/>
              <a:gd name="T84" fmla="*/ 99 w 234"/>
              <a:gd name="T85" fmla="*/ 131 h 158"/>
              <a:gd name="T86" fmla="*/ 83 w 234"/>
              <a:gd name="T87" fmla="*/ 136 h 158"/>
              <a:gd name="T88" fmla="*/ 88 w 234"/>
              <a:gd name="T89" fmla="*/ 125 h 158"/>
              <a:gd name="T90" fmla="*/ 96 w 234"/>
              <a:gd name="T91" fmla="*/ 113 h 158"/>
              <a:gd name="T92" fmla="*/ 99 w 234"/>
              <a:gd name="T93" fmla="*/ 101 h 158"/>
              <a:gd name="T94" fmla="*/ 87 w 234"/>
              <a:gd name="T95" fmla="*/ 84 h 158"/>
              <a:gd name="T96" fmla="*/ 74 w 234"/>
              <a:gd name="T97" fmla="*/ 76 h 158"/>
              <a:gd name="T98" fmla="*/ 58 w 234"/>
              <a:gd name="T99" fmla="*/ 86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34" h="158">
                <a:moveTo>
                  <a:pt x="58" y="86"/>
                </a:moveTo>
                <a:lnTo>
                  <a:pt x="51" y="86"/>
                </a:lnTo>
                <a:lnTo>
                  <a:pt x="48" y="89"/>
                </a:lnTo>
                <a:lnTo>
                  <a:pt x="40" y="93"/>
                </a:lnTo>
                <a:lnTo>
                  <a:pt x="33" y="92"/>
                </a:lnTo>
                <a:lnTo>
                  <a:pt x="24" y="90"/>
                </a:lnTo>
                <a:lnTo>
                  <a:pt x="16" y="87"/>
                </a:lnTo>
                <a:lnTo>
                  <a:pt x="10" y="87"/>
                </a:lnTo>
                <a:lnTo>
                  <a:pt x="4" y="84"/>
                </a:lnTo>
                <a:lnTo>
                  <a:pt x="0" y="80"/>
                </a:lnTo>
                <a:lnTo>
                  <a:pt x="2" y="68"/>
                </a:lnTo>
                <a:lnTo>
                  <a:pt x="4" y="60"/>
                </a:lnTo>
                <a:lnTo>
                  <a:pt x="9" y="53"/>
                </a:lnTo>
                <a:lnTo>
                  <a:pt x="12" y="46"/>
                </a:lnTo>
                <a:lnTo>
                  <a:pt x="17" y="40"/>
                </a:lnTo>
                <a:lnTo>
                  <a:pt x="12" y="31"/>
                </a:lnTo>
                <a:lnTo>
                  <a:pt x="9" y="22"/>
                </a:lnTo>
                <a:lnTo>
                  <a:pt x="6" y="13"/>
                </a:lnTo>
                <a:lnTo>
                  <a:pt x="11" y="13"/>
                </a:lnTo>
                <a:lnTo>
                  <a:pt x="20" y="10"/>
                </a:lnTo>
                <a:lnTo>
                  <a:pt x="25" y="10"/>
                </a:lnTo>
                <a:lnTo>
                  <a:pt x="31" y="9"/>
                </a:lnTo>
                <a:lnTo>
                  <a:pt x="40" y="9"/>
                </a:lnTo>
                <a:lnTo>
                  <a:pt x="57" y="10"/>
                </a:lnTo>
                <a:lnTo>
                  <a:pt x="71" y="16"/>
                </a:lnTo>
                <a:lnTo>
                  <a:pt x="86" y="15"/>
                </a:lnTo>
                <a:lnTo>
                  <a:pt x="100" y="16"/>
                </a:lnTo>
                <a:lnTo>
                  <a:pt x="104" y="6"/>
                </a:lnTo>
                <a:lnTo>
                  <a:pt x="113" y="4"/>
                </a:lnTo>
                <a:lnTo>
                  <a:pt x="123" y="4"/>
                </a:lnTo>
                <a:lnTo>
                  <a:pt x="139" y="0"/>
                </a:lnTo>
                <a:lnTo>
                  <a:pt x="148" y="6"/>
                </a:lnTo>
                <a:lnTo>
                  <a:pt x="148" y="13"/>
                </a:lnTo>
                <a:lnTo>
                  <a:pt x="150" y="23"/>
                </a:lnTo>
                <a:lnTo>
                  <a:pt x="164" y="23"/>
                </a:lnTo>
                <a:lnTo>
                  <a:pt x="166" y="30"/>
                </a:lnTo>
                <a:lnTo>
                  <a:pt x="168" y="36"/>
                </a:lnTo>
                <a:lnTo>
                  <a:pt x="177" y="38"/>
                </a:lnTo>
                <a:lnTo>
                  <a:pt x="181" y="42"/>
                </a:lnTo>
                <a:lnTo>
                  <a:pt x="194" y="38"/>
                </a:lnTo>
                <a:lnTo>
                  <a:pt x="199" y="46"/>
                </a:lnTo>
                <a:lnTo>
                  <a:pt x="209" y="50"/>
                </a:lnTo>
                <a:lnTo>
                  <a:pt x="222" y="51"/>
                </a:lnTo>
                <a:lnTo>
                  <a:pt x="233" y="57"/>
                </a:lnTo>
                <a:lnTo>
                  <a:pt x="233" y="63"/>
                </a:lnTo>
                <a:lnTo>
                  <a:pt x="226" y="66"/>
                </a:lnTo>
                <a:lnTo>
                  <a:pt x="230" y="73"/>
                </a:lnTo>
                <a:lnTo>
                  <a:pt x="233" y="80"/>
                </a:lnTo>
                <a:lnTo>
                  <a:pt x="233" y="86"/>
                </a:lnTo>
                <a:lnTo>
                  <a:pt x="217" y="86"/>
                </a:lnTo>
                <a:lnTo>
                  <a:pt x="214" y="91"/>
                </a:lnTo>
                <a:lnTo>
                  <a:pt x="210" y="95"/>
                </a:lnTo>
                <a:lnTo>
                  <a:pt x="210" y="103"/>
                </a:lnTo>
                <a:lnTo>
                  <a:pt x="202" y="104"/>
                </a:lnTo>
                <a:lnTo>
                  <a:pt x="194" y="105"/>
                </a:lnTo>
                <a:lnTo>
                  <a:pt x="186" y="111"/>
                </a:lnTo>
                <a:lnTo>
                  <a:pt x="176" y="114"/>
                </a:lnTo>
                <a:lnTo>
                  <a:pt x="168" y="119"/>
                </a:lnTo>
                <a:lnTo>
                  <a:pt x="162" y="119"/>
                </a:lnTo>
                <a:lnTo>
                  <a:pt x="164" y="125"/>
                </a:lnTo>
                <a:lnTo>
                  <a:pt x="168" y="128"/>
                </a:lnTo>
                <a:lnTo>
                  <a:pt x="175" y="133"/>
                </a:lnTo>
                <a:lnTo>
                  <a:pt x="182" y="136"/>
                </a:lnTo>
                <a:lnTo>
                  <a:pt x="189" y="140"/>
                </a:lnTo>
                <a:lnTo>
                  <a:pt x="185" y="143"/>
                </a:lnTo>
                <a:lnTo>
                  <a:pt x="179" y="148"/>
                </a:lnTo>
                <a:lnTo>
                  <a:pt x="172" y="150"/>
                </a:lnTo>
                <a:lnTo>
                  <a:pt x="165" y="153"/>
                </a:lnTo>
                <a:lnTo>
                  <a:pt x="157" y="157"/>
                </a:lnTo>
                <a:lnTo>
                  <a:pt x="157" y="144"/>
                </a:lnTo>
                <a:lnTo>
                  <a:pt x="152" y="138"/>
                </a:lnTo>
                <a:lnTo>
                  <a:pt x="141" y="132"/>
                </a:lnTo>
                <a:lnTo>
                  <a:pt x="149" y="126"/>
                </a:lnTo>
                <a:lnTo>
                  <a:pt x="155" y="120"/>
                </a:lnTo>
                <a:lnTo>
                  <a:pt x="148" y="120"/>
                </a:lnTo>
                <a:lnTo>
                  <a:pt x="143" y="121"/>
                </a:lnTo>
                <a:lnTo>
                  <a:pt x="135" y="119"/>
                </a:lnTo>
                <a:lnTo>
                  <a:pt x="130" y="114"/>
                </a:lnTo>
                <a:lnTo>
                  <a:pt x="126" y="112"/>
                </a:lnTo>
                <a:lnTo>
                  <a:pt x="118" y="112"/>
                </a:lnTo>
                <a:lnTo>
                  <a:pt x="116" y="116"/>
                </a:lnTo>
                <a:lnTo>
                  <a:pt x="113" y="122"/>
                </a:lnTo>
                <a:lnTo>
                  <a:pt x="110" y="126"/>
                </a:lnTo>
                <a:lnTo>
                  <a:pt x="106" y="131"/>
                </a:lnTo>
                <a:lnTo>
                  <a:pt x="101" y="133"/>
                </a:lnTo>
                <a:lnTo>
                  <a:pt x="99" y="131"/>
                </a:lnTo>
                <a:lnTo>
                  <a:pt x="92" y="132"/>
                </a:lnTo>
                <a:lnTo>
                  <a:pt x="83" y="136"/>
                </a:lnTo>
                <a:lnTo>
                  <a:pt x="80" y="130"/>
                </a:lnTo>
                <a:lnTo>
                  <a:pt x="88" y="125"/>
                </a:lnTo>
                <a:lnTo>
                  <a:pt x="88" y="113"/>
                </a:lnTo>
                <a:lnTo>
                  <a:pt x="96" y="113"/>
                </a:lnTo>
                <a:lnTo>
                  <a:pt x="103" y="114"/>
                </a:lnTo>
                <a:lnTo>
                  <a:pt x="99" y="101"/>
                </a:lnTo>
                <a:lnTo>
                  <a:pt x="95" y="94"/>
                </a:lnTo>
                <a:lnTo>
                  <a:pt x="87" y="84"/>
                </a:lnTo>
                <a:lnTo>
                  <a:pt x="80" y="78"/>
                </a:lnTo>
                <a:lnTo>
                  <a:pt x="74" y="76"/>
                </a:lnTo>
                <a:lnTo>
                  <a:pt x="66" y="80"/>
                </a:lnTo>
                <a:lnTo>
                  <a:pt x="58" y="86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76" name="Freeform 175">
            <a:extLst>
              <a:ext uri="{FF2B5EF4-FFF2-40B4-BE49-F238E27FC236}">
                <a16:creationId xmlns:a16="http://schemas.microsoft.com/office/drawing/2014/main" id="{7E210FFD-F2EA-970A-1566-D522C9AC794D}"/>
              </a:ext>
            </a:extLst>
          </p:cNvPr>
          <p:cNvSpPr>
            <a:spLocks/>
          </p:cNvSpPr>
          <p:nvPr/>
        </p:nvSpPr>
        <p:spPr bwMode="auto">
          <a:xfrm>
            <a:off x="6720850" y="3047846"/>
            <a:ext cx="242888" cy="161925"/>
          </a:xfrm>
          <a:custGeom>
            <a:avLst/>
            <a:gdLst>
              <a:gd name="T0" fmla="*/ 108 w 120"/>
              <a:gd name="T1" fmla="*/ 74 h 87"/>
              <a:gd name="T2" fmla="*/ 99 w 120"/>
              <a:gd name="T3" fmla="*/ 75 h 87"/>
              <a:gd name="T4" fmla="*/ 95 w 120"/>
              <a:gd name="T5" fmla="*/ 86 h 87"/>
              <a:gd name="T6" fmla="*/ 88 w 120"/>
              <a:gd name="T7" fmla="*/ 85 h 87"/>
              <a:gd name="T8" fmla="*/ 80 w 120"/>
              <a:gd name="T9" fmla="*/ 85 h 87"/>
              <a:gd name="T10" fmla="*/ 71 w 120"/>
              <a:gd name="T11" fmla="*/ 85 h 87"/>
              <a:gd name="T12" fmla="*/ 65 w 120"/>
              <a:gd name="T13" fmla="*/ 86 h 87"/>
              <a:gd name="T14" fmla="*/ 55 w 120"/>
              <a:gd name="T15" fmla="*/ 81 h 87"/>
              <a:gd name="T16" fmla="*/ 46 w 120"/>
              <a:gd name="T17" fmla="*/ 79 h 87"/>
              <a:gd name="T18" fmla="*/ 34 w 120"/>
              <a:gd name="T19" fmla="*/ 79 h 87"/>
              <a:gd name="T20" fmla="*/ 28 w 120"/>
              <a:gd name="T21" fmla="*/ 76 h 87"/>
              <a:gd name="T22" fmla="*/ 19 w 120"/>
              <a:gd name="T23" fmla="*/ 79 h 87"/>
              <a:gd name="T24" fmla="*/ 11 w 120"/>
              <a:gd name="T25" fmla="*/ 80 h 87"/>
              <a:gd name="T26" fmla="*/ 0 w 120"/>
              <a:gd name="T27" fmla="*/ 83 h 87"/>
              <a:gd name="T28" fmla="*/ 0 w 120"/>
              <a:gd name="T29" fmla="*/ 75 h 87"/>
              <a:gd name="T30" fmla="*/ 6 w 120"/>
              <a:gd name="T31" fmla="*/ 72 h 87"/>
              <a:gd name="T32" fmla="*/ 5 w 120"/>
              <a:gd name="T33" fmla="*/ 65 h 87"/>
              <a:gd name="T34" fmla="*/ 2 w 120"/>
              <a:gd name="T35" fmla="*/ 54 h 87"/>
              <a:gd name="T36" fmla="*/ 2 w 120"/>
              <a:gd name="T37" fmla="*/ 49 h 87"/>
              <a:gd name="T38" fmla="*/ 9 w 120"/>
              <a:gd name="T39" fmla="*/ 47 h 87"/>
              <a:gd name="T40" fmla="*/ 14 w 120"/>
              <a:gd name="T41" fmla="*/ 35 h 87"/>
              <a:gd name="T42" fmla="*/ 22 w 120"/>
              <a:gd name="T43" fmla="*/ 26 h 87"/>
              <a:gd name="T44" fmla="*/ 22 w 120"/>
              <a:gd name="T45" fmla="*/ 17 h 87"/>
              <a:gd name="T46" fmla="*/ 26 w 120"/>
              <a:gd name="T47" fmla="*/ 17 h 87"/>
              <a:gd name="T48" fmla="*/ 33 w 120"/>
              <a:gd name="T49" fmla="*/ 17 h 87"/>
              <a:gd name="T50" fmla="*/ 39 w 120"/>
              <a:gd name="T51" fmla="*/ 13 h 87"/>
              <a:gd name="T52" fmla="*/ 42 w 120"/>
              <a:gd name="T53" fmla="*/ 6 h 87"/>
              <a:gd name="T54" fmla="*/ 51 w 120"/>
              <a:gd name="T55" fmla="*/ 3 h 87"/>
              <a:gd name="T56" fmla="*/ 60 w 120"/>
              <a:gd name="T57" fmla="*/ 0 h 87"/>
              <a:gd name="T58" fmla="*/ 71 w 120"/>
              <a:gd name="T59" fmla="*/ 3 h 87"/>
              <a:gd name="T60" fmla="*/ 85 w 120"/>
              <a:gd name="T61" fmla="*/ 4 h 87"/>
              <a:gd name="T62" fmla="*/ 94 w 120"/>
              <a:gd name="T63" fmla="*/ 15 h 87"/>
              <a:gd name="T64" fmla="*/ 95 w 120"/>
              <a:gd name="T65" fmla="*/ 26 h 87"/>
              <a:gd name="T66" fmla="*/ 99 w 120"/>
              <a:gd name="T67" fmla="*/ 29 h 87"/>
              <a:gd name="T68" fmla="*/ 101 w 120"/>
              <a:gd name="T69" fmla="*/ 31 h 87"/>
              <a:gd name="T70" fmla="*/ 103 w 120"/>
              <a:gd name="T71" fmla="*/ 35 h 87"/>
              <a:gd name="T72" fmla="*/ 105 w 120"/>
              <a:gd name="T73" fmla="*/ 39 h 87"/>
              <a:gd name="T74" fmla="*/ 107 w 120"/>
              <a:gd name="T75" fmla="*/ 42 h 87"/>
              <a:gd name="T76" fmla="*/ 109 w 120"/>
              <a:gd name="T77" fmla="*/ 44 h 87"/>
              <a:gd name="T78" fmla="*/ 117 w 120"/>
              <a:gd name="T79" fmla="*/ 44 h 87"/>
              <a:gd name="T80" fmla="*/ 119 w 120"/>
              <a:gd name="T81" fmla="*/ 53 h 87"/>
              <a:gd name="T82" fmla="*/ 112 w 120"/>
              <a:gd name="T83" fmla="*/ 55 h 87"/>
              <a:gd name="T84" fmla="*/ 101 w 120"/>
              <a:gd name="T85" fmla="*/ 55 h 87"/>
              <a:gd name="T86" fmla="*/ 104 w 120"/>
              <a:gd name="T87" fmla="*/ 65 h 87"/>
              <a:gd name="T88" fmla="*/ 108 w 120"/>
              <a:gd name="T89" fmla="*/ 74 h 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20" h="87">
                <a:moveTo>
                  <a:pt x="108" y="74"/>
                </a:moveTo>
                <a:lnTo>
                  <a:pt x="99" y="75"/>
                </a:lnTo>
                <a:lnTo>
                  <a:pt x="95" y="86"/>
                </a:lnTo>
                <a:lnTo>
                  <a:pt x="88" y="85"/>
                </a:lnTo>
                <a:lnTo>
                  <a:pt x="80" y="85"/>
                </a:lnTo>
                <a:lnTo>
                  <a:pt x="71" y="85"/>
                </a:lnTo>
                <a:lnTo>
                  <a:pt x="65" y="86"/>
                </a:lnTo>
                <a:lnTo>
                  <a:pt x="55" y="81"/>
                </a:lnTo>
                <a:lnTo>
                  <a:pt x="46" y="79"/>
                </a:lnTo>
                <a:lnTo>
                  <a:pt x="34" y="79"/>
                </a:lnTo>
                <a:lnTo>
                  <a:pt x="28" y="76"/>
                </a:lnTo>
                <a:lnTo>
                  <a:pt x="19" y="79"/>
                </a:lnTo>
                <a:lnTo>
                  <a:pt x="11" y="80"/>
                </a:lnTo>
                <a:lnTo>
                  <a:pt x="0" y="83"/>
                </a:lnTo>
                <a:lnTo>
                  <a:pt x="0" y="75"/>
                </a:lnTo>
                <a:lnTo>
                  <a:pt x="6" y="72"/>
                </a:lnTo>
                <a:lnTo>
                  <a:pt x="5" y="65"/>
                </a:lnTo>
                <a:lnTo>
                  <a:pt x="2" y="54"/>
                </a:lnTo>
                <a:lnTo>
                  <a:pt x="2" y="49"/>
                </a:lnTo>
                <a:lnTo>
                  <a:pt x="9" y="47"/>
                </a:lnTo>
                <a:lnTo>
                  <a:pt x="14" y="35"/>
                </a:lnTo>
                <a:lnTo>
                  <a:pt x="22" y="26"/>
                </a:lnTo>
                <a:lnTo>
                  <a:pt x="22" y="17"/>
                </a:lnTo>
                <a:lnTo>
                  <a:pt x="26" y="17"/>
                </a:lnTo>
                <a:lnTo>
                  <a:pt x="33" y="17"/>
                </a:lnTo>
                <a:lnTo>
                  <a:pt x="39" y="13"/>
                </a:lnTo>
                <a:lnTo>
                  <a:pt x="42" y="6"/>
                </a:lnTo>
                <a:lnTo>
                  <a:pt x="51" y="3"/>
                </a:lnTo>
                <a:lnTo>
                  <a:pt x="60" y="0"/>
                </a:lnTo>
                <a:lnTo>
                  <a:pt x="71" y="3"/>
                </a:lnTo>
                <a:lnTo>
                  <a:pt x="85" y="4"/>
                </a:lnTo>
                <a:lnTo>
                  <a:pt x="94" y="15"/>
                </a:lnTo>
                <a:lnTo>
                  <a:pt x="95" y="26"/>
                </a:lnTo>
                <a:lnTo>
                  <a:pt x="99" y="29"/>
                </a:lnTo>
                <a:lnTo>
                  <a:pt x="101" y="31"/>
                </a:lnTo>
                <a:lnTo>
                  <a:pt x="103" y="35"/>
                </a:lnTo>
                <a:lnTo>
                  <a:pt x="105" y="39"/>
                </a:lnTo>
                <a:lnTo>
                  <a:pt x="107" y="42"/>
                </a:lnTo>
                <a:lnTo>
                  <a:pt x="109" y="44"/>
                </a:lnTo>
                <a:lnTo>
                  <a:pt x="117" y="44"/>
                </a:lnTo>
                <a:lnTo>
                  <a:pt x="119" y="53"/>
                </a:lnTo>
                <a:lnTo>
                  <a:pt x="112" y="55"/>
                </a:lnTo>
                <a:lnTo>
                  <a:pt x="101" y="55"/>
                </a:lnTo>
                <a:lnTo>
                  <a:pt x="104" y="65"/>
                </a:lnTo>
                <a:lnTo>
                  <a:pt x="108" y="74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77" name="Freeform 176">
            <a:extLst>
              <a:ext uri="{FF2B5EF4-FFF2-40B4-BE49-F238E27FC236}">
                <a16:creationId xmlns:a16="http://schemas.microsoft.com/office/drawing/2014/main" id="{53AA8606-2B67-F499-FAEE-3C75599BC8A5}"/>
              </a:ext>
            </a:extLst>
          </p:cNvPr>
          <p:cNvSpPr>
            <a:spLocks/>
          </p:cNvSpPr>
          <p:nvPr/>
        </p:nvSpPr>
        <p:spPr bwMode="auto">
          <a:xfrm>
            <a:off x="7987675" y="3595534"/>
            <a:ext cx="206375" cy="131763"/>
          </a:xfrm>
          <a:custGeom>
            <a:avLst/>
            <a:gdLst>
              <a:gd name="T0" fmla="*/ 0 w 102"/>
              <a:gd name="T1" fmla="*/ 27 h 71"/>
              <a:gd name="T2" fmla="*/ 13 w 102"/>
              <a:gd name="T3" fmla="*/ 27 h 71"/>
              <a:gd name="T4" fmla="*/ 15 w 102"/>
              <a:gd name="T5" fmla="*/ 16 h 71"/>
              <a:gd name="T6" fmla="*/ 20 w 102"/>
              <a:gd name="T7" fmla="*/ 14 h 71"/>
              <a:gd name="T8" fmla="*/ 19 w 102"/>
              <a:gd name="T9" fmla="*/ 4 h 71"/>
              <a:gd name="T10" fmla="*/ 28 w 102"/>
              <a:gd name="T11" fmla="*/ 5 h 71"/>
              <a:gd name="T12" fmla="*/ 33 w 102"/>
              <a:gd name="T13" fmla="*/ 0 h 71"/>
              <a:gd name="T14" fmla="*/ 39 w 102"/>
              <a:gd name="T15" fmla="*/ 5 h 71"/>
              <a:gd name="T16" fmla="*/ 39 w 102"/>
              <a:gd name="T17" fmla="*/ 10 h 71"/>
              <a:gd name="T18" fmla="*/ 33 w 102"/>
              <a:gd name="T19" fmla="*/ 13 h 71"/>
              <a:gd name="T20" fmla="*/ 28 w 102"/>
              <a:gd name="T21" fmla="*/ 16 h 71"/>
              <a:gd name="T22" fmla="*/ 36 w 102"/>
              <a:gd name="T23" fmla="*/ 16 h 71"/>
              <a:gd name="T24" fmla="*/ 42 w 102"/>
              <a:gd name="T25" fmla="*/ 19 h 71"/>
              <a:gd name="T26" fmla="*/ 41 w 102"/>
              <a:gd name="T27" fmla="*/ 28 h 71"/>
              <a:gd name="T28" fmla="*/ 51 w 102"/>
              <a:gd name="T29" fmla="*/ 28 h 71"/>
              <a:gd name="T30" fmla="*/ 58 w 102"/>
              <a:gd name="T31" fmla="*/ 31 h 71"/>
              <a:gd name="T32" fmla="*/ 65 w 102"/>
              <a:gd name="T33" fmla="*/ 32 h 71"/>
              <a:gd name="T34" fmla="*/ 77 w 102"/>
              <a:gd name="T35" fmla="*/ 30 h 71"/>
              <a:gd name="T36" fmla="*/ 81 w 102"/>
              <a:gd name="T37" fmla="*/ 33 h 71"/>
              <a:gd name="T38" fmla="*/ 87 w 102"/>
              <a:gd name="T39" fmla="*/ 39 h 71"/>
              <a:gd name="T40" fmla="*/ 93 w 102"/>
              <a:gd name="T41" fmla="*/ 45 h 71"/>
              <a:gd name="T42" fmla="*/ 97 w 102"/>
              <a:gd name="T43" fmla="*/ 51 h 71"/>
              <a:gd name="T44" fmla="*/ 101 w 102"/>
              <a:gd name="T45" fmla="*/ 60 h 71"/>
              <a:gd name="T46" fmla="*/ 95 w 102"/>
              <a:gd name="T47" fmla="*/ 60 h 71"/>
              <a:gd name="T48" fmla="*/ 88 w 102"/>
              <a:gd name="T49" fmla="*/ 61 h 71"/>
              <a:gd name="T50" fmla="*/ 82 w 102"/>
              <a:gd name="T51" fmla="*/ 65 h 71"/>
              <a:gd name="T52" fmla="*/ 74 w 102"/>
              <a:gd name="T53" fmla="*/ 67 h 71"/>
              <a:gd name="T54" fmla="*/ 73 w 102"/>
              <a:gd name="T55" fmla="*/ 68 h 71"/>
              <a:gd name="T56" fmla="*/ 70 w 102"/>
              <a:gd name="T57" fmla="*/ 68 h 71"/>
              <a:gd name="T58" fmla="*/ 68 w 102"/>
              <a:gd name="T59" fmla="*/ 69 h 71"/>
              <a:gd name="T60" fmla="*/ 68 w 102"/>
              <a:gd name="T61" fmla="*/ 70 h 71"/>
              <a:gd name="T62" fmla="*/ 65 w 102"/>
              <a:gd name="T63" fmla="*/ 70 h 71"/>
              <a:gd name="T64" fmla="*/ 64 w 102"/>
              <a:gd name="T65" fmla="*/ 70 h 71"/>
              <a:gd name="T66" fmla="*/ 61 w 102"/>
              <a:gd name="T67" fmla="*/ 68 h 71"/>
              <a:gd name="T68" fmla="*/ 55 w 102"/>
              <a:gd name="T69" fmla="*/ 60 h 71"/>
              <a:gd name="T70" fmla="*/ 51 w 102"/>
              <a:gd name="T71" fmla="*/ 52 h 71"/>
              <a:gd name="T72" fmla="*/ 48 w 102"/>
              <a:gd name="T73" fmla="*/ 39 h 71"/>
              <a:gd name="T74" fmla="*/ 42 w 102"/>
              <a:gd name="T75" fmla="*/ 41 h 71"/>
              <a:gd name="T76" fmla="*/ 39 w 102"/>
              <a:gd name="T77" fmla="*/ 46 h 71"/>
              <a:gd name="T78" fmla="*/ 34 w 102"/>
              <a:gd name="T79" fmla="*/ 52 h 71"/>
              <a:gd name="T80" fmla="*/ 29 w 102"/>
              <a:gd name="T81" fmla="*/ 58 h 71"/>
              <a:gd name="T82" fmla="*/ 26 w 102"/>
              <a:gd name="T83" fmla="*/ 63 h 71"/>
              <a:gd name="T84" fmla="*/ 22 w 102"/>
              <a:gd name="T85" fmla="*/ 66 h 71"/>
              <a:gd name="T86" fmla="*/ 12 w 102"/>
              <a:gd name="T87" fmla="*/ 68 h 71"/>
              <a:gd name="T88" fmla="*/ 15 w 102"/>
              <a:gd name="T89" fmla="*/ 59 h 71"/>
              <a:gd name="T90" fmla="*/ 14 w 102"/>
              <a:gd name="T91" fmla="*/ 48 h 71"/>
              <a:gd name="T92" fmla="*/ 11 w 102"/>
              <a:gd name="T93" fmla="*/ 43 h 71"/>
              <a:gd name="T94" fmla="*/ 6 w 102"/>
              <a:gd name="T95" fmla="*/ 38 h 71"/>
              <a:gd name="T96" fmla="*/ 0 w 102"/>
              <a:gd name="T97" fmla="*/ 33 h 71"/>
              <a:gd name="T98" fmla="*/ 0 w 102"/>
              <a:gd name="T99" fmla="*/ 27 h 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02" h="71">
                <a:moveTo>
                  <a:pt x="0" y="27"/>
                </a:moveTo>
                <a:lnTo>
                  <a:pt x="13" y="27"/>
                </a:lnTo>
                <a:lnTo>
                  <a:pt x="15" y="16"/>
                </a:lnTo>
                <a:lnTo>
                  <a:pt x="20" y="14"/>
                </a:lnTo>
                <a:lnTo>
                  <a:pt x="19" y="4"/>
                </a:lnTo>
                <a:lnTo>
                  <a:pt x="28" y="5"/>
                </a:lnTo>
                <a:lnTo>
                  <a:pt x="33" y="0"/>
                </a:lnTo>
                <a:lnTo>
                  <a:pt x="39" y="5"/>
                </a:lnTo>
                <a:lnTo>
                  <a:pt x="39" y="10"/>
                </a:lnTo>
                <a:lnTo>
                  <a:pt x="33" y="13"/>
                </a:lnTo>
                <a:lnTo>
                  <a:pt x="28" y="16"/>
                </a:lnTo>
                <a:lnTo>
                  <a:pt x="36" y="16"/>
                </a:lnTo>
                <a:lnTo>
                  <a:pt x="42" y="19"/>
                </a:lnTo>
                <a:lnTo>
                  <a:pt x="41" y="28"/>
                </a:lnTo>
                <a:lnTo>
                  <a:pt x="51" y="28"/>
                </a:lnTo>
                <a:lnTo>
                  <a:pt x="58" y="31"/>
                </a:lnTo>
                <a:lnTo>
                  <a:pt x="65" y="32"/>
                </a:lnTo>
                <a:lnTo>
                  <a:pt x="77" y="30"/>
                </a:lnTo>
                <a:lnTo>
                  <a:pt x="81" y="33"/>
                </a:lnTo>
                <a:lnTo>
                  <a:pt x="87" y="39"/>
                </a:lnTo>
                <a:lnTo>
                  <a:pt x="93" y="45"/>
                </a:lnTo>
                <a:lnTo>
                  <a:pt x="97" y="51"/>
                </a:lnTo>
                <a:lnTo>
                  <a:pt x="101" y="60"/>
                </a:lnTo>
                <a:lnTo>
                  <a:pt x="95" y="60"/>
                </a:lnTo>
                <a:lnTo>
                  <a:pt x="88" y="61"/>
                </a:lnTo>
                <a:lnTo>
                  <a:pt x="82" y="65"/>
                </a:lnTo>
                <a:lnTo>
                  <a:pt x="74" y="67"/>
                </a:lnTo>
                <a:lnTo>
                  <a:pt x="73" y="68"/>
                </a:lnTo>
                <a:lnTo>
                  <a:pt x="70" y="68"/>
                </a:lnTo>
                <a:lnTo>
                  <a:pt x="68" y="69"/>
                </a:lnTo>
                <a:lnTo>
                  <a:pt x="68" y="70"/>
                </a:lnTo>
                <a:lnTo>
                  <a:pt x="65" y="70"/>
                </a:lnTo>
                <a:lnTo>
                  <a:pt x="64" y="70"/>
                </a:lnTo>
                <a:lnTo>
                  <a:pt x="61" y="68"/>
                </a:lnTo>
                <a:lnTo>
                  <a:pt x="55" y="60"/>
                </a:lnTo>
                <a:lnTo>
                  <a:pt x="51" y="52"/>
                </a:lnTo>
                <a:lnTo>
                  <a:pt x="48" y="39"/>
                </a:lnTo>
                <a:lnTo>
                  <a:pt x="42" y="41"/>
                </a:lnTo>
                <a:lnTo>
                  <a:pt x="39" y="46"/>
                </a:lnTo>
                <a:lnTo>
                  <a:pt x="34" y="52"/>
                </a:lnTo>
                <a:lnTo>
                  <a:pt x="29" y="58"/>
                </a:lnTo>
                <a:lnTo>
                  <a:pt x="26" y="63"/>
                </a:lnTo>
                <a:lnTo>
                  <a:pt x="22" y="66"/>
                </a:lnTo>
                <a:lnTo>
                  <a:pt x="12" y="68"/>
                </a:lnTo>
                <a:lnTo>
                  <a:pt x="15" y="59"/>
                </a:lnTo>
                <a:lnTo>
                  <a:pt x="14" y="48"/>
                </a:lnTo>
                <a:lnTo>
                  <a:pt x="11" y="43"/>
                </a:lnTo>
                <a:lnTo>
                  <a:pt x="6" y="38"/>
                </a:lnTo>
                <a:lnTo>
                  <a:pt x="0" y="33"/>
                </a:lnTo>
                <a:lnTo>
                  <a:pt x="0" y="27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78" name="Freeform 177">
            <a:extLst>
              <a:ext uri="{FF2B5EF4-FFF2-40B4-BE49-F238E27FC236}">
                <a16:creationId xmlns:a16="http://schemas.microsoft.com/office/drawing/2014/main" id="{95E003D9-47F2-10BF-D2C9-03CE3D7826D9}"/>
              </a:ext>
            </a:extLst>
          </p:cNvPr>
          <p:cNvSpPr>
            <a:spLocks/>
          </p:cNvSpPr>
          <p:nvPr/>
        </p:nvSpPr>
        <p:spPr bwMode="auto">
          <a:xfrm>
            <a:off x="8046413" y="3511396"/>
            <a:ext cx="236538" cy="144463"/>
          </a:xfrm>
          <a:custGeom>
            <a:avLst/>
            <a:gdLst>
              <a:gd name="T0" fmla="*/ 12 w 117"/>
              <a:gd name="T1" fmla="*/ 63 h 77"/>
              <a:gd name="T2" fmla="*/ 18 w 117"/>
              <a:gd name="T3" fmla="*/ 60 h 77"/>
              <a:gd name="T4" fmla="*/ 27 w 117"/>
              <a:gd name="T5" fmla="*/ 57 h 77"/>
              <a:gd name="T6" fmla="*/ 34 w 117"/>
              <a:gd name="T7" fmla="*/ 53 h 77"/>
              <a:gd name="T8" fmla="*/ 39 w 117"/>
              <a:gd name="T9" fmla="*/ 46 h 77"/>
              <a:gd name="T10" fmla="*/ 30 w 117"/>
              <a:gd name="T11" fmla="*/ 42 h 77"/>
              <a:gd name="T12" fmla="*/ 18 w 117"/>
              <a:gd name="T13" fmla="*/ 35 h 77"/>
              <a:gd name="T14" fmla="*/ 14 w 117"/>
              <a:gd name="T15" fmla="*/ 38 h 77"/>
              <a:gd name="T16" fmla="*/ 7 w 117"/>
              <a:gd name="T17" fmla="*/ 36 h 77"/>
              <a:gd name="T18" fmla="*/ 0 w 117"/>
              <a:gd name="T19" fmla="*/ 34 h 77"/>
              <a:gd name="T20" fmla="*/ 3 w 117"/>
              <a:gd name="T21" fmla="*/ 28 h 77"/>
              <a:gd name="T22" fmla="*/ 6 w 117"/>
              <a:gd name="T23" fmla="*/ 22 h 77"/>
              <a:gd name="T24" fmla="*/ 7 w 117"/>
              <a:gd name="T25" fmla="*/ 9 h 77"/>
              <a:gd name="T26" fmla="*/ 17 w 117"/>
              <a:gd name="T27" fmla="*/ 7 h 77"/>
              <a:gd name="T28" fmla="*/ 21 w 117"/>
              <a:gd name="T29" fmla="*/ 9 h 77"/>
              <a:gd name="T30" fmla="*/ 27 w 117"/>
              <a:gd name="T31" fmla="*/ 13 h 77"/>
              <a:gd name="T32" fmla="*/ 36 w 117"/>
              <a:gd name="T33" fmla="*/ 14 h 77"/>
              <a:gd name="T34" fmla="*/ 36 w 117"/>
              <a:gd name="T35" fmla="*/ 6 h 77"/>
              <a:gd name="T36" fmla="*/ 44 w 117"/>
              <a:gd name="T37" fmla="*/ 0 h 77"/>
              <a:gd name="T38" fmla="*/ 52 w 117"/>
              <a:gd name="T39" fmla="*/ 2 h 77"/>
              <a:gd name="T40" fmla="*/ 58 w 117"/>
              <a:gd name="T41" fmla="*/ 6 h 77"/>
              <a:gd name="T42" fmla="*/ 61 w 117"/>
              <a:gd name="T43" fmla="*/ 7 h 77"/>
              <a:gd name="T44" fmla="*/ 63 w 117"/>
              <a:gd name="T45" fmla="*/ 9 h 77"/>
              <a:gd name="T46" fmla="*/ 66 w 117"/>
              <a:gd name="T47" fmla="*/ 9 h 77"/>
              <a:gd name="T48" fmla="*/ 74 w 117"/>
              <a:gd name="T49" fmla="*/ 7 h 77"/>
              <a:gd name="T50" fmla="*/ 79 w 117"/>
              <a:gd name="T51" fmla="*/ 7 h 77"/>
              <a:gd name="T52" fmla="*/ 92 w 117"/>
              <a:gd name="T53" fmla="*/ 6 h 77"/>
              <a:gd name="T54" fmla="*/ 103 w 117"/>
              <a:gd name="T55" fmla="*/ 7 h 77"/>
              <a:gd name="T56" fmla="*/ 116 w 117"/>
              <a:gd name="T57" fmla="*/ 13 h 77"/>
              <a:gd name="T58" fmla="*/ 112 w 117"/>
              <a:gd name="T59" fmla="*/ 18 h 77"/>
              <a:gd name="T60" fmla="*/ 107 w 117"/>
              <a:gd name="T61" fmla="*/ 24 h 77"/>
              <a:gd name="T62" fmla="*/ 102 w 117"/>
              <a:gd name="T63" fmla="*/ 31 h 77"/>
              <a:gd name="T64" fmla="*/ 97 w 117"/>
              <a:gd name="T65" fmla="*/ 37 h 77"/>
              <a:gd name="T66" fmla="*/ 90 w 117"/>
              <a:gd name="T67" fmla="*/ 44 h 77"/>
              <a:gd name="T68" fmla="*/ 81 w 117"/>
              <a:gd name="T69" fmla="*/ 50 h 77"/>
              <a:gd name="T70" fmla="*/ 71 w 117"/>
              <a:gd name="T71" fmla="*/ 51 h 77"/>
              <a:gd name="T72" fmla="*/ 63 w 117"/>
              <a:gd name="T73" fmla="*/ 54 h 77"/>
              <a:gd name="T74" fmla="*/ 56 w 117"/>
              <a:gd name="T75" fmla="*/ 55 h 77"/>
              <a:gd name="T76" fmla="*/ 50 w 117"/>
              <a:gd name="T77" fmla="*/ 60 h 77"/>
              <a:gd name="T78" fmla="*/ 47 w 117"/>
              <a:gd name="T79" fmla="*/ 67 h 77"/>
              <a:gd name="T80" fmla="*/ 47 w 117"/>
              <a:gd name="T81" fmla="*/ 73 h 77"/>
              <a:gd name="T82" fmla="*/ 40 w 117"/>
              <a:gd name="T83" fmla="*/ 73 h 77"/>
              <a:gd name="T84" fmla="*/ 36 w 117"/>
              <a:gd name="T85" fmla="*/ 76 h 77"/>
              <a:gd name="T86" fmla="*/ 29 w 117"/>
              <a:gd name="T87" fmla="*/ 75 h 77"/>
              <a:gd name="T88" fmla="*/ 21 w 117"/>
              <a:gd name="T89" fmla="*/ 72 h 77"/>
              <a:gd name="T90" fmla="*/ 17 w 117"/>
              <a:gd name="T91" fmla="*/ 72 h 77"/>
              <a:gd name="T92" fmla="*/ 11 w 117"/>
              <a:gd name="T93" fmla="*/ 72 h 77"/>
              <a:gd name="T94" fmla="*/ 12 w 117"/>
              <a:gd name="T95" fmla="*/ 63 h 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17" h="77">
                <a:moveTo>
                  <a:pt x="12" y="63"/>
                </a:moveTo>
                <a:lnTo>
                  <a:pt x="18" y="60"/>
                </a:lnTo>
                <a:lnTo>
                  <a:pt x="27" y="57"/>
                </a:lnTo>
                <a:lnTo>
                  <a:pt x="34" y="53"/>
                </a:lnTo>
                <a:lnTo>
                  <a:pt x="39" y="46"/>
                </a:lnTo>
                <a:lnTo>
                  <a:pt x="30" y="42"/>
                </a:lnTo>
                <a:lnTo>
                  <a:pt x="18" y="35"/>
                </a:lnTo>
                <a:lnTo>
                  <a:pt x="14" y="38"/>
                </a:lnTo>
                <a:lnTo>
                  <a:pt x="7" y="36"/>
                </a:lnTo>
                <a:lnTo>
                  <a:pt x="0" y="34"/>
                </a:lnTo>
                <a:lnTo>
                  <a:pt x="3" y="28"/>
                </a:lnTo>
                <a:lnTo>
                  <a:pt x="6" y="22"/>
                </a:lnTo>
                <a:lnTo>
                  <a:pt x="7" y="9"/>
                </a:lnTo>
                <a:lnTo>
                  <a:pt x="17" y="7"/>
                </a:lnTo>
                <a:lnTo>
                  <a:pt x="21" y="9"/>
                </a:lnTo>
                <a:lnTo>
                  <a:pt x="27" y="13"/>
                </a:lnTo>
                <a:lnTo>
                  <a:pt x="36" y="14"/>
                </a:lnTo>
                <a:lnTo>
                  <a:pt x="36" y="6"/>
                </a:lnTo>
                <a:lnTo>
                  <a:pt x="44" y="0"/>
                </a:lnTo>
                <a:lnTo>
                  <a:pt x="52" y="2"/>
                </a:lnTo>
                <a:lnTo>
                  <a:pt x="58" y="6"/>
                </a:lnTo>
                <a:lnTo>
                  <a:pt x="61" y="7"/>
                </a:lnTo>
                <a:lnTo>
                  <a:pt x="63" y="9"/>
                </a:lnTo>
                <a:lnTo>
                  <a:pt x="66" y="9"/>
                </a:lnTo>
                <a:lnTo>
                  <a:pt x="74" y="7"/>
                </a:lnTo>
                <a:lnTo>
                  <a:pt x="79" y="7"/>
                </a:lnTo>
                <a:lnTo>
                  <a:pt x="92" y="6"/>
                </a:lnTo>
                <a:lnTo>
                  <a:pt x="103" y="7"/>
                </a:lnTo>
                <a:lnTo>
                  <a:pt x="116" y="13"/>
                </a:lnTo>
                <a:lnTo>
                  <a:pt x="112" y="18"/>
                </a:lnTo>
                <a:lnTo>
                  <a:pt x="107" y="24"/>
                </a:lnTo>
                <a:lnTo>
                  <a:pt x="102" y="31"/>
                </a:lnTo>
                <a:lnTo>
                  <a:pt x="97" y="37"/>
                </a:lnTo>
                <a:lnTo>
                  <a:pt x="90" y="44"/>
                </a:lnTo>
                <a:lnTo>
                  <a:pt x="81" y="50"/>
                </a:lnTo>
                <a:lnTo>
                  <a:pt x="71" y="51"/>
                </a:lnTo>
                <a:lnTo>
                  <a:pt x="63" y="54"/>
                </a:lnTo>
                <a:lnTo>
                  <a:pt x="56" y="55"/>
                </a:lnTo>
                <a:lnTo>
                  <a:pt x="50" y="60"/>
                </a:lnTo>
                <a:lnTo>
                  <a:pt x="47" y="67"/>
                </a:lnTo>
                <a:lnTo>
                  <a:pt x="47" y="73"/>
                </a:lnTo>
                <a:lnTo>
                  <a:pt x="40" y="73"/>
                </a:lnTo>
                <a:lnTo>
                  <a:pt x="36" y="76"/>
                </a:lnTo>
                <a:lnTo>
                  <a:pt x="29" y="75"/>
                </a:lnTo>
                <a:lnTo>
                  <a:pt x="21" y="72"/>
                </a:lnTo>
                <a:lnTo>
                  <a:pt x="17" y="72"/>
                </a:lnTo>
                <a:lnTo>
                  <a:pt x="11" y="72"/>
                </a:lnTo>
                <a:lnTo>
                  <a:pt x="12" y="63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79" name="Freeform 178">
            <a:extLst>
              <a:ext uri="{FF2B5EF4-FFF2-40B4-BE49-F238E27FC236}">
                <a16:creationId xmlns:a16="http://schemas.microsoft.com/office/drawing/2014/main" id="{C3209A64-1F3E-7801-DB1C-F183EC055D88}"/>
              </a:ext>
            </a:extLst>
          </p:cNvPr>
          <p:cNvSpPr>
            <a:spLocks/>
          </p:cNvSpPr>
          <p:nvPr/>
        </p:nvSpPr>
        <p:spPr bwMode="auto">
          <a:xfrm>
            <a:off x="7632075" y="3424084"/>
            <a:ext cx="496888" cy="304800"/>
          </a:xfrm>
          <a:custGeom>
            <a:avLst/>
            <a:gdLst>
              <a:gd name="T0" fmla="*/ 0 w 246"/>
              <a:gd name="T1" fmla="*/ 11 h 163"/>
              <a:gd name="T2" fmla="*/ 68 w 246"/>
              <a:gd name="T3" fmla="*/ 20 h 163"/>
              <a:gd name="T4" fmla="*/ 99 w 246"/>
              <a:gd name="T5" fmla="*/ 41 h 163"/>
              <a:gd name="T6" fmla="*/ 123 w 246"/>
              <a:gd name="T7" fmla="*/ 37 h 163"/>
              <a:gd name="T8" fmla="*/ 138 w 246"/>
              <a:gd name="T9" fmla="*/ 50 h 163"/>
              <a:gd name="T10" fmla="*/ 143 w 246"/>
              <a:gd name="T11" fmla="*/ 57 h 163"/>
              <a:gd name="T12" fmla="*/ 145 w 246"/>
              <a:gd name="T13" fmla="*/ 65 h 163"/>
              <a:gd name="T14" fmla="*/ 153 w 246"/>
              <a:gd name="T15" fmla="*/ 70 h 163"/>
              <a:gd name="T16" fmla="*/ 175 w 246"/>
              <a:gd name="T17" fmla="*/ 87 h 163"/>
              <a:gd name="T18" fmla="*/ 183 w 246"/>
              <a:gd name="T19" fmla="*/ 97 h 163"/>
              <a:gd name="T20" fmla="*/ 193 w 246"/>
              <a:gd name="T21" fmla="*/ 80 h 163"/>
              <a:gd name="T22" fmla="*/ 206 w 246"/>
              <a:gd name="T23" fmla="*/ 67 h 163"/>
              <a:gd name="T24" fmla="*/ 208 w 246"/>
              <a:gd name="T25" fmla="*/ 74 h 163"/>
              <a:gd name="T26" fmla="*/ 210 w 246"/>
              <a:gd name="T27" fmla="*/ 82 h 163"/>
              <a:gd name="T28" fmla="*/ 220 w 246"/>
              <a:gd name="T29" fmla="*/ 84 h 163"/>
              <a:gd name="T30" fmla="*/ 236 w 246"/>
              <a:gd name="T31" fmla="*/ 89 h 163"/>
              <a:gd name="T32" fmla="*/ 240 w 246"/>
              <a:gd name="T33" fmla="*/ 101 h 163"/>
              <a:gd name="T34" fmla="*/ 218 w 246"/>
              <a:gd name="T35" fmla="*/ 110 h 163"/>
              <a:gd name="T36" fmla="*/ 204 w 246"/>
              <a:gd name="T37" fmla="*/ 108 h 163"/>
              <a:gd name="T38" fmla="*/ 215 w 246"/>
              <a:gd name="T39" fmla="*/ 96 h 163"/>
              <a:gd name="T40" fmla="*/ 204 w 246"/>
              <a:gd name="T41" fmla="*/ 96 h 163"/>
              <a:gd name="T42" fmla="*/ 196 w 246"/>
              <a:gd name="T43" fmla="*/ 105 h 163"/>
              <a:gd name="T44" fmla="*/ 188 w 246"/>
              <a:gd name="T45" fmla="*/ 118 h 163"/>
              <a:gd name="T46" fmla="*/ 175 w 246"/>
              <a:gd name="T47" fmla="*/ 124 h 163"/>
              <a:gd name="T48" fmla="*/ 179 w 246"/>
              <a:gd name="T49" fmla="*/ 127 h 163"/>
              <a:gd name="T50" fmla="*/ 187 w 246"/>
              <a:gd name="T51" fmla="*/ 135 h 163"/>
              <a:gd name="T52" fmla="*/ 191 w 246"/>
              <a:gd name="T53" fmla="*/ 150 h 163"/>
              <a:gd name="T54" fmla="*/ 182 w 246"/>
              <a:gd name="T55" fmla="*/ 162 h 163"/>
              <a:gd name="T56" fmla="*/ 170 w 246"/>
              <a:gd name="T57" fmla="*/ 150 h 163"/>
              <a:gd name="T58" fmla="*/ 161 w 246"/>
              <a:gd name="T59" fmla="*/ 146 h 163"/>
              <a:gd name="T60" fmla="*/ 139 w 246"/>
              <a:gd name="T61" fmla="*/ 129 h 163"/>
              <a:gd name="T62" fmla="*/ 119 w 246"/>
              <a:gd name="T63" fmla="*/ 119 h 163"/>
              <a:gd name="T64" fmla="*/ 99 w 246"/>
              <a:gd name="T65" fmla="*/ 101 h 163"/>
              <a:gd name="T66" fmla="*/ 92 w 246"/>
              <a:gd name="T67" fmla="*/ 87 h 163"/>
              <a:gd name="T68" fmla="*/ 68 w 246"/>
              <a:gd name="T69" fmla="*/ 84 h 163"/>
              <a:gd name="T70" fmla="*/ 65 w 246"/>
              <a:gd name="T71" fmla="*/ 70 h 163"/>
              <a:gd name="T72" fmla="*/ 44 w 246"/>
              <a:gd name="T73" fmla="*/ 57 h 163"/>
              <a:gd name="T74" fmla="*/ 23 w 246"/>
              <a:gd name="T75" fmla="*/ 70 h 163"/>
              <a:gd name="T76" fmla="*/ 23 w 246"/>
              <a:gd name="T77" fmla="*/ 83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46" h="163">
                <a:moveTo>
                  <a:pt x="10" y="82"/>
                </a:moveTo>
                <a:lnTo>
                  <a:pt x="0" y="11"/>
                </a:lnTo>
                <a:lnTo>
                  <a:pt x="30" y="0"/>
                </a:lnTo>
                <a:lnTo>
                  <a:pt x="68" y="20"/>
                </a:lnTo>
                <a:lnTo>
                  <a:pt x="84" y="41"/>
                </a:lnTo>
                <a:lnTo>
                  <a:pt x="99" y="41"/>
                </a:lnTo>
                <a:lnTo>
                  <a:pt x="114" y="40"/>
                </a:lnTo>
                <a:lnTo>
                  <a:pt x="123" y="37"/>
                </a:lnTo>
                <a:lnTo>
                  <a:pt x="134" y="47"/>
                </a:lnTo>
                <a:lnTo>
                  <a:pt x="138" y="50"/>
                </a:lnTo>
                <a:lnTo>
                  <a:pt x="141" y="54"/>
                </a:lnTo>
                <a:lnTo>
                  <a:pt x="143" y="57"/>
                </a:lnTo>
                <a:lnTo>
                  <a:pt x="144" y="60"/>
                </a:lnTo>
                <a:lnTo>
                  <a:pt x="145" y="65"/>
                </a:lnTo>
                <a:lnTo>
                  <a:pt x="146" y="70"/>
                </a:lnTo>
                <a:lnTo>
                  <a:pt x="153" y="70"/>
                </a:lnTo>
                <a:lnTo>
                  <a:pt x="158" y="87"/>
                </a:lnTo>
                <a:lnTo>
                  <a:pt x="175" y="87"/>
                </a:lnTo>
                <a:lnTo>
                  <a:pt x="178" y="94"/>
                </a:lnTo>
                <a:lnTo>
                  <a:pt x="183" y="97"/>
                </a:lnTo>
                <a:lnTo>
                  <a:pt x="187" y="87"/>
                </a:lnTo>
                <a:lnTo>
                  <a:pt x="193" y="80"/>
                </a:lnTo>
                <a:lnTo>
                  <a:pt x="198" y="74"/>
                </a:lnTo>
                <a:lnTo>
                  <a:pt x="206" y="67"/>
                </a:lnTo>
                <a:lnTo>
                  <a:pt x="212" y="68"/>
                </a:lnTo>
                <a:lnTo>
                  <a:pt x="208" y="74"/>
                </a:lnTo>
                <a:lnTo>
                  <a:pt x="205" y="81"/>
                </a:lnTo>
                <a:lnTo>
                  <a:pt x="210" y="82"/>
                </a:lnTo>
                <a:lnTo>
                  <a:pt x="213" y="83"/>
                </a:lnTo>
                <a:lnTo>
                  <a:pt x="220" y="84"/>
                </a:lnTo>
                <a:lnTo>
                  <a:pt x="224" y="82"/>
                </a:lnTo>
                <a:lnTo>
                  <a:pt x="236" y="89"/>
                </a:lnTo>
                <a:lnTo>
                  <a:pt x="245" y="93"/>
                </a:lnTo>
                <a:lnTo>
                  <a:pt x="240" y="101"/>
                </a:lnTo>
                <a:lnTo>
                  <a:pt x="230" y="105"/>
                </a:lnTo>
                <a:lnTo>
                  <a:pt x="218" y="110"/>
                </a:lnTo>
                <a:lnTo>
                  <a:pt x="209" y="104"/>
                </a:lnTo>
                <a:lnTo>
                  <a:pt x="204" y="108"/>
                </a:lnTo>
                <a:lnTo>
                  <a:pt x="215" y="101"/>
                </a:lnTo>
                <a:lnTo>
                  <a:pt x="215" y="96"/>
                </a:lnTo>
                <a:lnTo>
                  <a:pt x="209" y="91"/>
                </a:lnTo>
                <a:lnTo>
                  <a:pt x="204" y="96"/>
                </a:lnTo>
                <a:lnTo>
                  <a:pt x="195" y="95"/>
                </a:lnTo>
                <a:lnTo>
                  <a:pt x="196" y="105"/>
                </a:lnTo>
                <a:lnTo>
                  <a:pt x="191" y="108"/>
                </a:lnTo>
                <a:lnTo>
                  <a:pt x="188" y="118"/>
                </a:lnTo>
                <a:lnTo>
                  <a:pt x="175" y="118"/>
                </a:lnTo>
                <a:lnTo>
                  <a:pt x="175" y="124"/>
                </a:lnTo>
                <a:lnTo>
                  <a:pt x="178" y="124"/>
                </a:lnTo>
                <a:lnTo>
                  <a:pt x="179" y="127"/>
                </a:lnTo>
                <a:lnTo>
                  <a:pt x="182" y="129"/>
                </a:lnTo>
                <a:lnTo>
                  <a:pt x="187" y="135"/>
                </a:lnTo>
                <a:lnTo>
                  <a:pt x="190" y="139"/>
                </a:lnTo>
                <a:lnTo>
                  <a:pt x="191" y="150"/>
                </a:lnTo>
                <a:lnTo>
                  <a:pt x="188" y="159"/>
                </a:lnTo>
                <a:lnTo>
                  <a:pt x="182" y="162"/>
                </a:lnTo>
                <a:lnTo>
                  <a:pt x="171" y="158"/>
                </a:lnTo>
                <a:lnTo>
                  <a:pt x="170" y="150"/>
                </a:lnTo>
                <a:lnTo>
                  <a:pt x="165" y="146"/>
                </a:lnTo>
                <a:lnTo>
                  <a:pt x="161" y="146"/>
                </a:lnTo>
                <a:lnTo>
                  <a:pt x="148" y="142"/>
                </a:lnTo>
                <a:lnTo>
                  <a:pt x="139" y="129"/>
                </a:lnTo>
                <a:lnTo>
                  <a:pt x="126" y="128"/>
                </a:lnTo>
                <a:lnTo>
                  <a:pt x="119" y="119"/>
                </a:lnTo>
                <a:lnTo>
                  <a:pt x="107" y="111"/>
                </a:lnTo>
                <a:lnTo>
                  <a:pt x="99" y="101"/>
                </a:lnTo>
                <a:lnTo>
                  <a:pt x="94" y="94"/>
                </a:lnTo>
                <a:lnTo>
                  <a:pt x="92" y="87"/>
                </a:lnTo>
                <a:lnTo>
                  <a:pt x="72" y="87"/>
                </a:lnTo>
                <a:lnTo>
                  <a:pt x="68" y="84"/>
                </a:lnTo>
                <a:lnTo>
                  <a:pt x="66" y="75"/>
                </a:lnTo>
                <a:lnTo>
                  <a:pt x="65" y="70"/>
                </a:lnTo>
                <a:lnTo>
                  <a:pt x="59" y="62"/>
                </a:lnTo>
                <a:lnTo>
                  <a:pt x="44" y="57"/>
                </a:lnTo>
                <a:lnTo>
                  <a:pt x="35" y="61"/>
                </a:lnTo>
                <a:lnTo>
                  <a:pt x="23" y="70"/>
                </a:lnTo>
                <a:lnTo>
                  <a:pt x="23" y="78"/>
                </a:lnTo>
                <a:lnTo>
                  <a:pt x="23" y="83"/>
                </a:lnTo>
                <a:lnTo>
                  <a:pt x="10" y="82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80" name="Freeform 179">
            <a:extLst>
              <a:ext uri="{FF2B5EF4-FFF2-40B4-BE49-F238E27FC236}">
                <a16:creationId xmlns:a16="http://schemas.microsoft.com/office/drawing/2014/main" id="{95FB0A8C-0643-6DF9-9E81-5D7A109B0796}"/>
              </a:ext>
            </a:extLst>
          </p:cNvPr>
          <p:cNvSpPr>
            <a:spLocks/>
          </p:cNvSpPr>
          <p:nvPr/>
        </p:nvSpPr>
        <p:spPr bwMode="auto">
          <a:xfrm>
            <a:off x="7357438" y="3076421"/>
            <a:ext cx="1041400" cy="531813"/>
          </a:xfrm>
          <a:custGeom>
            <a:avLst/>
            <a:gdLst>
              <a:gd name="T0" fmla="*/ 98 w 516"/>
              <a:gd name="T1" fmla="*/ 260 h 285"/>
              <a:gd name="T2" fmla="*/ 92 w 516"/>
              <a:gd name="T3" fmla="*/ 247 h 285"/>
              <a:gd name="T4" fmla="*/ 77 w 516"/>
              <a:gd name="T5" fmla="*/ 233 h 285"/>
              <a:gd name="T6" fmla="*/ 52 w 516"/>
              <a:gd name="T7" fmla="*/ 202 h 285"/>
              <a:gd name="T8" fmla="*/ 64 w 516"/>
              <a:gd name="T9" fmla="*/ 190 h 285"/>
              <a:gd name="T10" fmla="*/ 82 w 516"/>
              <a:gd name="T11" fmla="*/ 177 h 285"/>
              <a:gd name="T12" fmla="*/ 72 w 516"/>
              <a:gd name="T13" fmla="*/ 159 h 285"/>
              <a:gd name="T14" fmla="*/ 57 w 516"/>
              <a:gd name="T15" fmla="*/ 158 h 285"/>
              <a:gd name="T16" fmla="*/ 33 w 516"/>
              <a:gd name="T17" fmla="*/ 161 h 285"/>
              <a:gd name="T18" fmla="*/ 7 w 516"/>
              <a:gd name="T19" fmla="*/ 134 h 285"/>
              <a:gd name="T20" fmla="*/ 2 w 516"/>
              <a:gd name="T21" fmla="*/ 136 h 285"/>
              <a:gd name="T22" fmla="*/ 0 w 516"/>
              <a:gd name="T23" fmla="*/ 132 h 285"/>
              <a:gd name="T24" fmla="*/ 0 w 516"/>
              <a:gd name="T25" fmla="*/ 101 h 285"/>
              <a:gd name="T26" fmla="*/ 24 w 516"/>
              <a:gd name="T27" fmla="*/ 100 h 285"/>
              <a:gd name="T28" fmla="*/ 61 w 516"/>
              <a:gd name="T29" fmla="*/ 71 h 285"/>
              <a:gd name="T30" fmla="*/ 99 w 516"/>
              <a:gd name="T31" fmla="*/ 86 h 285"/>
              <a:gd name="T32" fmla="*/ 144 w 516"/>
              <a:gd name="T33" fmla="*/ 81 h 285"/>
              <a:gd name="T34" fmla="*/ 155 w 516"/>
              <a:gd name="T35" fmla="*/ 90 h 285"/>
              <a:gd name="T36" fmla="*/ 168 w 516"/>
              <a:gd name="T37" fmla="*/ 90 h 285"/>
              <a:gd name="T38" fmla="*/ 161 w 516"/>
              <a:gd name="T39" fmla="*/ 66 h 285"/>
              <a:gd name="T40" fmla="*/ 181 w 516"/>
              <a:gd name="T41" fmla="*/ 44 h 285"/>
              <a:gd name="T42" fmla="*/ 184 w 516"/>
              <a:gd name="T43" fmla="*/ 26 h 285"/>
              <a:gd name="T44" fmla="*/ 278 w 516"/>
              <a:gd name="T45" fmla="*/ 4 h 285"/>
              <a:gd name="T46" fmla="*/ 319 w 516"/>
              <a:gd name="T47" fmla="*/ 36 h 285"/>
              <a:gd name="T48" fmla="*/ 358 w 516"/>
              <a:gd name="T49" fmla="*/ 20 h 285"/>
              <a:gd name="T50" fmla="*/ 419 w 516"/>
              <a:gd name="T51" fmla="*/ 86 h 285"/>
              <a:gd name="T52" fmla="*/ 436 w 516"/>
              <a:gd name="T53" fmla="*/ 80 h 285"/>
              <a:gd name="T54" fmla="*/ 461 w 516"/>
              <a:gd name="T55" fmla="*/ 83 h 285"/>
              <a:gd name="T56" fmla="*/ 515 w 516"/>
              <a:gd name="T57" fmla="*/ 113 h 285"/>
              <a:gd name="T58" fmla="*/ 501 w 516"/>
              <a:gd name="T59" fmla="*/ 149 h 285"/>
              <a:gd name="T60" fmla="*/ 481 w 516"/>
              <a:gd name="T61" fmla="*/ 160 h 285"/>
              <a:gd name="T62" fmla="*/ 471 w 516"/>
              <a:gd name="T63" fmla="*/ 183 h 285"/>
              <a:gd name="T64" fmla="*/ 449 w 516"/>
              <a:gd name="T65" fmla="*/ 190 h 285"/>
              <a:gd name="T66" fmla="*/ 462 w 516"/>
              <a:gd name="T67" fmla="*/ 234 h 285"/>
              <a:gd name="T68" fmla="*/ 434 w 516"/>
              <a:gd name="T69" fmla="*/ 240 h 285"/>
              <a:gd name="T70" fmla="*/ 386 w 516"/>
              <a:gd name="T71" fmla="*/ 233 h 285"/>
              <a:gd name="T72" fmla="*/ 359 w 516"/>
              <a:gd name="T73" fmla="*/ 240 h 285"/>
              <a:gd name="T74" fmla="*/ 343 w 516"/>
              <a:gd name="T75" fmla="*/ 253 h 285"/>
              <a:gd name="T76" fmla="*/ 320 w 516"/>
              <a:gd name="T77" fmla="*/ 284 h 285"/>
              <a:gd name="T78" fmla="*/ 295 w 516"/>
              <a:gd name="T79" fmla="*/ 274 h 285"/>
              <a:gd name="T80" fmla="*/ 280 w 516"/>
              <a:gd name="T81" fmla="*/ 243 h 285"/>
              <a:gd name="T82" fmla="*/ 204 w 516"/>
              <a:gd name="T83" fmla="*/ 207 h 285"/>
              <a:gd name="T84" fmla="*/ 147 w 516"/>
              <a:gd name="T85" fmla="*/ 269 h 285"/>
              <a:gd name="T86" fmla="*/ 115 w 516"/>
              <a:gd name="T87" fmla="*/ 250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16" h="285">
                <a:moveTo>
                  <a:pt x="105" y="250"/>
                </a:moveTo>
                <a:lnTo>
                  <a:pt x="99" y="253"/>
                </a:lnTo>
                <a:lnTo>
                  <a:pt x="98" y="260"/>
                </a:lnTo>
                <a:lnTo>
                  <a:pt x="98" y="267"/>
                </a:lnTo>
                <a:lnTo>
                  <a:pt x="93" y="260"/>
                </a:lnTo>
                <a:lnTo>
                  <a:pt x="92" y="247"/>
                </a:lnTo>
                <a:lnTo>
                  <a:pt x="89" y="239"/>
                </a:lnTo>
                <a:lnTo>
                  <a:pt x="83" y="235"/>
                </a:lnTo>
                <a:lnTo>
                  <a:pt x="77" y="233"/>
                </a:lnTo>
                <a:lnTo>
                  <a:pt x="64" y="220"/>
                </a:lnTo>
                <a:lnTo>
                  <a:pt x="56" y="210"/>
                </a:lnTo>
                <a:lnTo>
                  <a:pt x="52" y="202"/>
                </a:lnTo>
                <a:lnTo>
                  <a:pt x="59" y="203"/>
                </a:lnTo>
                <a:lnTo>
                  <a:pt x="66" y="204"/>
                </a:lnTo>
                <a:lnTo>
                  <a:pt x="64" y="190"/>
                </a:lnTo>
                <a:lnTo>
                  <a:pt x="72" y="189"/>
                </a:lnTo>
                <a:lnTo>
                  <a:pt x="84" y="190"/>
                </a:lnTo>
                <a:lnTo>
                  <a:pt x="82" y="177"/>
                </a:lnTo>
                <a:lnTo>
                  <a:pt x="83" y="166"/>
                </a:lnTo>
                <a:lnTo>
                  <a:pt x="78" y="159"/>
                </a:lnTo>
                <a:lnTo>
                  <a:pt x="72" y="159"/>
                </a:lnTo>
                <a:lnTo>
                  <a:pt x="69" y="162"/>
                </a:lnTo>
                <a:lnTo>
                  <a:pt x="64" y="162"/>
                </a:lnTo>
                <a:lnTo>
                  <a:pt x="57" y="158"/>
                </a:lnTo>
                <a:lnTo>
                  <a:pt x="49" y="158"/>
                </a:lnTo>
                <a:lnTo>
                  <a:pt x="37" y="170"/>
                </a:lnTo>
                <a:lnTo>
                  <a:pt x="33" y="161"/>
                </a:lnTo>
                <a:lnTo>
                  <a:pt x="22" y="144"/>
                </a:lnTo>
                <a:lnTo>
                  <a:pt x="8" y="143"/>
                </a:lnTo>
                <a:lnTo>
                  <a:pt x="7" y="134"/>
                </a:lnTo>
                <a:lnTo>
                  <a:pt x="6" y="135"/>
                </a:lnTo>
                <a:lnTo>
                  <a:pt x="3" y="136"/>
                </a:lnTo>
                <a:lnTo>
                  <a:pt x="2" y="136"/>
                </a:lnTo>
                <a:lnTo>
                  <a:pt x="1" y="135"/>
                </a:lnTo>
                <a:lnTo>
                  <a:pt x="0" y="134"/>
                </a:lnTo>
                <a:lnTo>
                  <a:pt x="0" y="132"/>
                </a:lnTo>
                <a:lnTo>
                  <a:pt x="0" y="125"/>
                </a:lnTo>
                <a:lnTo>
                  <a:pt x="0" y="114"/>
                </a:lnTo>
                <a:lnTo>
                  <a:pt x="0" y="101"/>
                </a:lnTo>
                <a:lnTo>
                  <a:pt x="7" y="92"/>
                </a:lnTo>
                <a:lnTo>
                  <a:pt x="16" y="104"/>
                </a:lnTo>
                <a:lnTo>
                  <a:pt x="24" y="100"/>
                </a:lnTo>
                <a:lnTo>
                  <a:pt x="21" y="86"/>
                </a:lnTo>
                <a:lnTo>
                  <a:pt x="42" y="67"/>
                </a:lnTo>
                <a:lnTo>
                  <a:pt x="61" y="71"/>
                </a:lnTo>
                <a:lnTo>
                  <a:pt x="78" y="76"/>
                </a:lnTo>
                <a:lnTo>
                  <a:pt x="91" y="86"/>
                </a:lnTo>
                <a:lnTo>
                  <a:pt x="99" y="86"/>
                </a:lnTo>
                <a:lnTo>
                  <a:pt x="110" y="90"/>
                </a:lnTo>
                <a:lnTo>
                  <a:pt x="115" y="81"/>
                </a:lnTo>
                <a:lnTo>
                  <a:pt x="144" y="81"/>
                </a:lnTo>
                <a:lnTo>
                  <a:pt x="147" y="85"/>
                </a:lnTo>
                <a:lnTo>
                  <a:pt x="153" y="90"/>
                </a:lnTo>
                <a:lnTo>
                  <a:pt x="155" y="90"/>
                </a:lnTo>
                <a:lnTo>
                  <a:pt x="158" y="90"/>
                </a:lnTo>
                <a:lnTo>
                  <a:pt x="163" y="90"/>
                </a:lnTo>
                <a:lnTo>
                  <a:pt x="168" y="90"/>
                </a:lnTo>
                <a:lnTo>
                  <a:pt x="182" y="87"/>
                </a:lnTo>
                <a:lnTo>
                  <a:pt x="184" y="76"/>
                </a:lnTo>
                <a:lnTo>
                  <a:pt x="161" y="66"/>
                </a:lnTo>
                <a:lnTo>
                  <a:pt x="166" y="59"/>
                </a:lnTo>
                <a:lnTo>
                  <a:pt x="167" y="49"/>
                </a:lnTo>
                <a:lnTo>
                  <a:pt x="181" y="44"/>
                </a:lnTo>
                <a:lnTo>
                  <a:pt x="168" y="38"/>
                </a:lnTo>
                <a:lnTo>
                  <a:pt x="163" y="26"/>
                </a:lnTo>
                <a:lnTo>
                  <a:pt x="184" y="26"/>
                </a:lnTo>
                <a:lnTo>
                  <a:pt x="244" y="10"/>
                </a:lnTo>
                <a:lnTo>
                  <a:pt x="253" y="0"/>
                </a:lnTo>
                <a:lnTo>
                  <a:pt x="278" y="4"/>
                </a:lnTo>
                <a:lnTo>
                  <a:pt x="288" y="23"/>
                </a:lnTo>
                <a:lnTo>
                  <a:pt x="320" y="28"/>
                </a:lnTo>
                <a:lnTo>
                  <a:pt x="319" y="36"/>
                </a:lnTo>
                <a:lnTo>
                  <a:pt x="333" y="36"/>
                </a:lnTo>
                <a:lnTo>
                  <a:pt x="350" y="20"/>
                </a:lnTo>
                <a:lnTo>
                  <a:pt x="358" y="20"/>
                </a:lnTo>
                <a:lnTo>
                  <a:pt x="356" y="29"/>
                </a:lnTo>
                <a:lnTo>
                  <a:pt x="373" y="36"/>
                </a:lnTo>
                <a:lnTo>
                  <a:pt x="419" y="86"/>
                </a:lnTo>
                <a:lnTo>
                  <a:pt x="426" y="87"/>
                </a:lnTo>
                <a:lnTo>
                  <a:pt x="426" y="78"/>
                </a:lnTo>
                <a:lnTo>
                  <a:pt x="436" y="80"/>
                </a:lnTo>
                <a:lnTo>
                  <a:pt x="439" y="87"/>
                </a:lnTo>
                <a:lnTo>
                  <a:pt x="456" y="91"/>
                </a:lnTo>
                <a:lnTo>
                  <a:pt x="461" y="83"/>
                </a:lnTo>
                <a:lnTo>
                  <a:pt x="481" y="99"/>
                </a:lnTo>
                <a:lnTo>
                  <a:pt x="497" y="110"/>
                </a:lnTo>
                <a:lnTo>
                  <a:pt x="515" y="113"/>
                </a:lnTo>
                <a:lnTo>
                  <a:pt x="509" y="117"/>
                </a:lnTo>
                <a:lnTo>
                  <a:pt x="491" y="136"/>
                </a:lnTo>
                <a:lnTo>
                  <a:pt x="501" y="149"/>
                </a:lnTo>
                <a:lnTo>
                  <a:pt x="496" y="155"/>
                </a:lnTo>
                <a:lnTo>
                  <a:pt x="488" y="160"/>
                </a:lnTo>
                <a:lnTo>
                  <a:pt x="481" y="160"/>
                </a:lnTo>
                <a:lnTo>
                  <a:pt x="469" y="155"/>
                </a:lnTo>
                <a:lnTo>
                  <a:pt x="472" y="168"/>
                </a:lnTo>
                <a:lnTo>
                  <a:pt x="471" y="183"/>
                </a:lnTo>
                <a:lnTo>
                  <a:pt x="471" y="192"/>
                </a:lnTo>
                <a:lnTo>
                  <a:pt x="465" y="195"/>
                </a:lnTo>
                <a:lnTo>
                  <a:pt x="449" y="190"/>
                </a:lnTo>
                <a:lnTo>
                  <a:pt x="452" y="199"/>
                </a:lnTo>
                <a:lnTo>
                  <a:pt x="461" y="221"/>
                </a:lnTo>
                <a:lnTo>
                  <a:pt x="462" y="234"/>
                </a:lnTo>
                <a:lnTo>
                  <a:pt x="457" y="247"/>
                </a:lnTo>
                <a:lnTo>
                  <a:pt x="445" y="240"/>
                </a:lnTo>
                <a:lnTo>
                  <a:pt x="434" y="240"/>
                </a:lnTo>
                <a:lnTo>
                  <a:pt x="415" y="240"/>
                </a:lnTo>
                <a:lnTo>
                  <a:pt x="405" y="240"/>
                </a:lnTo>
                <a:lnTo>
                  <a:pt x="386" y="233"/>
                </a:lnTo>
                <a:lnTo>
                  <a:pt x="378" y="239"/>
                </a:lnTo>
                <a:lnTo>
                  <a:pt x="378" y="247"/>
                </a:lnTo>
                <a:lnTo>
                  <a:pt x="359" y="240"/>
                </a:lnTo>
                <a:lnTo>
                  <a:pt x="349" y="242"/>
                </a:lnTo>
                <a:lnTo>
                  <a:pt x="349" y="255"/>
                </a:lnTo>
                <a:lnTo>
                  <a:pt x="343" y="253"/>
                </a:lnTo>
                <a:lnTo>
                  <a:pt x="325" y="269"/>
                </a:lnTo>
                <a:lnTo>
                  <a:pt x="320" y="277"/>
                </a:lnTo>
                <a:lnTo>
                  <a:pt x="320" y="284"/>
                </a:lnTo>
                <a:lnTo>
                  <a:pt x="314" y="280"/>
                </a:lnTo>
                <a:lnTo>
                  <a:pt x="312" y="273"/>
                </a:lnTo>
                <a:lnTo>
                  <a:pt x="295" y="274"/>
                </a:lnTo>
                <a:lnTo>
                  <a:pt x="290" y="257"/>
                </a:lnTo>
                <a:lnTo>
                  <a:pt x="283" y="257"/>
                </a:lnTo>
                <a:lnTo>
                  <a:pt x="280" y="243"/>
                </a:lnTo>
                <a:lnTo>
                  <a:pt x="260" y="224"/>
                </a:lnTo>
                <a:lnTo>
                  <a:pt x="221" y="228"/>
                </a:lnTo>
                <a:lnTo>
                  <a:pt x="204" y="207"/>
                </a:lnTo>
                <a:lnTo>
                  <a:pt x="167" y="187"/>
                </a:lnTo>
                <a:lnTo>
                  <a:pt x="136" y="198"/>
                </a:lnTo>
                <a:lnTo>
                  <a:pt x="147" y="269"/>
                </a:lnTo>
                <a:lnTo>
                  <a:pt x="139" y="269"/>
                </a:lnTo>
                <a:lnTo>
                  <a:pt x="126" y="253"/>
                </a:lnTo>
                <a:lnTo>
                  <a:pt x="115" y="250"/>
                </a:lnTo>
                <a:lnTo>
                  <a:pt x="105" y="25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81" name="Freeform 180">
            <a:extLst>
              <a:ext uri="{FF2B5EF4-FFF2-40B4-BE49-F238E27FC236}">
                <a16:creationId xmlns:a16="http://schemas.microsoft.com/office/drawing/2014/main" id="{A7ABBB10-2C7E-88F8-DE68-C2EAE7BC7C29}"/>
              </a:ext>
            </a:extLst>
          </p:cNvPr>
          <p:cNvSpPr>
            <a:spLocks/>
          </p:cNvSpPr>
          <p:nvPr/>
        </p:nvSpPr>
        <p:spPr bwMode="auto">
          <a:xfrm>
            <a:off x="7203450" y="3497109"/>
            <a:ext cx="188913" cy="87313"/>
          </a:xfrm>
          <a:custGeom>
            <a:avLst/>
            <a:gdLst>
              <a:gd name="T0" fmla="*/ 27 w 94"/>
              <a:gd name="T1" fmla="*/ 32 h 47"/>
              <a:gd name="T2" fmla="*/ 35 w 94"/>
              <a:gd name="T3" fmla="*/ 32 h 47"/>
              <a:gd name="T4" fmla="*/ 42 w 94"/>
              <a:gd name="T5" fmla="*/ 32 h 47"/>
              <a:gd name="T6" fmla="*/ 48 w 94"/>
              <a:gd name="T7" fmla="*/ 34 h 47"/>
              <a:gd name="T8" fmla="*/ 51 w 94"/>
              <a:gd name="T9" fmla="*/ 36 h 47"/>
              <a:gd name="T10" fmla="*/ 51 w 94"/>
              <a:gd name="T11" fmla="*/ 39 h 47"/>
              <a:gd name="T12" fmla="*/ 53 w 94"/>
              <a:gd name="T13" fmla="*/ 39 h 47"/>
              <a:gd name="T14" fmla="*/ 53 w 94"/>
              <a:gd name="T15" fmla="*/ 41 h 47"/>
              <a:gd name="T16" fmla="*/ 54 w 94"/>
              <a:gd name="T17" fmla="*/ 43 h 47"/>
              <a:gd name="T18" fmla="*/ 54 w 94"/>
              <a:gd name="T19" fmla="*/ 45 h 47"/>
              <a:gd name="T20" fmla="*/ 64 w 94"/>
              <a:gd name="T21" fmla="*/ 45 h 47"/>
              <a:gd name="T22" fmla="*/ 73 w 94"/>
              <a:gd name="T23" fmla="*/ 45 h 47"/>
              <a:gd name="T24" fmla="*/ 74 w 94"/>
              <a:gd name="T25" fmla="*/ 39 h 47"/>
              <a:gd name="T26" fmla="*/ 80 w 94"/>
              <a:gd name="T27" fmla="*/ 42 h 47"/>
              <a:gd name="T28" fmla="*/ 84 w 94"/>
              <a:gd name="T29" fmla="*/ 46 h 47"/>
              <a:gd name="T30" fmla="*/ 93 w 94"/>
              <a:gd name="T31" fmla="*/ 46 h 47"/>
              <a:gd name="T32" fmla="*/ 90 w 94"/>
              <a:gd name="T33" fmla="*/ 39 h 47"/>
              <a:gd name="T34" fmla="*/ 87 w 94"/>
              <a:gd name="T35" fmla="*/ 35 h 47"/>
              <a:gd name="T36" fmla="*/ 92 w 94"/>
              <a:gd name="T37" fmla="*/ 31 h 47"/>
              <a:gd name="T38" fmla="*/ 83 w 94"/>
              <a:gd name="T39" fmla="*/ 27 h 47"/>
              <a:gd name="T40" fmla="*/ 78 w 94"/>
              <a:gd name="T41" fmla="*/ 19 h 47"/>
              <a:gd name="T42" fmla="*/ 66 w 94"/>
              <a:gd name="T43" fmla="*/ 14 h 47"/>
              <a:gd name="T44" fmla="*/ 51 w 94"/>
              <a:gd name="T45" fmla="*/ 14 h 47"/>
              <a:gd name="T46" fmla="*/ 39 w 94"/>
              <a:gd name="T47" fmla="*/ 6 h 47"/>
              <a:gd name="T48" fmla="*/ 31 w 94"/>
              <a:gd name="T49" fmla="*/ 5 h 47"/>
              <a:gd name="T50" fmla="*/ 20 w 94"/>
              <a:gd name="T51" fmla="*/ 4 h 47"/>
              <a:gd name="T52" fmla="*/ 11 w 94"/>
              <a:gd name="T53" fmla="*/ 0 h 47"/>
              <a:gd name="T54" fmla="*/ 0 w 94"/>
              <a:gd name="T55" fmla="*/ 0 h 47"/>
              <a:gd name="T56" fmla="*/ 2 w 94"/>
              <a:gd name="T57" fmla="*/ 3 h 47"/>
              <a:gd name="T58" fmla="*/ 6 w 94"/>
              <a:gd name="T59" fmla="*/ 5 h 47"/>
              <a:gd name="T60" fmla="*/ 12 w 94"/>
              <a:gd name="T61" fmla="*/ 9 h 47"/>
              <a:gd name="T62" fmla="*/ 16 w 94"/>
              <a:gd name="T63" fmla="*/ 12 h 47"/>
              <a:gd name="T64" fmla="*/ 20 w 94"/>
              <a:gd name="T65" fmla="*/ 14 h 47"/>
              <a:gd name="T66" fmla="*/ 22 w 94"/>
              <a:gd name="T67" fmla="*/ 15 h 47"/>
              <a:gd name="T68" fmla="*/ 25 w 94"/>
              <a:gd name="T69" fmla="*/ 21 h 47"/>
              <a:gd name="T70" fmla="*/ 25 w 94"/>
              <a:gd name="T71" fmla="*/ 22 h 47"/>
              <a:gd name="T72" fmla="*/ 25 w 94"/>
              <a:gd name="T73" fmla="*/ 23 h 47"/>
              <a:gd name="T74" fmla="*/ 25 w 94"/>
              <a:gd name="T75" fmla="*/ 25 h 47"/>
              <a:gd name="T76" fmla="*/ 26 w 94"/>
              <a:gd name="T77" fmla="*/ 26 h 47"/>
              <a:gd name="T78" fmla="*/ 27 w 94"/>
              <a:gd name="T79" fmla="*/ 29 h 47"/>
              <a:gd name="T80" fmla="*/ 27 w 94"/>
              <a:gd name="T81" fmla="*/ 32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94" h="47">
                <a:moveTo>
                  <a:pt x="27" y="32"/>
                </a:moveTo>
                <a:lnTo>
                  <a:pt x="35" y="32"/>
                </a:lnTo>
                <a:lnTo>
                  <a:pt x="42" y="32"/>
                </a:lnTo>
                <a:lnTo>
                  <a:pt x="48" y="34"/>
                </a:lnTo>
                <a:lnTo>
                  <a:pt x="51" y="36"/>
                </a:lnTo>
                <a:lnTo>
                  <a:pt x="51" y="39"/>
                </a:lnTo>
                <a:lnTo>
                  <a:pt x="53" y="39"/>
                </a:lnTo>
                <a:lnTo>
                  <a:pt x="53" y="41"/>
                </a:lnTo>
                <a:lnTo>
                  <a:pt x="54" y="43"/>
                </a:lnTo>
                <a:lnTo>
                  <a:pt x="54" y="45"/>
                </a:lnTo>
                <a:lnTo>
                  <a:pt x="64" y="45"/>
                </a:lnTo>
                <a:lnTo>
                  <a:pt x="73" y="45"/>
                </a:lnTo>
                <a:lnTo>
                  <a:pt x="74" y="39"/>
                </a:lnTo>
                <a:lnTo>
                  <a:pt x="80" y="42"/>
                </a:lnTo>
                <a:lnTo>
                  <a:pt x="84" y="46"/>
                </a:lnTo>
                <a:lnTo>
                  <a:pt x="93" y="46"/>
                </a:lnTo>
                <a:lnTo>
                  <a:pt x="90" y="39"/>
                </a:lnTo>
                <a:lnTo>
                  <a:pt x="87" y="35"/>
                </a:lnTo>
                <a:lnTo>
                  <a:pt x="92" y="31"/>
                </a:lnTo>
                <a:lnTo>
                  <a:pt x="83" y="27"/>
                </a:lnTo>
                <a:lnTo>
                  <a:pt x="78" y="19"/>
                </a:lnTo>
                <a:lnTo>
                  <a:pt x="66" y="14"/>
                </a:lnTo>
                <a:lnTo>
                  <a:pt x="51" y="14"/>
                </a:lnTo>
                <a:lnTo>
                  <a:pt x="39" y="6"/>
                </a:lnTo>
                <a:lnTo>
                  <a:pt x="31" y="5"/>
                </a:lnTo>
                <a:lnTo>
                  <a:pt x="20" y="4"/>
                </a:lnTo>
                <a:lnTo>
                  <a:pt x="11" y="0"/>
                </a:lnTo>
                <a:lnTo>
                  <a:pt x="0" y="0"/>
                </a:lnTo>
                <a:lnTo>
                  <a:pt x="2" y="3"/>
                </a:lnTo>
                <a:lnTo>
                  <a:pt x="6" y="5"/>
                </a:lnTo>
                <a:lnTo>
                  <a:pt x="12" y="9"/>
                </a:lnTo>
                <a:lnTo>
                  <a:pt x="16" y="12"/>
                </a:lnTo>
                <a:lnTo>
                  <a:pt x="20" y="14"/>
                </a:lnTo>
                <a:lnTo>
                  <a:pt x="22" y="15"/>
                </a:lnTo>
                <a:lnTo>
                  <a:pt x="25" y="21"/>
                </a:lnTo>
                <a:lnTo>
                  <a:pt x="25" y="22"/>
                </a:lnTo>
                <a:lnTo>
                  <a:pt x="25" y="23"/>
                </a:lnTo>
                <a:lnTo>
                  <a:pt x="25" y="25"/>
                </a:lnTo>
                <a:lnTo>
                  <a:pt x="26" y="26"/>
                </a:lnTo>
                <a:lnTo>
                  <a:pt x="27" y="29"/>
                </a:lnTo>
                <a:lnTo>
                  <a:pt x="27" y="32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82" name="Freeform 181">
            <a:extLst>
              <a:ext uri="{FF2B5EF4-FFF2-40B4-BE49-F238E27FC236}">
                <a16:creationId xmlns:a16="http://schemas.microsoft.com/office/drawing/2014/main" id="{8101A01B-5DD2-B8FE-8366-6EA67A2C75AC}"/>
              </a:ext>
            </a:extLst>
          </p:cNvPr>
          <p:cNvSpPr>
            <a:spLocks/>
          </p:cNvSpPr>
          <p:nvPr/>
        </p:nvSpPr>
        <p:spPr bwMode="auto">
          <a:xfrm>
            <a:off x="7352675" y="3554259"/>
            <a:ext cx="134938" cy="119063"/>
          </a:xfrm>
          <a:custGeom>
            <a:avLst/>
            <a:gdLst>
              <a:gd name="T0" fmla="*/ 44 w 67"/>
              <a:gd name="T1" fmla="*/ 4 h 63"/>
              <a:gd name="T2" fmla="*/ 41 w 67"/>
              <a:gd name="T3" fmla="*/ 8 h 63"/>
              <a:gd name="T4" fmla="*/ 36 w 67"/>
              <a:gd name="T5" fmla="*/ 13 h 63"/>
              <a:gd name="T6" fmla="*/ 31 w 67"/>
              <a:gd name="T7" fmla="*/ 13 h 63"/>
              <a:gd name="T8" fmla="*/ 27 w 67"/>
              <a:gd name="T9" fmla="*/ 8 h 63"/>
              <a:gd name="T10" fmla="*/ 23 w 67"/>
              <a:gd name="T11" fmla="*/ 4 h 63"/>
              <a:gd name="T12" fmla="*/ 18 w 67"/>
              <a:gd name="T13" fmla="*/ 0 h 63"/>
              <a:gd name="T14" fmla="*/ 13 w 67"/>
              <a:gd name="T15" fmla="*/ 3 h 63"/>
              <a:gd name="T16" fmla="*/ 16 w 67"/>
              <a:gd name="T17" fmla="*/ 8 h 63"/>
              <a:gd name="T18" fmla="*/ 18 w 67"/>
              <a:gd name="T19" fmla="*/ 14 h 63"/>
              <a:gd name="T20" fmla="*/ 15 w 67"/>
              <a:gd name="T21" fmla="*/ 14 h 63"/>
              <a:gd name="T22" fmla="*/ 10 w 67"/>
              <a:gd name="T23" fmla="*/ 14 h 63"/>
              <a:gd name="T24" fmla="*/ 6 w 67"/>
              <a:gd name="T25" fmla="*/ 10 h 63"/>
              <a:gd name="T26" fmla="*/ 0 w 67"/>
              <a:gd name="T27" fmla="*/ 8 h 63"/>
              <a:gd name="T28" fmla="*/ 0 w 67"/>
              <a:gd name="T29" fmla="*/ 13 h 63"/>
              <a:gd name="T30" fmla="*/ 3 w 67"/>
              <a:gd name="T31" fmla="*/ 18 h 63"/>
              <a:gd name="T32" fmla="*/ 6 w 67"/>
              <a:gd name="T33" fmla="*/ 21 h 63"/>
              <a:gd name="T34" fmla="*/ 6 w 67"/>
              <a:gd name="T35" fmla="*/ 23 h 63"/>
              <a:gd name="T36" fmla="*/ 8 w 67"/>
              <a:gd name="T37" fmla="*/ 24 h 63"/>
              <a:gd name="T38" fmla="*/ 9 w 67"/>
              <a:gd name="T39" fmla="*/ 27 h 63"/>
              <a:gd name="T40" fmla="*/ 9 w 67"/>
              <a:gd name="T41" fmla="*/ 28 h 63"/>
              <a:gd name="T42" fmla="*/ 11 w 67"/>
              <a:gd name="T43" fmla="*/ 31 h 63"/>
              <a:gd name="T44" fmla="*/ 16 w 67"/>
              <a:gd name="T45" fmla="*/ 37 h 63"/>
              <a:gd name="T46" fmla="*/ 22 w 67"/>
              <a:gd name="T47" fmla="*/ 41 h 63"/>
              <a:gd name="T48" fmla="*/ 28 w 67"/>
              <a:gd name="T49" fmla="*/ 53 h 63"/>
              <a:gd name="T50" fmla="*/ 32 w 67"/>
              <a:gd name="T51" fmla="*/ 48 h 63"/>
              <a:gd name="T52" fmla="*/ 35 w 67"/>
              <a:gd name="T53" fmla="*/ 41 h 63"/>
              <a:gd name="T54" fmla="*/ 39 w 67"/>
              <a:gd name="T55" fmla="*/ 40 h 63"/>
              <a:gd name="T56" fmla="*/ 46 w 67"/>
              <a:gd name="T57" fmla="*/ 40 h 63"/>
              <a:gd name="T58" fmla="*/ 47 w 67"/>
              <a:gd name="T59" fmla="*/ 46 h 63"/>
              <a:gd name="T60" fmla="*/ 47 w 67"/>
              <a:gd name="T61" fmla="*/ 49 h 63"/>
              <a:gd name="T62" fmla="*/ 48 w 67"/>
              <a:gd name="T63" fmla="*/ 53 h 63"/>
              <a:gd name="T64" fmla="*/ 50 w 67"/>
              <a:gd name="T65" fmla="*/ 57 h 63"/>
              <a:gd name="T66" fmla="*/ 52 w 67"/>
              <a:gd name="T67" fmla="*/ 58 h 63"/>
              <a:gd name="T68" fmla="*/ 54 w 67"/>
              <a:gd name="T69" fmla="*/ 59 h 63"/>
              <a:gd name="T70" fmla="*/ 58 w 67"/>
              <a:gd name="T71" fmla="*/ 62 h 63"/>
              <a:gd name="T72" fmla="*/ 62 w 67"/>
              <a:gd name="T73" fmla="*/ 27 h 63"/>
              <a:gd name="T74" fmla="*/ 66 w 67"/>
              <a:gd name="T75" fmla="*/ 27 h 63"/>
              <a:gd name="T76" fmla="*/ 60 w 67"/>
              <a:gd name="T77" fmla="*/ 21 h 63"/>
              <a:gd name="T78" fmla="*/ 53 w 67"/>
              <a:gd name="T79" fmla="*/ 14 h 63"/>
              <a:gd name="T80" fmla="*/ 49 w 67"/>
              <a:gd name="T81" fmla="*/ 10 h 63"/>
              <a:gd name="T82" fmla="*/ 44 w 67"/>
              <a:gd name="T83" fmla="*/ 4 h 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67" h="63">
                <a:moveTo>
                  <a:pt x="44" y="4"/>
                </a:moveTo>
                <a:lnTo>
                  <a:pt x="41" y="8"/>
                </a:lnTo>
                <a:lnTo>
                  <a:pt x="36" y="13"/>
                </a:lnTo>
                <a:lnTo>
                  <a:pt x="31" y="13"/>
                </a:lnTo>
                <a:lnTo>
                  <a:pt x="27" y="8"/>
                </a:lnTo>
                <a:lnTo>
                  <a:pt x="23" y="4"/>
                </a:lnTo>
                <a:lnTo>
                  <a:pt x="18" y="0"/>
                </a:lnTo>
                <a:lnTo>
                  <a:pt x="13" y="3"/>
                </a:lnTo>
                <a:lnTo>
                  <a:pt x="16" y="8"/>
                </a:lnTo>
                <a:lnTo>
                  <a:pt x="18" y="14"/>
                </a:lnTo>
                <a:lnTo>
                  <a:pt x="15" y="14"/>
                </a:lnTo>
                <a:lnTo>
                  <a:pt x="10" y="14"/>
                </a:lnTo>
                <a:lnTo>
                  <a:pt x="6" y="10"/>
                </a:lnTo>
                <a:lnTo>
                  <a:pt x="0" y="8"/>
                </a:lnTo>
                <a:lnTo>
                  <a:pt x="0" y="13"/>
                </a:lnTo>
                <a:lnTo>
                  <a:pt x="3" y="18"/>
                </a:lnTo>
                <a:lnTo>
                  <a:pt x="6" y="21"/>
                </a:lnTo>
                <a:lnTo>
                  <a:pt x="6" y="23"/>
                </a:lnTo>
                <a:lnTo>
                  <a:pt x="8" y="24"/>
                </a:lnTo>
                <a:lnTo>
                  <a:pt x="9" y="27"/>
                </a:lnTo>
                <a:lnTo>
                  <a:pt x="9" y="28"/>
                </a:lnTo>
                <a:lnTo>
                  <a:pt x="11" y="31"/>
                </a:lnTo>
                <a:lnTo>
                  <a:pt x="16" y="37"/>
                </a:lnTo>
                <a:lnTo>
                  <a:pt x="22" y="41"/>
                </a:lnTo>
                <a:lnTo>
                  <a:pt x="28" y="53"/>
                </a:lnTo>
                <a:lnTo>
                  <a:pt x="32" y="48"/>
                </a:lnTo>
                <a:lnTo>
                  <a:pt x="35" y="41"/>
                </a:lnTo>
                <a:lnTo>
                  <a:pt x="39" y="40"/>
                </a:lnTo>
                <a:lnTo>
                  <a:pt x="46" y="40"/>
                </a:lnTo>
                <a:lnTo>
                  <a:pt x="47" y="46"/>
                </a:lnTo>
                <a:lnTo>
                  <a:pt x="47" y="49"/>
                </a:lnTo>
                <a:lnTo>
                  <a:pt x="48" y="53"/>
                </a:lnTo>
                <a:lnTo>
                  <a:pt x="50" y="57"/>
                </a:lnTo>
                <a:lnTo>
                  <a:pt x="52" y="58"/>
                </a:lnTo>
                <a:lnTo>
                  <a:pt x="54" y="59"/>
                </a:lnTo>
                <a:lnTo>
                  <a:pt x="58" y="62"/>
                </a:lnTo>
                <a:lnTo>
                  <a:pt x="62" y="27"/>
                </a:lnTo>
                <a:lnTo>
                  <a:pt x="66" y="27"/>
                </a:lnTo>
                <a:lnTo>
                  <a:pt x="60" y="21"/>
                </a:lnTo>
                <a:lnTo>
                  <a:pt x="53" y="14"/>
                </a:lnTo>
                <a:lnTo>
                  <a:pt x="49" y="10"/>
                </a:lnTo>
                <a:lnTo>
                  <a:pt x="44" y="4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83" name="Freeform 182">
            <a:extLst>
              <a:ext uri="{FF2B5EF4-FFF2-40B4-BE49-F238E27FC236}">
                <a16:creationId xmlns:a16="http://schemas.microsoft.com/office/drawing/2014/main" id="{6D4A6150-9E7F-A69E-484E-D00D3E4C254A}"/>
              </a:ext>
            </a:extLst>
          </p:cNvPr>
          <p:cNvSpPr>
            <a:spLocks/>
          </p:cNvSpPr>
          <p:nvPr/>
        </p:nvSpPr>
        <p:spPr bwMode="auto">
          <a:xfrm>
            <a:off x="7357438" y="3638396"/>
            <a:ext cx="41275" cy="31750"/>
          </a:xfrm>
          <a:custGeom>
            <a:avLst/>
            <a:gdLst>
              <a:gd name="T0" fmla="*/ 0 w 21"/>
              <a:gd name="T1" fmla="*/ 1 h 17"/>
              <a:gd name="T2" fmla="*/ 6 w 21"/>
              <a:gd name="T3" fmla="*/ 0 h 17"/>
              <a:gd name="T4" fmla="*/ 11 w 21"/>
              <a:gd name="T5" fmla="*/ 4 h 17"/>
              <a:gd name="T6" fmla="*/ 20 w 21"/>
              <a:gd name="T7" fmla="*/ 14 h 17"/>
              <a:gd name="T8" fmla="*/ 14 w 21"/>
              <a:gd name="T9" fmla="*/ 16 h 17"/>
              <a:gd name="T10" fmla="*/ 9 w 21"/>
              <a:gd name="T11" fmla="*/ 14 h 17"/>
              <a:gd name="T12" fmla="*/ 4 w 21"/>
              <a:gd name="T13" fmla="*/ 9 h 17"/>
              <a:gd name="T14" fmla="*/ 0 w 21"/>
              <a:gd name="T15" fmla="*/ 1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" h="17">
                <a:moveTo>
                  <a:pt x="0" y="1"/>
                </a:moveTo>
                <a:lnTo>
                  <a:pt x="6" y="0"/>
                </a:lnTo>
                <a:lnTo>
                  <a:pt x="11" y="4"/>
                </a:lnTo>
                <a:lnTo>
                  <a:pt x="20" y="14"/>
                </a:lnTo>
                <a:lnTo>
                  <a:pt x="14" y="16"/>
                </a:lnTo>
                <a:lnTo>
                  <a:pt x="9" y="14"/>
                </a:lnTo>
                <a:lnTo>
                  <a:pt x="4" y="9"/>
                </a:lnTo>
                <a:lnTo>
                  <a:pt x="0" y="1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84" name="Freeform 183">
            <a:extLst>
              <a:ext uri="{FF2B5EF4-FFF2-40B4-BE49-F238E27FC236}">
                <a16:creationId xmlns:a16="http://schemas.microsoft.com/office/drawing/2014/main" id="{77C8D357-08DF-CCF7-CBA4-5FE6D7F0E3BC}"/>
              </a:ext>
            </a:extLst>
          </p:cNvPr>
          <p:cNvSpPr>
            <a:spLocks/>
          </p:cNvSpPr>
          <p:nvPr/>
        </p:nvSpPr>
        <p:spPr bwMode="auto">
          <a:xfrm>
            <a:off x="7311400" y="3579659"/>
            <a:ext cx="100013" cy="85725"/>
          </a:xfrm>
          <a:custGeom>
            <a:avLst/>
            <a:gdLst>
              <a:gd name="T0" fmla="*/ 0 w 49"/>
              <a:gd name="T1" fmla="*/ 0 h 45"/>
              <a:gd name="T2" fmla="*/ 19 w 49"/>
              <a:gd name="T3" fmla="*/ 0 h 45"/>
              <a:gd name="T4" fmla="*/ 23 w 49"/>
              <a:gd name="T5" fmla="*/ 4 h 45"/>
              <a:gd name="T6" fmla="*/ 25 w 49"/>
              <a:gd name="T7" fmla="*/ 5 h 45"/>
              <a:gd name="T8" fmla="*/ 25 w 49"/>
              <a:gd name="T9" fmla="*/ 7 h 45"/>
              <a:gd name="T10" fmla="*/ 26 w 49"/>
              <a:gd name="T11" fmla="*/ 8 h 45"/>
              <a:gd name="T12" fmla="*/ 28 w 49"/>
              <a:gd name="T13" fmla="*/ 16 h 45"/>
              <a:gd name="T14" fmla="*/ 33 w 49"/>
              <a:gd name="T15" fmla="*/ 21 h 45"/>
              <a:gd name="T16" fmla="*/ 36 w 49"/>
              <a:gd name="T17" fmla="*/ 23 h 45"/>
              <a:gd name="T18" fmla="*/ 42 w 49"/>
              <a:gd name="T19" fmla="*/ 27 h 45"/>
              <a:gd name="T20" fmla="*/ 48 w 49"/>
              <a:gd name="T21" fmla="*/ 40 h 45"/>
              <a:gd name="T22" fmla="*/ 41 w 49"/>
              <a:gd name="T23" fmla="*/ 44 h 45"/>
              <a:gd name="T24" fmla="*/ 38 w 49"/>
              <a:gd name="T25" fmla="*/ 39 h 45"/>
              <a:gd name="T26" fmla="*/ 34 w 49"/>
              <a:gd name="T27" fmla="*/ 35 h 45"/>
              <a:gd name="T28" fmla="*/ 28 w 49"/>
              <a:gd name="T29" fmla="*/ 31 h 45"/>
              <a:gd name="T30" fmla="*/ 22 w 49"/>
              <a:gd name="T31" fmla="*/ 33 h 45"/>
              <a:gd name="T32" fmla="*/ 19 w 49"/>
              <a:gd name="T33" fmla="*/ 26 h 45"/>
              <a:gd name="T34" fmla="*/ 15 w 49"/>
              <a:gd name="T35" fmla="*/ 22 h 45"/>
              <a:gd name="T36" fmla="*/ 10 w 49"/>
              <a:gd name="T37" fmla="*/ 18 h 45"/>
              <a:gd name="T38" fmla="*/ 2 w 49"/>
              <a:gd name="T39" fmla="*/ 17 h 45"/>
              <a:gd name="T40" fmla="*/ 2 w 49"/>
              <a:gd name="T41" fmla="*/ 9 h 45"/>
              <a:gd name="T42" fmla="*/ 0 w 49"/>
              <a:gd name="T43" fmla="*/ 0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9" h="45">
                <a:moveTo>
                  <a:pt x="0" y="0"/>
                </a:moveTo>
                <a:lnTo>
                  <a:pt x="19" y="0"/>
                </a:lnTo>
                <a:lnTo>
                  <a:pt x="23" y="4"/>
                </a:lnTo>
                <a:lnTo>
                  <a:pt x="25" y="5"/>
                </a:lnTo>
                <a:lnTo>
                  <a:pt x="25" y="7"/>
                </a:lnTo>
                <a:lnTo>
                  <a:pt x="26" y="8"/>
                </a:lnTo>
                <a:lnTo>
                  <a:pt x="28" y="16"/>
                </a:lnTo>
                <a:lnTo>
                  <a:pt x="33" y="21"/>
                </a:lnTo>
                <a:lnTo>
                  <a:pt x="36" y="23"/>
                </a:lnTo>
                <a:lnTo>
                  <a:pt x="42" y="27"/>
                </a:lnTo>
                <a:lnTo>
                  <a:pt x="48" y="40"/>
                </a:lnTo>
                <a:lnTo>
                  <a:pt x="41" y="44"/>
                </a:lnTo>
                <a:lnTo>
                  <a:pt x="38" y="39"/>
                </a:lnTo>
                <a:lnTo>
                  <a:pt x="34" y="35"/>
                </a:lnTo>
                <a:lnTo>
                  <a:pt x="28" y="31"/>
                </a:lnTo>
                <a:lnTo>
                  <a:pt x="22" y="33"/>
                </a:lnTo>
                <a:lnTo>
                  <a:pt x="19" y="26"/>
                </a:lnTo>
                <a:lnTo>
                  <a:pt x="15" y="22"/>
                </a:lnTo>
                <a:lnTo>
                  <a:pt x="10" y="18"/>
                </a:lnTo>
                <a:lnTo>
                  <a:pt x="2" y="17"/>
                </a:lnTo>
                <a:lnTo>
                  <a:pt x="2" y="9"/>
                </a:lnTo>
                <a:lnTo>
                  <a:pt x="0" y="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85" name="Freeform 184">
            <a:extLst>
              <a:ext uri="{FF2B5EF4-FFF2-40B4-BE49-F238E27FC236}">
                <a16:creationId xmlns:a16="http://schemas.microsoft.com/office/drawing/2014/main" id="{3FBAD214-6B16-56CD-CF4E-D1BD0AF5CA56}"/>
              </a:ext>
            </a:extLst>
          </p:cNvPr>
          <p:cNvSpPr>
            <a:spLocks/>
          </p:cNvSpPr>
          <p:nvPr/>
        </p:nvSpPr>
        <p:spPr bwMode="auto">
          <a:xfrm>
            <a:off x="6749425" y="2396971"/>
            <a:ext cx="3594100" cy="1182688"/>
          </a:xfrm>
          <a:custGeom>
            <a:avLst/>
            <a:gdLst>
              <a:gd name="T0" fmla="*/ 927 w 1781"/>
              <a:gd name="T1" fmla="*/ 467 h 633"/>
              <a:gd name="T2" fmla="*/ 931 w 1781"/>
              <a:gd name="T3" fmla="*/ 429 h 633"/>
              <a:gd name="T4" fmla="*/ 1005 w 1781"/>
              <a:gd name="T5" fmla="*/ 456 h 633"/>
              <a:gd name="T6" fmla="*/ 1107 w 1781"/>
              <a:gd name="T7" fmla="*/ 478 h 633"/>
              <a:gd name="T8" fmla="*/ 1191 w 1781"/>
              <a:gd name="T9" fmla="*/ 472 h 633"/>
              <a:gd name="T10" fmla="*/ 1189 w 1781"/>
              <a:gd name="T11" fmla="*/ 409 h 633"/>
              <a:gd name="T12" fmla="*/ 1274 w 1781"/>
              <a:gd name="T13" fmla="*/ 427 h 633"/>
              <a:gd name="T14" fmla="*/ 1379 w 1781"/>
              <a:gd name="T15" fmla="*/ 506 h 633"/>
              <a:gd name="T16" fmla="*/ 1430 w 1781"/>
              <a:gd name="T17" fmla="*/ 544 h 633"/>
              <a:gd name="T18" fmla="*/ 1437 w 1781"/>
              <a:gd name="T19" fmla="*/ 600 h 633"/>
              <a:gd name="T20" fmla="*/ 1486 w 1781"/>
              <a:gd name="T21" fmla="*/ 539 h 633"/>
              <a:gd name="T22" fmla="*/ 1421 w 1781"/>
              <a:gd name="T23" fmla="*/ 393 h 633"/>
              <a:gd name="T24" fmla="*/ 1368 w 1781"/>
              <a:gd name="T25" fmla="*/ 371 h 633"/>
              <a:gd name="T26" fmla="*/ 1370 w 1781"/>
              <a:gd name="T27" fmla="*/ 306 h 633"/>
              <a:gd name="T28" fmla="*/ 1490 w 1781"/>
              <a:gd name="T29" fmla="*/ 309 h 633"/>
              <a:gd name="T30" fmla="*/ 1497 w 1781"/>
              <a:gd name="T31" fmla="*/ 260 h 633"/>
              <a:gd name="T32" fmla="*/ 1558 w 1781"/>
              <a:gd name="T33" fmla="*/ 246 h 633"/>
              <a:gd name="T34" fmla="*/ 1566 w 1781"/>
              <a:gd name="T35" fmla="*/ 335 h 633"/>
              <a:gd name="T36" fmla="*/ 1671 w 1781"/>
              <a:gd name="T37" fmla="*/ 432 h 633"/>
              <a:gd name="T38" fmla="*/ 1663 w 1781"/>
              <a:gd name="T39" fmla="*/ 385 h 633"/>
              <a:gd name="T40" fmla="*/ 1659 w 1781"/>
              <a:gd name="T41" fmla="*/ 345 h 633"/>
              <a:gd name="T42" fmla="*/ 1651 w 1781"/>
              <a:gd name="T43" fmla="*/ 276 h 633"/>
              <a:gd name="T44" fmla="*/ 1687 w 1781"/>
              <a:gd name="T45" fmla="*/ 213 h 633"/>
              <a:gd name="T46" fmla="*/ 1727 w 1781"/>
              <a:gd name="T47" fmla="*/ 193 h 633"/>
              <a:gd name="T48" fmla="*/ 1762 w 1781"/>
              <a:gd name="T49" fmla="*/ 176 h 633"/>
              <a:gd name="T50" fmla="*/ 1631 w 1781"/>
              <a:gd name="T51" fmla="*/ 134 h 633"/>
              <a:gd name="T52" fmla="*/ 1496 w 1781"/>
              <a:gd name="T53" fmla="*/ 127 h 633"/>
              <a:gd name="T54" fmla="*/ 1374 w 1781"/>
              <a:gd name="T55" fmla="*/ 114 h 633"/>
              <a:gd name="T56" fmla="*/ 1262 w 1781"/>
              <a:gd name="T57" fmla="*/ 98 h 633"/>
              <a:gd name="T58" fmla="*/ 1195 w 1781"/>
              <a:gd name="T59" fmla="*/ 80 h 633"/>
              <a:gd name="T60" fmla="*/ 1120 w 1781"/>
              <a:gd name="T61" fmla="*/ 87 h 633"/>
              <a:gd name="T62" fmla="*/ 989 w 1781"/>
              <a:gd name="T63" fmla="*/ 72 h 633"/>
              <a:gd name="T64" fmla="*/ 784 w 1781"/>
              <a:gd name="T65" fmla="*/ 53 h 633"/>
              <a:gd name="T66" fmla="*/ 690 w 1781"/>
              <a:gd name="T67" fmla="*/ 0 h 633"/>
              <a:gd name="T68" fmla="*/ 587 w 1781"/>
              <a:gd name="T69" fmla="*/ 22 h 633"/>
              <a:gd name="T70" fmla="*/ 524 w 1781"/>
              <a:gd name="T71" fmla="*/ 55 h 633"/>
              <a:gd name="T72" fmla="*/ 484 w 1781"/>
              <a:gd name="T73" fmla="*/ 92 h 633"/>
              <a:gd name="T74" fmla="*/ 469 w 1781"/>
              <a:gd name="T75" fmla="*/ 126 h 633"/>
              <a:gd name="T76" fmla="*/ 403 w 1781"/>
              <a:gd name="T77" fmla="*/ 67 h 633"/>
              <a:gd name="T78" fmla="*/ 416 w 1781"/>
              <a:gd name="T79" fmla="*/ 128 h 633"/>
              <a:gd name="T80" fmla="*/ 366 w 1781"/>
              <a:gd name="T81" fmla="*/ 120 h 633"/>
              <a:gd name="T82" fmla="*/ 296 w 1781"/>
              <a:gd name="T83" fmla="*/ 134 h 633"/>
              <a:gd name="T84" fmla="*/ 214 w 1781"/>
              <a:gd name="T85" fmla="*/ 157 h 633"/>
              <a:gd name="T86" fmla="*/ 167 w 1781"/>
              <a:gd name="T87" fmla="*/ 172 h 633"/>
              <a:gd name="T88" fmla="*/ 113 w 1781"/>
              <a:gd name="T89" fmla="*/ 218 h 633"/>
              <a:gd name="T90" fmla="*/ 121 w 1781"/>
              <a:gd name="T91" fmla="*/ 179 h 633"/>
              <a:gd name="T92" fmla="*/ 69 w 1781"/>
              <a:gd name="T93" fmla="*/ 131 h 633"/>
              <a:gd name="T94" fmla="*/ 6 w 1781"/>
              <a:gd name="T95" fmla="*/ 148 h 633"/>
              <a:gd name="T96" fmla="*/ 21 w 1781"/>
              <a:gd name="T97" fmla="*/ 167 h 633"/>
              <a:gd name="T98" fmla="*/ 44 w 1781"/>
              <a:gd name="T99" fmla="*/ 230 h 633"/>
              <a:gd name="T100" fmla="*/ 24 w 1781"/>
              <a:gd name="T101" fmla="*/ 292 h 633"/>
              <a:gd name="T102" fmla="*/ 71 w 1781"/>
              <a:gd name="T103" fmla="*/ 351 h 633"/>
              <a:gd name="T104" fmla="*/ 118 w 1781"/>
              <a:gd name="T105" fmla="*/ 416 h 633"/>
              <a:gd name="T106" fmla="*/ 213 w 1781"/>
              <a:gd name="T107" fmla="*/ 478 h 633"/>
              <a:gd name="T108" fmla="*/ 187 w 1781"/>
              <a:gd name="T109" fmla="*/ 566 h 633"/>
              <a:gd name="T110" fmla="*/ 315 w 1781"/>
              <a:gd name="T111" fmla="*/ 618 h 633"/>
              <a:gd name="T112" fmla="*/ 322 w 1781"/>
              <a:gd name="T113" fmla="*/ 583 h 633"/>
              <a:gd name="T114" fmla="*/ 330 w 1781"/>
              <a:gd name="T115" fmla="*/ 517 h 633"/>
              <a:gd name="T116" fmla="*/ 325 w 1781"/>
              <a:gd name="T117" fmla="*/ 462 h 633"/>
              <a:gd name="T118" fmla="*/ 464 w 1781"/>
              <a:gd name="T119" fmla="*/ 389 h 633"/>
              <a:gd name="T120" fmla="*/ 755 w 1781"/>
              <a:gd name="T121" fmla="*/ 454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781" h="633">
                <a:moveTo>
                  <a:pt x="816" y="476"/>
                </a:moveTo>
                <a:lnTo>
                  <a:pt x="825" y="467"/>
                </a:lnTo>
                <a:lnTo>
                  <a:pt x="830" y="462"/>
                </a:lnTo>
                <a:lnTo>
                  <a:pt x="835" y="458"/>
                </a:lnTo>
                <a:lnTo>
                  <a:pt x="841" y="456"/>
                </a:lnTo>
                <a:lnTo>
                  <a:pt x="847" y="453"/>
                </a:lnTo>
                <a:lnTo>
                  <a:pt x="852" y="451"/>
                </a:lnTo>
                <a:lnTo>
                  <a:pt x="855" y="451"/>
                </a:lnTo>
                <a:lnTo>
                  <a:pt x="857" y="451"/>
                </a:lnTo>
                <a:lnTo>
                  <a:pt x="865" y="452"/>
                </a:lnTo>
                <a:lnTo>
                  <a:pt x="873" y="454"/>
                </a:lnTo>
                <a:lnTo>
                  <a:pt x="880" y="457"/>
                </a:lnTo>
                <a:lnTo>
                  <a:pt x="887" y="459"/>
                </a:lnTo>
                <a:lnTo>
                  <a:pt x="896" y="463"/>
                </a:lnTo>
                <a:lnTo>
                  <a:pt x="904" y="466"/>
                </a:lnTo>
                <a:lnTo>
                  <a:pt x="913" y="467"/>
                </a:lnTo>
                <a:lnTo>
                  <a:pt x="923" y="469"/>
                </a:lnTo>
                <a:lnTo>
                  <a:pt x="927" y="467"/>
                </a:lnTo>
                <a:lnTo>
                  <a:pt x="932" y="467"/>
                </a:lnTo>
                <a:lnTo>
                  <a:pt x="933" y="465"/>
                </a:lnTo>
                <a:lnTo>
                  <a:pt x="935" y="464"/>
                </a:lnTo>
                <a:lnTo>
                  <a:pt x="936" y="462"/>
                </a:lnTo>
                <a:lnTo>
                  <a:pt x="936" y="459"/>
                </a:lnTo>
                <a:lnTo>
                  <a:pt x="936" y="456"/>
                </a:lnTo>
                <a:lnTo>
                  <a:pt x="933" y="453"/>
                </a:lnTo>
                <a:lnTo>
                  <a:pt x="932" y="449"/>
                </a:lnTo>
                <a:lnTo>
                  <a:pt x="930" y="447"/>
                </a:lnTo>
                <a:lnTo>
                  <a:pt x="927" y="444"/>
                </a:lnTo>
                <a:lnTo>
                  <a:pt x="926" y="441"/>
                </a:lnTo>
                <a:lnTo>
                  <a:pt x="924" y="439"/>
                </a:lnTo>
                <a:lnTo>
                  <a:pt x="923" y="437"/>
                </a:lnTo>
                <a:lnTo>
                  <a:pt x="923" y="434"/>
                </a:lnTo>
                <a:lnTo>
                  <a:pt x="923" y="431"/>
                </a:lnTo>
                <a:lnTo>
                  <a:pt x="926" y="431"/>
                </a:lnTo>
                <a:lnTo>
                  <a:pt x="927" y="430"/>
                </a:lnTo>
                <a:lnTo>
                  <a:pt x="931" y="429"/>
                </a:lnTo>
                <a:lnTo>
                  <a:pt x="938" y="429"/>
                </a:lnTo>
                <a:lnTo>
                  <a:pt x="946" y="430"/>
                </a:lnTo>
                <a:lnTo>
                  <a:pt x="955" y="431"/>
                </a:lnTo>
                <a:lnTo>
                  <a:pt x="964" y="434"/>
                </a:lnTo>
                <a:lnTo>
                  <a:pt x="971" y="435"/>
                </a:lnTo>
                <a:lnTo>
                  <a:pt x="973" y="436"/>
                </a:lnTo>
                <a:lnTo>
                  <a:pt x="976" y="439"/>
                </a:lnTo>
                <a:lnTo>
                  <a:pt x="978" y="443"/>
                </a:lnTo>
                <a:lnTo>
                  <a:pt x="981" y="447"/>
                </a:lnTo>
                <a:lnTo>
                  <a:pt x="982" y="451"/>
                </a:lnTo>
                <a:lnTo>
                  <a:pt x="985" y="453"/>
                </a:lnTo>
                <a:lnTo>
                  <a:pt x="986" y="454"/>
                </a:lnTo>
                <a:lnTo>
                  <a:pt x="990" y="457"/>
                </a:lnTo>
                <a:lnTo>
                  <a:pt x="992" y="457"/>
                </a:lnTo>
                <a:lnTo>
                  <a:pt x="995" y="457"/>
                </a:lnTo>
                <a:lnTo>
                  <a:pt x="998" y="457"/>
                </a:lnTo>
                <a:lnTo>
                  <a:pt x="1002" y="457"/>
                </a:lnTo>
                <a:lnTo>
                  <a:pt x="1005" y="456"/>
                </a:lnTo>
                <a:lnTo>
                  <a:pt x="1008" y="454"/>
                </a:lnTo>
                <a:lnTo>
                  <a:pt x="1015" y="454"/>
                </a:lnTo>
                <a:lnTo>
                  <a:pt x="1021" y="454"/>
                </a:lnTo>
                <a:lnTo>
                  <a:pt x="1027" y="456"/>
                </a:lnTo>
                <a:lnTo>
                  <a:pt x="1033" y="457"/>
                </a:lnTo>
                <a:lnTo>
                  <a:pt x="1038" y="459"/>
                </a:lnTo>
                <a:lnTo>
                  <a:pt x="1044" y="461"/>
                </a:lnTo>
                <a:lnTo>
                  <a:pt x="1049" y="464"/>
                </a:lnTo>
                <a:lnTo>
                  <a:pt x="1061" y="470"/>
                </a:lnTo>
                <a:lnTo>
                  <a:pt x="1066" y="472"/>
                </a:lnTo>
                <a:lnTo>
                  <a:pt x="1071" y="475"/>
                </a:lnTo>
                <a:lnTo>
                  <a:pt x="1077" y="477"/>
                </a:lnTo>
                <a:lnTo>
                  <a:pt x="1084" y="479"/>
                </a:lnTo>
                <a:lnTo>
                  <a:pt x="1091" y="480"/>
                </a:lnTo>
                <a:lnTo>
                  <a:pt x="1097" y="480"/>
                </a:lnTo>
                <a:lnTo>
                  <a:pt x="1101" y="480"/>
                </a:lnTo>
                <a:lnTo>
                  <a:pt x="1104" y="479"/>
                </a:lnTo>
                <a:lnTo>
                  <a:pt x="1107" y="478"/>
                </a:lnTo>
                <a:lnTo>
                  <a:pt x="1110" y="477"/>
                </a:lnTo>
                <a:lnTo>
                  <a:pt x="1116" y="474"/>
                </a:lnTo>
                <a:lnTo>
                  <a:pt x="1122" y="470"/>
                </a:lnTo>
                <a:lnTo>
                  <a:pt x="1127" y="466"/>
                </a:lnTo>
                <a:lnTo>
                  <a:pt x="1131" y="463"/>
                </a:lnTo>
                <a:lnTo>
                  <a:pt x="1133" y="461"/>
                </a:lnTo>
                <a:lnTo>
                  <a:pt x="1137" y="460"/>
                </a:lnTo>
                <a:lnTo>
                  <a:pt x="1140" y="460"/>
                </a:lnTo>
                <a:lnTo>
                  <a:pt x="1142" y="459"/>
                </a:lnTo>
                <a:lnTo>
                  <a:pt x="1146" y="460"/>
                </a:lnTo>
                <a:lnTo>
                  <a:pt x="1150" y="461"/>
                </a:lnTo>
                <a:lnTo>
                  <a:pt x="1160" y="464"/>
                </a:lnTo>
                <a:lnTo>
                  <a:pt x="1170" y="467"/>
                </a:lnTo>
                <a:lnTo>
                  <a:pt x="1176" y="470"/>
                </a:lnTo>
                <a:lnTo>
                  <a:pt x="1180" y="470"/>
                </a:lnTo>
                <a:lnTo>
                  <a:pt x="1185" y="472"/>
                </a:lnTo>
                <a:lnTo>
                  <a:pt x="1189" y="472"/>
                </a:lnTo>
                <a:lnTo>
                  <a:pt x="1191" y="472"/>
                </a:lnTo>
                <a:lnTo>
                  <a:pt x="1193" y="472"/>
                </a:lnTo>
                <a:lnTo>
                  <a:pt x="1196" y="470"/>
                </a:lnTo>
                <a:lnTo>
                  <a:pt x="1198" y="470"/>
                </a:lnTo>
                <a:lnTo>
                  <a:pt x="1199" y="469"/>
                </a:lnTo>
                <a:lnTo>
                  <a:pt x="1200" y="465"/>
                </a:lnTo>
                <a:lnTo>
                  <a:pt x="1200" y="463"/>
                </a:lnTo>
                <a:lnTo>
                  <a:pt x="1201" y="460"/>
                </a:lnTo>
                <a:lnTo>
                  <a:pt x="1200" y="454"/>
                </a:lnTo>
                <a:lnTo>
                  <a:pt x="1199" y="444"/>
                </a:lnTo>
                <a:lnTo>
                  <a:pt x="1196" y="432"/>
                </a:lnTo>
                <a:lnTo>
                  <a:pt x="1195" y="427"/>
                </a:lnTo>
                <a:lnTo>
                  <a:pt x="1192" y="424"/>
                </a:lnTo>
                <a:lnTo>
                  <a:pt x="1189" y="421"/>
                </a:lnTo>
                <a:lnTo>
                  <a:pt x="1187" y="420"/>
                </a:lnTo>
                <a:lnTo>
                  <a:pt x="1186" y="418"/>
                </a:lnTo>
                <a:lnTo>
                  <a:pt x="1186" y="414"/>
                </a:lnTo>
                <a:lnTo>
                  <a:pt x="1189" y="411"/>
                </a:lnTo>
                <a:lnTo>
                  <a:pt x="1189" y="409"/>
                </a:lnTo>
                <a:lnTo>
                  <a:pt x="1191" y="408"/>
                </a:lnTo>
                <a:lnTo>
                  <a:pt x="1192" y="407"/>
                </a:lnTo>
                <a:lnTo>
                  <a:pt x="1195" y="405"/>
                </a:lnTo>
                <a:lnTo>
                  <a:pt x="1196" y="404"/>
                </a:lnTo>
                <a:lnTo>
                  <a:pt x="1199" y="404"/>
                </a:lnTo>
                <a:lnTo>
                  <a:pt x="1201" y="403"/>
                </a:lnTo>
                <a:lnTo>
                  <a:pt x="1206" y="402"/>
                </a:lnTo>
                <a:lnTo>
                  <a:pt x="1212" y="401"/>
                </a:lnTo>
                <a:lnTo>
                  <a:pt x="1218" y="401"/>
                </a:lnTo>
                <a:lnTo>
                  <a:pt x="1227" y="402"/>
                </a:lnTo>
                <a:lnTo>
                  <a:pt x="1232" y="403"/>
                </a:lnTo>
                <a:lnTo>
                  <a:pt x="1236" y="404"/>
                </a:lnTo>
                <a:lnTo>
                  <a:pt x="1243" y="405"/>
                </a:lnTo>
                <a:lnTo>
                  <a:pt x="1250" y="408"/>
                </a:lnTo>
                <a:lnTo>
                  <a:pt x="1257" y="413"/>
                </a:lnTo>
                <a:lnTo>
                  <a:pt x="1262" y="417"/>
                </a:lnTo>
                <a:lnTo>
                  <a:pt x="1268" y="421"/>
                </a:lnTo>
                <a:lnTo>
                  <a:pt x="1274" y="427"/>
                </a:lnTo>
                <a:lnTo>
                  <a:pt x="1278" y="431"/>
                </a:lnTo>
                <a:lnTo>
                  <a:pt x="1283" y="437"/>
                </a:lnTo>
                <a:lnTo>
                  <a:pt x="1293" y="448"/>
                </a:lnTo>
                <a:lnTo>
                  <a:pt x="1298" y="453"/>
                </a:lnTo>
                <a:lnTo>
                  <a:pt x="1302" y="457"/>
                </a:lnTo>
                <a:lnTo>
                  <a:pt x="1308" y="462"/>
                </a:lnTo>
                <a:lnTo>
                  <a:pt x="1314" y="466"/>
                </a:lnTo>
                <a:lnTo>
                  <a:pt x="1319" y="469"/>
                </a:lnTo>
                <a:lnTo>
                  <a:pt x="1325" y="470"/>
                </a:lnTo>
                <a:lnTo>
                  <a:pt x="1338" y="475"/>
                </a:lnTo>
                <a:lnTo>
                  <a:pt x="1351" y="480"/>
                </a:lnTo>
                <a:lnTo>
                  <a:pt x="1357" y="483"/>
                </a:lnTo>
                <a:lnTo>
                  <a:pt x="1361" y="486"/>
                </a:lnTo>
                <a:lnTo>
                  <a:pt x="1365" y="489"/>
                </a:lnTo>
                <a:lnTo>
                  <a:pt x="1368" y="493"/>
                </a:lnTo>
                <a:lnTo>
                  <a:pt x="1373" y="501"/>
                </a:lnTo>
                <a:lnTo>
                  <a:pt x="1376" y="503"/>
                </a:lnTo>
                <a:lnTo>
                  <a:pt x="1379" y="506"/>
                </a:lnTo>
                <a:lnTo>
                  <a:pt x="1384" y="508"/>
                </a:lnTo>
                <a:lnTo>
                  <a:pt x="1387" y="510"/>
                </a:lnTo>
                <a:lnTo>
                  <a:pt x="1390" y="510"/>
                </a:lnTo>
                <a:lnTo>
                  <a:pt x="1394" y="508"/>
                </a:lnTo>
                <a:lnTo>
                  <a:pt x="1397" y="508"/>
                </a:lnTo>
                <a:lnTo>
                  <a:pt x="1399" y="507"/>
                </a:lnTo>
                <a:lnTo>
                  <a:pt x="1403" y="506"/>
                </a:lnTo>
                <a:lnTo>
                  <a:pt x="1405" y="503"/>
                </a:lnTo>
                <a:lnTo>
                  <a:pt x="1410" y="497"/>
                </a:lnTo>
                <a:lnTo>
                  <a:pt x="1414" y="494"/>
                </a:lnTo>
                <a:lnTo>
                  <a:pt x="1417" y="492"/>
                </a:lnTo>
                <a:lnTo>
                  <a:pt x="1421" y="498"/>
                </a:lnTo>
                <a:lnTo>
                  <a:pt x="1424" y="503"/>
                </a:lnTo>
                <a:lnTo>
                  <a:pt x="1427" y="510"/>
                </a:lnTo>
                <a:lnTo>
                  <a:pt x="1427" y="516"/>
                </a:lnTo>
                <a:lnTo>
                  <a:pt x="1428" y="523"/>
                </a:lnTo>
                <a:lnTo>
                  <a:pt x="1430" y="530"/>
                </a:lnTo>
                <a:lnTo>
                  <a:pt x="1430" y="544"/>
                </a:lnTo>
                <a:lnTo>
                  <a:pt x="1430" y="551"/>
                </a:lnTo>
                <a:lnTo>
                  <a:pt x="1430" y="554"/>
                </a:lnTo>
                <a:lnTo>
                  <a:pt x="1430" y="559"/>
                </a:lnTo>
                <a:lnTo>
                  <a:pt x="1427" y="556"/>
                </a:lnTo>
                <a:lnTo>
                  <a:pt x="1423" y="554"/>
                </a:lnTo>
                <a:lnTo>
                  <a:pt x="1417" y="552"/>
                </a:lnTo>
                <a:lnTo>
                  <a:pt x="1412" y="550"/>
                </a:lnTo>
                <a:lnTo>
                  <a:pt x="1412" y="565"/>
                </a:lnTo>
                <a:lnTo>
                  <a:pt x="1414" y="566"/>
                </a:lnTo>
                <a:lnTo>
                  <a:pt x="1417" y="569"/>
                </a:lnTo>
                <a:lnTo>
                  <a:pt x="1420" y="572"/>
                </a:lnTo>
                <a:lnTo>
                  <a:pt x="1422" y="577"/>
                </a:lnTo>
                <a:lnTo>
                  <a:pt x="1424" y="582"/>
                </a:lnTo>
                <a:lnTo>
                  <a:pt x="1427" y="592"/>
                </a:lnTo>
                <a:lnTo>
                  <a:pt x="1430" y="597"/>
                </a:lnTo>
                <a:lnTo>
                  <a:pt x="1431" y="604"/>
                </a:lnTo>
                <a:lnTo>
                  <a:pt x="1434" y="602"/>
                </a:lnTo>
                <a:lnTo>
                  <a:pt x="1437" y="600"/>
                </a:lnTo>
                <a:lnTo>
                  <a:pt x="1442" y="599"/>
                </a:lnTo>
                <a:lnTo>
                  <a:pt x="1446" y="599"/>
                </a:lnTo>
                <a:lnTo>
                  <a:pt x="1453" y="599"/>
                </a:lnTo>
                <a:lnTo>
                  <a:pt x="1457" y="600"/>
                </a:lnTo>
                <a:lnTo>
                  <a:pt x="1461" y="600"/>
                </a:lnTo>
                <a:lnTo>
                  <a:pt x="1463" y="600"/>
                </a:lnTo>
                <a:lnTo>
                  <a:pt x="1468" y="598"/>
                </a:lnTo>
                <a:lnTo>
                  <a:pt x="1473" y="596"/>
                </a:lnTo>
                <a:lnTo>
                  <a:pt x="1475" y="595"/>
                </a:lnTo>
                <a:lnTo>
                  <a:pt x="1476" y="592"/>
                </a:lnTo>
                <a:lnTo>
                  <a:pt x="1477" y="590"/>
                </a:lnTo>
                <a:lnTo>
                  <a:pt x="1480" y="587"/>
                </a:lnTo>
                <a:lnTo>
                  <a:pt x="1481" y="582"/>
                </a:lnTo>
                <a:lnTo>
                  <a:pt x="1483" y="575"/>
                </a:lnTo>
                <a:lnTo>
                  <a:pt x="1484" y="569"/>
                </a:lnTo>
                <a:lnTo>
                  <a:pt x="1485" y="561"/>
                </a:lnTo>
                <a:lnTo>
                  <a:pt x="1486" y="554"/>
                </a:lnTo>
                <a:lnTo>
                  <a:pt x="1486" y="539"/>
                </a:lnTo>
                <a:lnTo>
                  <a:pt x="1485" y="515"/>
                </a:lnTo>
                <a:lnTo>
                  <a:pt x="1485" y="506"/>
                </a:lnTo>
                <a:lnTo>
                  <a:pt x="1483" y="496"/>
                </a:lnTo>
                <a:lnTo>
                  <a:pt x="1481" y="485"/>
                </a:lnTo>
                <a:lnTo>
                  <a:pt x="1479" y="475"/>
                </a:lnTo>
                <a:lnTo>
                  <a:pt x="1476" y="464"/>
                </a:lnTo>
                <a:lnTo>
                  <a:pt x="1471" y="454"/>
                </a:lnTo>
                <a:lnTo>
                  <a:pt x="1466" y="444"/>
                </a:lnTo>
                <a:lnTo>
                  <a:pt x="1461" y="434"/>
                </a:lnTo>
                <a:lnTo>
                  <a:pt x="1455" y="425"/>
                </a:lnTo>
                <a:lnTo>
                  <a:pt x="1450" y="417"/>
                </a:lnTo>
                <a:lnTo>
                  <a:pt x="1446" y="412"/>
                </a:lnTo>
                <a:lnTo>
                  <a:pt x="1442" y="409"/>
                </a:lnTo>
                <a:lnTo>
                  <a:pt x="1436" y="402"/>
                </a:lnTo>
                <a:lnTo>
                  <a:pt x="1432" y="399"/>
                </a:lnTo>
                <a:lnTo>
                  <a:pt x="1428" y="398"/>
                </a:lnTo>
                <a:lnTo>
                  <a:pt x="1425" y="395"/>
                </a:lnTo>
                <a:lnTo>
                  <a:pt x="1421" y="393"/>
                </a:lnTo>
                <a:lnTo>
                  <a:pt x="1417" y="391"/>
                </a:lnTo>
                <a:lnTo>
                  <a:pt x="1413" y="391"/>
                </a:lnTo>
                <a:lnTo>
                  <a:pt x="1409" y="390"/>
                </a:lnTo>
                <a:lnTo>
                  <a:pt x="1404" y="390"/>
                </a:lnTo>
                <a:lnTo>
                  <a:pt x="1400" y="390"/>
                </a:lnTo>
                <a:lnTo>
                  <a:pt x="1399" y="390"/>
                </a:lnTo>
                <a:lnTo>
                  <a:pt x="1399" y="391"/>
                </a:lnTo>
                <a:lnTo>
                  <a:pt x="1398" y="391"/>
                </a:lnTo>
                <a:lnTo>
                  <a:pt x="1398" y="393"/>
                </a:lnTo>
                <a:lnTo>
                  <a:pt x="1395" y="398"/>
                </a:lnTo>
                <a:lnTo>
                  <a:pt x="1391" y="395"/>
                </a:lnTo>
                <a:lnTo>
                  <a:pt x="1388" y="393"/>
                </a:lnTo>
                <a:lnTo>
                  <a:pt x="1382" y="385"/>
                </a:lnTo>
                <a:lnTo>
                  <a:pt x="1377" y="377"/>
                </a:lnTo>
                <a:lnTo>
                  <a:pt x="1374" y="373"/>
                </a:lnTo>
                <a:lnTo>
                  <a:pt x="1370" y="369"/>
                </a:lnTo>
                <a:lnTo>
                  <a:pt x="1369" y="371"/>
                </a:lnTo>
                <a:lnTo>
                  <a:pt x="1368" y="371"/>
                </a:lnTo>
                <a:lnTo>
                  <a:pt x="1365" y="373"/>
                </a:lnTo>
                <a:lnTo>
                  <a:pt x="1358" y="376"/>
                </a:lnTo>
                <a:lnTo>
                  <a:pt x="1348" y="378"/>
                </a:lnTo>
                <a:lnTo>
                  <a:pt x="1348" y="369"/>
                </a:lnTo>
                <a:lnTo>
                  <a:pt x="1350" y="367"/>
                </a:lnTo>
                <a:lnTo>
                  <a:pt x="1351" y="366"/>
                </a:lnTo>
                <a:lnTo>
                  <a:pt x="1352" y="363"/>
                </a:lnTo>
                <a:lnTo>
                  <a:pt x="1357" y="358"/>
                </a:lnTo>
                <a:lnTo>
                  <a:pt x="1358" y="355"/>
                </a:lnTo>
                <a:lnTo>
                  <a:pt x="1359" y="352"/>
                </a:lnTo>
                <a:lnTo>
                  <a:pt x="1360" y="346"/>
                </a:lnTo>
                <a:lnTo>
                  <a:pt x="1361" y="335"/>
                </a:lnTo>
                <a:lnTo>
                  <a:pt x="1361" y="330"/>
                </a:lnTo>
                <a:lnTo>
                  <a:pt x="1361" y="324"/>
                </a:lnTo>
                <a:lnTo>
                  <a:pt x="1363" y="319"/>
                </a:lnTo>
                <a:lnTo>
                  <a:pt x="1364" y="314"/>
                </a:lnTo>
                <a:lnTo>
                  <a:pt x="1366" y="309"/>
                </a:lnTo>
                <a:lnTo>
                  <a:pt x="1370" y="306"/>
                </a:lnTo>
                <a:lnTo>
                  <a:pt x="1374" y="303"/>
                </a:lnTo>
                <a:lnTo>
                  <a:pt x="1377" y="300"/>
                </a:lnTo>
                <a:lnTo>
                  <a:pt x="1382" y="298"/>
                </a:lnTo>
                <a:lnTo>
                  <a:pt x="1387" y="296"/>
                </a:lnTo>
                <a:lnTo>
                  <a:pt x="1398" y="296"/>
                </a:lnTo>
                <a:lnTo>
                  <a:pt x="1409" y="295"/>
                </a:lnTo>
                <a:lnTo>
                  <a:pt x="1420" y="296"/>
                </a:lnTo>
                <a:lnTo>
                  <a:pt x="1430" y="296"/>
                </a:lnTo>
                <a:lnTo>
                  <a:pt x="1440" y="296"/>
                </a:lnTo>
                <a:lnTo>
                  <a:pt x="1448" y="297"/>
                </a:lnTo>
                <a:lnTo>
                  <a:pt x="1452" y="297"/>
                </a:lnTo>
                <a:lnTo>
                  <a:pt x="1455" y="298"/>
                </a:lnTo>
                <a:lnTo>
                  <a:pt x="1462" y="300"/>
                </a:lnTo>
                <a:lnTo>
                  <a:pt x="1467" y="302"/>
                </a:lnTo>
                <a:lnTo>
                  <a:pt x="1474" y="305"/>
                </a:lnTo>
                <a:lnTo>
                  <a:pt x="1480" y="306"/>
                </a:lnTo>
                <a:lnTo>
                  <a:pt x="1485" y="308"/>
                </a:lnTo>
                <a:lnTo>
                  <a:pt x="1490" y="309"/>
                </a:lnTo>
                <a:lnTo>
                  <a:pt x="1493" y="308"/>
                </a:lnTo>
                <a:lnTo>
                  <a:pt x="1497" y="308"/>
                </a:lnTo>
                <a:lnTo>
                  <a:pt x="1503" y="305"/>
                </a:lnTo>
                <a:lnTo>
                  <a:pt x="1507" y="301"/>
                </a:lnTo>
                <a:lnTo>
                  <a:pt x="1509" y="298"/>
                </a:lnTo>
                <a:lnTo>
                  <a:pt x="1510" y="296"/>
                </a:lnTo>
                <a:lnTo>
                  <a:pt x="1508" y="296"/>
                </a:lnTo>
                <a:lnTo>
                  <a:pt x="1506" y="293"/>
                </a:lnTo>
                <a:lnTo>
                  <a:pt x="1503" y="291"/>
                </a:lnTo>
                <a:lnTo>
                  <a:pt x="1501" y="288"/>
                </a:lnTo>
                <a:lnTo>
                  <a:pt x="1499" y="284"/>
                </a:lnTo>
                <a:lnTo>
                  <a:pt x="1497" y="279"/>
                </a:lnTo>
                <a:lnTo>
                  <a:pt x="1496" y="276"/>
                </a:lnTo>
                <a:lnTo>
                  <a:pt x="1495" y="272"/>
                </a:lnTo>
                <a:lnTo>
                  <a:pt x="1495" y="268"/>
                </a:lnTo>
                <a:lnTo>
                  <a:pt x="1495" y="264"/>
                </a:lnTo>
                <a:lnTo>
                  <a:pt x="1496" y="262"/>
                </a:lnTo>
                <a:lnTo>
                  <a:pt x="1497" y="260"/>
                </a:lnTo>
                <a:lnTo>
                  <a:pt x="1499" y="257"/>
                </a:lnTo>
                <a:lnTo>
                  <a:pt x="1503" y="256"/>
                </a:lnTo>
                <a:lnTo>
                  <a:pt x="1507" y="255"/>
                </a:lnTo>
                <a:lnTo>
                  <a:pt x="1513" y="255"/>
                </a:lnTo>
                <a:lnTo>
                  <a:pt x="1516" y="255"/>
                </a:lnTo>
                <a:lnTo>
                  <a:pt x="1520" y="256"/>
                </a:lnTo>
                <a:lnTo>
                  <a:pt x="1526" y="257"/>
                </a:lnTo>
                <a:lnTo>
                  <a:pt x="1532" y="260"/>
                </a:lnTo>
                <a:lnTo>
                  <a:pt x="1537" y="262"/>
                </a:lnTo>
                <a:lnTo>
                  <a:pt x="1541" y="265"/>
                </a:lnTo>
                <a:lnTo>
                  <a:pt x="1544" y="268"/>
                </a:lnTo>
                <a:lnTo>
                  <a:pt x="1549" y="270"/>
                </a:lnTo>
                <a:lnTo>
                  <a:pt x="1552" y="273"/>
                </a:lnTo>
                <a:lnTo>
                  <a:pt x="1558" y="273"/>
                </a:lnTo>
                <a:lnTo>
                  <a:pt x="1557" y="264"/>
                </a:lnTo>
                <a:lnTo>
                  <a:pt x="1558" y="260"/>
                </a:lnTo>
                <a:lnTo>
                  <a:pt x="1558" y="252"/>
                </a:lnTo>
                <a:lnTo>
                  <a:pt x="1558" y="246"/>
                </a:lnTo>
                <a:lnTo>
                  <a:pt x="1558" y="238"/>
                </a:lnTo>
                <a:lnTo>
                  <a:pt x="1571" y="238"/>
                </a:lnTo>
                <a:lnTo>
                  <a:pt x="1572" y="243"/>
                </a:lnTo>
                <a:lnTo>
                  <a:pt x="1573" y="248"/>
                </a:lnTo>
                <a:lnTo>
                  <a:pt x="1575" y="252"/>
                </a:lnTo>
                <a:lnTo>
                  <a:pt x="1577" y="256"/>
                </a:lnTo>
                <a:lnTo>
                  <a:pt x="1578" y="260"/>
                </a:lnTo>
                <a:lnTo>
                  <a:pt x="1580" y="262"/>
                </a:lnTo>
                <a:lnTo>
                  <a:pt x="1586" y="269"/>
                </a:lnTo>
                <a:lnTo>
                  <a:pt x="1579" y="279"/>
                </a:lnTo>
                <a:lnTo>
                  <a:pt x="1575" y="286"/>
                </a:lnTo>
                <a:lnTo>
                  <a:pt x="1573" y="293"/>
                </a:lnTo>
                <a:lnTo>
                  <a:pt x="1570" y="302"/>
                </a:lnTo>
                <a:lnTo>
                  <a:pt x="1568" y="309"/>
                </a:lnTo>
                <a:lnTo>
                  <a:pt x="1566" y="318"/>
                </a:lnTo>
                <a:lnTo>
                  <a:pt x="1565" y="325"/>
                </a:lnTo>
                <a:lnTo>
                  <a:pt x="1566" y="330"/>
                </a:lnTo>
                <a:lnTo>
                  <a:pt x="1566" y="335"/>
                </a:lnTo>
                <a:lnTo>
                  <a:pt x="1568" y="339"/>
                </a:lnTo>
                <a:lnTo>
                  <a:pt x="1569" y="342"/>
                </a:lnTo>
                <a:lnTo>
                  <a:pt x="1571" y="347"/>
                </a:lnTo>
                <a:lnTo>
                  <a:pt x="1573" y="351"/>
                </a:lnTo>
                <a:lnTo>
                  <a:pt x="1578" y="359"/>
                </a:lnTo>
                <a:lnTo>
                  <a:pt x="1582" y="364"/>
                </a:lnTo>
                <a:lnTo>
                  <a:pt x="1584" y="368"/>
                </a:lnTo>
                <a:lnTo>
                  <a:pt x="1592" y="376"/>
                </a:lnTo>
                <a:lnTo>
                  <a:pt x="1599" y="384"/>
                </a:lnTo>
                <a:lnTo>
                  <a:pt x="1607" y="391"/>
                </a:lnTo>
                <a:lnTo>
                  <a:pt x="1641" y="422"/>
                </a:lnTo>
                <a:lnTo>
                  <a:pt x="1647" y="430"/>
                </a:lnTo>
                <a:lnTo>
                  <a:pt x="1654" y="436"/>
                </a:lnTo>
                <a:lnTo>
                  <a:pt x="1660" y="444"/>
                </a:lnTo>
                <a:lnTo>
                  <a:pt x="1664" y="451"/>
                </a:lnTo>
                <a:lnTo>
                  <a:pt x="1668" y="441"/>
                </a:lnTo>
                <a:lnTo>
                  <a:pt x="1669" y="436"/>
                </a:lnTo>
                <a:lnTo>
                  <a:pt x="1671" y="432"/>
                </a:lnTo>
                <a:lnTo>
                  <a:pt x="1671" y="430"/>
                </a:lnTo>
                <a:lnTo>
                  <a:pt x="1669" y="426"/>
                </a:lnTo>
                <a:lnTo>
                  <a:pt x="1667" y="422"/>
                </a:lnTo>
                <a:lnTo>
                  <a:pt x="1663" y="418"/>
                </a:lnTo>
                <a:lnTo>
                  <a:pt x="1662" y="417"/>
                </a:lnTo>
                <a:lnTo>
                  <a:pt x="1662" y="415"/>
                </a:lnTo>
                <a:lnTo>
                  <a:pt x="1663" y="414"/>
                </a:lnTo>
                <a:lnTo>
                  <a:pt x="1664" y="413"/>
                </a:lnTo>
                <a:lnTo>
                  <a:pt x="1667" y="410"/>
                </a:lnTo>
                <a:lnTo>
                  <a:pt x="1669" y="408"/>
                </a:lnTo>
                <a:lnTo>
                  <a:pt x="1672" y="405"/>
                </a:lnTo>
                <a:lnTo>
                  <a:pt x="1666" y="399"/>
                </a:lnTo>
                <a:lnTo>
                  <a:pt x="1664" y="398"/>
                </a:lnTo>
                <a:lnTo>
                  <a:pt x="1663" y="395"/>
                </a:lnTo>
                <a:lnTo>
                  <a:pt x="1662" y="393"/>
                </a:lnTo>
                <a:lnTo>
                  <a:pt x="1662" y="390"/>
                </a:lnTo>
                <a:lnTo>
                  <a:pt x="1662" y="385"/>
                </a:lnTo>
                <a:lnTo>
                  <a:pt x="1663" y="385"/>
                </a:lnTo>
                <a:lnTo>
                  <a:pt x="1664" y="382"/>
                </a:lnTo>
                <a:lnTo>
                  <a:pt x="1667" y="381"/>
                </a:lnTo>
                <a:lnTo>
                  <a:pt x="1672" y="381"/>
                </a:lnTo>
                <a:lnTo>
                  <a:pt x="1673" y="378"/>
                </a:lnTo>
                <a:lnTo>
                  <a:pt x="1674" y="375"/>
                </a:lnTo>
                <a:lnTo>
                  <a:pt x="1674" y="374"/>
                </a:lnTo>
                <a:lnTo>
                  <a:pt x="1674" y="372"/>
                </a:lnTo>
                <a:lnTo>
                  <a:pt x="1673" y="371"/>
                </a:lnTo>
                <a:lnTo>
                  <a:pt x="1672" y="369"/>
                </a:lnTo>
                <a:lnTo>
                  <a:pt x="1671" y="368"/>
                </a:lnTo>
                <a:lnTo>
                  <a:pt x="1668" y="368"/>
                </a:lnTo>
                <a:lnTo>
                  <a:pt x="1666" y="367"/>
                </a:lnTo>
                <a:lnTo>
                  <a:pt x="1662" y="366"/>
                </a:lnTo>
                <a:lnTo>
                  <a:pt x="1658" y="366"/>
                </a:lnTo>
                <a:lnTo>
                  <a:pt x="1651" y="367"/>
                </a:lnTo>
                <a:lnTo>
                  <a:pt x="1664" y="350"/>
                </a:lnTo>
                <a:lnTo>
                  <a:pt x="1662" y="347"/>
                </a:lnTo>
                <a:lnTo>
                  <a:pt x="1659" y="345"/>
                </a:lnTo>
                <a:lnTo>
                  <a:pt x="1651" y="339"/>
                </a:lnTo>
                <a:lnTo>
                  <a:pt x="1634" y="327"/>
                </a:lnTo>
                <a:lnTo>
                  <a:pt x="1625" y="320"/>
                </a:lnTo>
                <a:lnTo>
                  <a:pt x="1621" y="317"/>
                </a:lnTo>
                <a:lnTo>
                  <a:pt x="1618" y="314"/>
                </a:lnTo>
                <a:lnTo>
                  <a:pt x="1615" y="310"/>
                </a:lnTo>
                <a:lnTo>
                  <a:pt x="1613" y="306"/>
                </a:lnTo>
                <a:lnTo>
                  <a:pt x="1612" y="303"/>
                </a:lnTo>
                <a:lnTo>
                  <a:pt x="1611" y="299"/>
                </a:lnTo>
                <a:lnTo>
                  <a:pt x="1612" y="296"/>
                </a:lnTo>
                <a:lnTo>
                  <a:pt x="1613" y="292"/>
                </a:lnTo>
                <a:lnTo>
                  <a:pt x="1614" y="288"/>
                </a:lnTo>
                <a:lnTo>
                  <a:pt x="1615" y="284"/>
                </a:lnTo>
                <a:lnTo>
                  <a:pt x="1618" y="282"/>
                </a:lnTo>
                <a:lnTo>
                  <a:pt x="1619" y="279"/>
                </a:lnTo>
                <a:lnTo>
                  <a:pt x="1622" y="277"/>
                </a:lnTo>
                <a:lnTo>
                  <a:pt x="1624" y="276"/>
                </a:lnTo>
                <a:lnTo>
                  <a:pt x="1651" y="276"/>
                </a:lnTo>
                <a:lnTo>
                  <a:pt x="1658" y="276"/>
                </a:lnTo>
                <a:lnTo>
                  <a:pt x="1663" y="275"/>
                </a:lnTo>
                <a:lnTo>
                  <a:pt x="1667" y="273"/>
                </a:lnTo>
                <a:lnTo>
                  <a:pt x="1672" y="272"/>
                </a:lnTo>
                <a:lnTo>
                  <a:pt x="1681" y="266"/>
                </a:lnTo>
                <a:lnTo>
                  <a:pt x="1690" y="261"/>
                </a:lnTo>
                <a:lnTo>
                  <a:pt x="1707" y="247"/>
                </a:lnTo>
                <a:lnTo>
                  <a:pt x="1717" y="241"/>
                </a:lnTo>
                <a:lnTo>
                  <a:pt x="1727" y="235"/>
                </a:lnTo>
                <a:lnTo>
                  <a:pt x="1725" y="230"/>
                </a:lnTo>
                <a:lnTo>
                  <a:pt x="1723" y="226"/>
                </a:lnTo>
                <a:lnTo>
                  <a:pt x="1720" y="223"/>
                </a:lnTo>
                <a:lnTo>
                  <a:pt x="1717" y="220"/>
                </a:lnTo>
                <a:lnTo>
                  <a:pt x="1714" y="219"/>
                </a:lnTo>
                <a:lnTo>
                  <a:pt x="1711" y="217"/>
                </a:lnTo>
                <a:lnTo>
                  <a:pt x="1704" y="216"/>
                </a:lnTo>
                <a:lnTo>
                  <a:pt x="1695" y="214"/>
                </a:lnTo>
                <a:lnTo>
                  <a:pt x="1687" y="213"/>
                </a:lnTo>
                <a:lnTo>
                  <a:pt x="1677" y="210"/>
                </a:lnTo>
                <a:lnTo>
                  <a:pt x="1673" y="207"/>
                </a:lnTo>
                <a:lnTo>
                  <a:pt x="1669" y="205"/>
                </a:lnTo>
                <a:lnTo>
                  <a:pt x="1675" y="203"/>
                </a:lnTo>
                <a:lnTo>
                  <a:pt x="1681" y="201"/>
                </a:lnTo>
                <a:lnTo>
                  <a:pt x="1685" y="198"/>
                </a:lnTo>
                <a:lnTo>
                  <a:pt x="1690" y="194"/>
                </a:lnTo>
                <a:lnTo>
                  <a:pt x="1687" y="192"/>
                </a:lnTo>
                <a:lnTo>
                  <a:pt x="1684" y="189"/>
                </a:lnTo>
                <a:lnTo>
                  <a:pt x="1681" y="186"/>
                </a:lnTo>
                <a:lnTo>
                  <a:pt x="1680" y="183"/>
                </a:lnTo>
                <a:lnTo>
                  <a:pt x="1684" y="183"/>
                </a:lnTo>
                <a:lnTo>
                  <a:pt x="1690" y="183"/>
                </a:lnTo>
                <a:lnTo>
                  <a:pt x="1695" y="184"/>
                </a:lnTo>
                <a:lnTo>
                  <a:pt x="1700" y="184"/>
                </a:lnTo>
                <a:lnTo>
                  <a:pt x="1707" y="186"/>
                </a:lnTo>
                <a:lnTo>
                  <a:pt x="1714" y="188"/>
                </a:lnTo>
                <a:lnTo>
                  <a:pt x="1727" y="193"/>
                </a:lnTo>
                <a:lnTo>
                  <a:pt x="1752" y="201"/>
                </a:lnTo>
                <a:lnTo>
                  <a:pt x="1763" y="205"/>
                </a:lnTo>
                <a:lnTo>
                  <a:pt x="1769" y="206"/>
                </a:lnTo>
                <a:lnTo>
                  <a:pt x="1773" y="206"/>
                </a:lnTo>
                <a:lnTo>
                  <a:pt x="1775" y="206"/>
                </a:lnTo>
                <a:lnTo>
                  <a:pt x="1777" y="205"/>
                </a:lnTo>
                <a:lnTo>
                  <a:pt x="1780" y="204"/>
                </a:lnTo>
                <a:lnTo>
                  <a:pt x="1780" y="202"/>
                </a:lnTo>
                <a:lnTo>
                  <a:pt x="1780" y="200"/>
                </a:lnTo>
                <a:lnTo>
                  <a:pt x="1780" y="198"/>
                </a:lnTo>
                <a:lnTo>
                  <a:pt x="1780" y="197"/>
                </a:lnTo>
                <a:lnTo>
                  <a:pt x="1778" y="193"/>
                </a:lnTo>
                <a:lnTo>
                  <a:pt x="1775" y="190"/>
                </a:lnTo>
                <a:lnTo>
                  <a:pt x="1772" y="187"/>
                </a:lnTo>
                <a:lnTo>
                  <a:pt x="1772" y="185"/>
                </a:lnTo>
                <a:lnTo>
                  <a:pt x="1771" y="184"/>
                </a:lnTo>
                <a:lnTo>
                  <a:pt x="1767" y="180"/>
                </a:lnTo>
                <a:lnTo>
                  <a:pt x="1762" y="176"/>
                </a:lnTo>
                <a:lnTo>
                  <a:pt x="1756" y="172"/>
                </a:lnTo>
                <a:lnTo>
                  <a:pt x="1747" y="170"/>
                </a:lnTo>
                <a:lnTo>
                  <a:pt x="1739" y="167"/>
                </a:lnTo>
                <a:lnTo>
                  <a:pt x="1730" y="166"/>
                </a:lnTo>
                <a:lnTo>
                  <a:pt x="1726" y="165"/>
                </a:lnTo>
                <a:lnTo>
                  <a:pt x="1722" y="165"/>
                </a:lnTo>
                <a:lnTo>
                  <a:pt x="1718" y="165"/>
                </a:lnTo>
                <a:lnTo>
                  <a:pt x="1714" y="165"/>
                </a:lnTo>
                <a:lnTo>
                  <a:pt x="1710" y="166"/>
                </a:lnTo>
                <a:lnTo>
                  <a:pt x="1708" y="167"/>
                </a:lnTo>
                <a:lnTo>
                  <a:pt x="1707" y="167"/>
                </a:lnTo>
                <a:lnTo>
                  <a:pt x="1699" y="161"/>
                </a:lnTo>
                <a:lnTo>
                  <a:pt x="1690" y="156"/>
                </a:lnTo>
                <a:lnTo>
                  <a:pt x="1678" y="150"/>
                </a:lnTo>
                <a:lnTo>
                  <a:pt x="1667" y="145"/>
                </a:lnTo>
                <a:lnTo>
                  <a:pt x="1655" y="141"/>
                </a:lnTo>
                <a:lnTo>
                  <a:pt x="1644" y="138"/>
                </a:lnTo>
                <a:lnTo>
                  <a:pt x="1631" y="134"/>
                </a:lnTo>
                <a:lnTo>
                  <a:pt x="1618" y="130"/>
                </a:lnTo>
                <a:lnTo>
                  <a:pt x="1604" y="127"/>
                </a:lnTo>
                <a:lnTo>
                  <a:pt x="1591" y="125"/>
                </a:lnTo>
                <a:lnTo>
                  <a:pt x="1577" y="121"/>
                </a:lnTo>
                <a:lnTo>
                  <a:pt x="1564" y="120"/>
                </a:lnTo>
                <a:lnTo>
                  <a:pt x="1551" y="118"/>
                </a:lnTo>
                <a:lnTo>
                  <a:pt x="1538" y="118"/>
                </a:lnTo>
                <a:lnTo>
                  <a:pt x="1515" y="117"/>
                </a:lnTo>
                <a:lnTo>
                  <a:pt x="1508" y="115"/>
                </a:lnTo>
                <a:lnTo>
                  <a:pt x="1503" y="113"/>
                </a:lnTo>
                <a:lnTo>
                  <a:pt x="1497" y="112"/>
                </a:lnTo>
                <a:lnTo>
                  <a:pt x="1495" y="112"/>
                </a:lnTo>
                <a:lnTo>
                  <a:pt x="1493" y="113"/>
                </a:lnTo>
                <a:lnTo>
                  <a:pt x="1493" y="114"/>
                </a:lnTo>
                <a:lnTo>
                  <a:pt x="1491" y="116"/>
                </a:lnTo>
                <a:lnTo>
                  <a:pt x="1493" y="118"/>
                </a:lnTo>
                <a:lnTo>
                  <a:pt x="1493" y="122"/>
                </a:lnTo>
                <a:lnTo>
                  <a:pt x="1496" y="127"/>
                </a:lnTo>
                <a:lnTo>
                  <a:pt x="1501" y="134"/>
                </a:lnTo>
                <a:lnTo>
                  <a:pt x="1488" y="134"/>
                </a:lnTo>
                <a:lnTo>
                  <a:pt x="1483" y="129"/>
                </a:lnTo>
                <a:lnTo>
                  <a:pt x="1479" y="126"/>
                </a:lnTo>
                <a:lnTo>
                  <a:pt x="1473" y="125"/>
                </a:lnTo>
                <a:lnTo>
                  <a:pt x="1466" y="122"/>
                </a:lnTo>
                <a:lnTo>
                  <a:pt x="1461" y="121"/>
                </a:lnTo>
                <a:lnTo>
                  <a:pt x="1454" y="121"/>
                </a:lnTo>
                <a:lnTo>
                  <a:pt x="1440" y="121"/>
                </a:lnTo>
                <a:lnTo>
                  <a:pt x="1427" y="121"/>
                </a:lnTo>
                <a:lnTo>
                  <a:pt x="1413" y="122"/>
                </a:lnTo>
                <a:lnTo>
                  <a:pt x="1400" y="122"/>
                </a:lnTo>
                <a:lnTo>
                  <a:pt x="1393" y="122"/>
                </a:lnTo>
                <a:lnTo>
                  <a:pt x="1387" y="121"/>
                </a:lnTo>
                <a:lnTo>
                  <a:pt x="1382" y="121"/>
                </a:lnTo>
                <a:lnTo>
                  <a:pt x="1378" y="118"/>
                </a:lnTo>
                <a:lnTo>
                  <a:pt x="1376" y="117"/>
                </a:lnTo>
                <a:lnTo>
                  <a:pt x="1374" y="114"/>
                </a:lnTo>
                <a:lnTo>
                  <a:pt x="1369" y="109"/>
                </a:lnTo>
                <a:lnTo>
                  <a:pt x="1367" y="107"/>
                </a:lnTo>
                <a:lnTo>
                  <a:pt x="1364" y="104"/>
                </a:lnTo>
                <a:lnTo>
                  <a:pt x="1360" y="102"/>
                </a:lnTo>
                <a:lnTo>
                  <a:pt x="1354" y="100"/>
                </a:lnTo>
                <a:lnTo>
                  <a:pt x="1351" y="99"/>
                </a:lnTo>
                <a:lnTo>
                  <a:pt x="1348" y="98"/>
                </a:lnTo>
                <a:lnTo>
                  <a:pt x="1339" y="98"/>
                </a:lnTo>
                <a:lnTo>
                  <a:pt x="1328" y="98"/>
                </a:lnTo>
                <a:lnTo>
                  <a:pt x="1315" y="98"/>
                </a:lnTo>
                <a:lnTo>
                  <a:pt x="1299" y="99"/>
                </a:lnTo>
                <a:lnTo>
                  <a:pt x="1281" y="101"/>
                </a:lnTo>
                <a:lnTo>
                  <a:pt x="1278" y="101"/>
                </a:lnTo>
                <a:lnTo>
                  <a:pt x="1275" y="101"/>
                </a:lnTo>
                <a:lnTo>
                  <a:pt x="1271" y="101"/>
                </a:lnTo>
                <a:lnTo>
                  <a:pt x="1268" y="100"/>
                </a:lnTo>
                <a:lnTo>
                  <a:pt x="1266" y="99"/>
                </a:lnTo>
                <a:lnTo>
                  <a:pt x="1262" y="98"/>
                </a:lnTo>
                <a:lnTo>
                  <a:pt x="1258" y="95"/>
                </a:lnTo>
                <a:lnTo>
                  <a:pt x="1254" y="92"/>
                </a:lnTo>
                <a:lnTo>
                  <a:pt x="1247" y="85"/>
                </a:lnTo>
                <a:lnTo>
                  <a:pt x="1239" y="78"/>
                </a:lnTo>
                <a:lnTo>
                  <a:pt x="1236" y="75"/>
                </a:lnTo>
                <a:lnTo>
                  <a:pt x="1233" y="72"/>
                </a:lnTo>
                <a:lnTo>
                  <a:pt x="1228" y="69"/>
                </a:lnTo>
                <a:lnTo>
                  <a:pt x="1225" y="68"/>
                </a:lnTo>
                <a:lnTo>
                  <a:pt x="1220" y="67"/>
                </a:lnTo>
                <a:lnTo>
                  <a:pt x="1216" y="66"/>
                </a:lnTo>
                <a:lnTo>
                  <a:pt x="1213" y="67"/>
                </a:lnTo>
                <a:lnTo>
                  <a:pt x="1211" y="68"/>
                </a:lnTo>
                <a:lnTo>
                  <a:pt x="1209" y="69"/>
                </a:lnTo>
                <a:lnTo>
                  <a:pt x="1208" y="71"/>
                </a:lnTo>
                <a:lnTo>
                  <a:pt x="1206" y="75"/>
                </a:lnTo>
                <a:lnTo>
                  <a:pt x="1205" y="78"/>
                </a:lnTo>
                <a:lnTo>
                  <a:pt x="1200" y="79"/>
                </a:lnTo>
                <a:lnTo>
                  <a:pt x="1195" y="80"/>
                </a:lnTo>
                <a:lnTo>
                  <a:pt x="1187" y="80"/>
                </a:lnTo>
                <a:lnTo>
                  <a:pt x="1183" y="79"/>
                </a:lnTo>
                <a:lnTo>
                  <a:pt x="1178" y="79"/>
                </a:lnTo>
                <a:lnTo>
                  <a:pt x="1173" y="78"/>
                </a:lnTo>
                <a:lnTo>
                  <a:pt x="1168" y="76"/>
                </a:lnTo>
                <a:lnTo>
                  <a:pt x="1163" y="75"/>
                </a:lnTo>
                <a:lnTo>
                  <a:pt x="1157" y="72"/>
                </a:lnTo>
                <a:lnTo>
                  <a:pt x="1150" y="69"/>
                </a:lnTo>
                <a:lnTo>
                  <a:pt x="1145" y="66"/>
                </a:lnTo>
                <a:lnTo>
                  <a:pt x="1142" y="64"/>
                </a:lnTo>
                <a:lnTo>
                  <a:pt x="1140" y="64"/>
                </a:lnTo>
                <a:lnTo>
                  <a:pt x="1137" y="64"/>
                </a:lnTo>
                <a:lnTo>
                  <a:pt x="1133" y="65"/>
                </a:lnTo>
                <a:lnTo>
                  <a:pt x="1132" y="66"/>
                </a:lnTo>
                <a:lnTo>
                  <a:pt x="1130" y="69"/>
                </a:lnTo>
                <a:lnTo>
                  <a:pt x="1127" y="73"/>
                </a:lnTo>
                <a:lnTo>
                  <a:pt x="1120" y="85"/>
                </a:lnTo>
                <a:lnTo>
                  <a:pt x="1120" y="87"/>
                </a:lnTo>
                <a:lnTo>
                  <a:pt x="1119" y="88"/>
                </a:lnTo>
                <a:lnTo>
                  <a:pt x="1118" y="89"/>
                </a:lnTo>
                <a:lnTo>
                  <a:pt x="1116" y="91"/>
                </a:lnTo>
                <a:lnTo>
                  <a:pt x="1114" y="93"/>
                </a:lnTo>
                <a:lnTo>
                  <a:pt x="1106" y="95"/>
                </a:lnTo>
                <a:lnTo>
                  <a:pt x="1097" y="98"/>
                </a:lnTo>
                <a:lnTo>
                  <a:pt x="1085" y="98"/>
                </a:lnTo>
                <a:lnTo>
                  <a:pt x="1075" y="98"/>
                </a:lnTo>
                <a:lnTo>
                  <a:pt x="1064" y="98"/>
                </a:lnTo>
                <a:lnTo>
                  <a:pt x="1054" y="98"/>
                </a:lnTo>
                <a:lnTo>
                  <a:pt x="1039" y="98"/>
                </a:lnTo>
                <a:lnTo>
                  <a:pt x="1033" y="98"/>
                </a:lnTo>
                <a:lnTo>
                  <a:pt x="1027" y="96"/>
                </a:lnTo>
                <a:lnTo>
                  <a:pt x="1021" y="95"/>
                </a:lnTo>
                <a:lnTo>
                  <a:pt x="1017" y="92"/>
                </a:lnTo>
                <a:lnTo>
                  <a:pt x="1008" y="86"/>
                </a:lnTo>
                <a:lnTo>
                  <a:pt x="998" y="79"/>
                </a:lnTo>
                <a:lnTo>
                  <a:pt x="989" y="72"/>
                </a:lnTo>
                <a:lnTo>
                  <a:pt x="984" y="69"/>
                </a:lnTo>
                <a:lnTo>
                  <a:pt x="981" y="68"/>
                </a:lnTo>
                <a:lnTo>
                  <a:pt x="978" y="66"/>
                </a:lnTo>
                <a:lnTo>
                  <a:pt x="972" y="64"/>
                </a:lnTo>
                <a:lnTo>
                  <a:pt x="964" y="62"/>
                </a:lnTo>
                <a:lnTo>
                  <a:pt x="957" y="60"/>
                </a:lnTo>
                <a:lnTo>
                  <a:pt x="949" y="60"/>
                </a:lnTo>
                <a:lnTo>
                  <a:pt x="945" y="59"/>
                </a:lnTo>
                <a:lnTo>
                  <a:pt x="938" y="59"/>
                </a:lnTo>
                <a:lnTo>
                  <a:pt x="922" y="57"/>
                </a:lnTo>
                <a:lnTo>
                  <a:pt x="902" y="55"/>
                </a:lnTo>
                <a:lnTo>
                  <a:pt x="886" y="55"/>
                </a:lnTo>
                <a:lnTo>
                  <a:pt x="860" y="55"/>
                </a:lnTo>
                <a:lnTo>
                  <a:pt x="835" y="55"/>
                </a:lnTo>
                <a:lnTo>
                  <a:pt x="824" y="55"/>
                </a:lnTo>
                <a:lnTo>
                  <a:pt x="811" y="55"/>
                </a:lnTo>
                <a:lnTo>
                  <a:pt x="798" y="55"/>
                </a:lnTo>
                <a:lnTo>
                  <a:pt x="784" y="53"/>
                </a:lnTo>
                <a:lnTo>
                  <a:pt x="791" y="49"/>
                </a:lnTo>
                <a:lnTo>
                  <a:pt x="797" y="45"/>
                </a:lnTo>
                <a:lnTo>
                  <a:pt x="798" y="42"/>
                </a:lnTo>
                <a:lnTo>
                  <a:pt x="801" y="39"/>
                </a:lnTo>
                <a:lnTo>
                  <a:pt x="803" y="36"/>
                </a:lnTo>
                <a:lnTo>
                  <a:pt x="804" y="32"/>
                </a:lnTo>
                <a:lnTo>
                  <a:pt x="799" y="30"/>
                </a:lnTo>
                <a:lnTo>
                  <a:pt x="791" y="26"/>
                </a:lnTo>
                <a:lnTo>
                  <a:pt x="781" y="22"/>
                </a:lnTo>
                <a:lnTo>
                  <a:pt x="771" y="18"/>
                </a:lnTo>
                <a:lnTo>
                  <a:pt x="761" y="13"/>
                </a:lnTo>
                <a:lnTo>
                  <a:pt x="748" y="9"/>
                </a:lnTo>
                <a:lnTo>
                  <a:pt x="736" y="6"/>
                </a:lnTo>
                <a:lnTo>
                  <a:pt x="724" y="3"/>
                </a:lnTo>
                <a:lnTo>
                  <a:pt x="712" y="1"/>
                </a:lnTo>
                <a:lnTo>
                  <a:pt x="700" y="0"/>
                </a:lnTo>
                <a:lnTo>
                  <a:pt x="695" y="0"/>
                </a:lnTo>
                <a:lnTo>
                  <a:pt x="690" y="0"/>
                </a:lnTo>
                <a:lnTo>
                  <a:pt x="684" y="0"/>
                </a:lnTo>
                <a:lnTo>
                  <a:pt x="679" y="0"/>
                </a:lnTo>
                <a:lnTo>
                  <a:pt x="676" y="1"/>
                </a:lnTo>
                <a:lnTo>
                  <a:pt x="672" y="2"/>
                </a:lnTo>
                <a:lnTo>
                  <a:pt x="669" y="4"/>
                </a:lnTo>
                <a:lnTo>
                  <a:pt x="665" y="6"/>
                </a:lnTo>
                <a:lnTo>
                  <a:pt x="663" y="9"/>
                </a:lnTo>
                <a:lnTo>
                  <a:pt x="661" y="13"/>
                </a:lnTo>
                <a:lnTo>
                  <a:pt x="659" y="15"/>
                </a:lnTo>
                <a:lnTo>
                  <a:pt x="659" y="19"/>
                </a:lnTo>
                <a:lnTo>
                  <a:pt x="650" y="19"/>
                </a:lnTo>
                <a:lnTo>
                  <a:pt x="642" y="18"/>
                </a:lnTo>
                <a:lnTo>
                  <a:pt x="635" y="17"/>
                </a:lnTo>
                <a:lnTo>
                  <a:pt x="626" y="17"/>
                </a:lnTo>
                <a:lnTo>
                  <a:pt x="616" y="17"/>
                </a:lnTo>
                <a:lnTo>
                  <a:pt x="605" y="18"/>
                </a:lnTo>
                <a:lnTo>
                  <a:pt x="593" y="19"/>
                </a:lnTo>
                <a:lnTo>
                  <a:pt x="587" y="22"/>
                </a:lnTo>
                <a:lnTo>
                  <a:pt x="580" y="23"/>
                </a:lnTo>
                <a:lnTo>
                  <a:pt x="575" y="24"/>
                </a:lnTo>
                <a:lnTo>
                  <a:pt x="570" y="27"/>
                </a:lnTo>
                <a:lnTo>
                  <a:pt x="563" y="29"/>
                </a:lnTo>
                <a:lnTo>
                  <a:pt x="559" y="32"/>
                </a:lnTo>
                <a:lnTo>
                  <a:pt x="554" y="35"/>
                </a:lnTo>
                <a:lnTo>
                  <a:pt x="551" y="37"/>
                </a:lnTo>
                <a:lnTo>
                  <a:pt x="547" y="41"/>
                </a:lnTo>
                <a:lnTo>
                  <a:pt x="545" y="45"/>
                </a:lnTo>
                <a:lnTo>
                  <a:pt x="548" y="46"/>
                </a:lnTo>
                <a:lnTo>
                  <a:pt x="551" y="46"/>
                </a:lnTo>
                <a:lnTo>
                  <a:pt x="553" y="48"/>
                </a:lnTo>
                <a:lnTo>
                  <a:pt x="557" y="51"/>
                </a:lnTo>
                <a:lnTo>
                  <a:pt x="553" y="53"/>
                </a:lnTo>
                <a:lnTo>
                  <a:pt x="549" y="54"/>
                </a:lnTo>
                <a:lnTo>
                  <a:pt x="543" y="54"/>
                </a:lnTo>
                <a:lnTo>
                  <a:pt x="538" y="54"/>
                </a:lnTo>
                <a:lnTo>
                  <a:pt x="524" y="55"/>
                </a:lnTo>
                <a:lnTo>
                  <a:pt x="517" y="55"/>
                </a:lnTo>
                <a:lnTo>
                  <a:pt x="510" y="55"/>
                </a:lnTo>
                <a:lnTo>
                  <a:pt x="520" y="73"/>
                </a:lnTo>
                <a:lnTo>
                  <a:pt x="514" y="73"/>
                </a:lnTo>
                <a:lnTo>
                  <a:pt x="508" y="75"/>
                </a:lnTo>
                <a:lnTo>
                  <a:pt x="504" y="75"/>
                </a:lnTo>
                <a:lnTo>
                  <a:pt x="500" y="76"/>
                </a:lnTo>
                <a:lnTo>
                  <a:pt x="498" y="77"/>
                </a:lnTo>
                <a:lnTo>
                  <a:pt x="496" y="79"/>
                </a:lnTo>
                <a:lnTo>
                  <a:pt x="494" y="81"/>
                </a:lnTo>
                <a:lnTo>
                  <a:pt x="494" y="84"/>
                </a:lnTo>
                <a:lnTo>
                  <a:pt x="494" y="85"/>
                </a:lnTo>
                <a:lnTo>
                  <a:pt x="494" y="87"/>
                </a:lnTo>
                <a:lnTo>
                  <a:pt x="494" y="92"/>
                </a:lnTo>
                <a:lnTo>
                  <a:pt x="495" y="98"/>
                </a:lnTo>
                <a:lnTo>
                  <a:pt x="492" y="96"/>
                </a:lnTo>
                <a:lnTo>
                  <a:pt x="490" y="95"/>
                </a:lnTo>
                <a:lnTo>
                  <a:pt x="484" y="92"/>
                </a:lnTo>
                <a:lnTo>
                  <a:pt x="480" y="87"/>
                </a:lnTo>
                <a:lnTo>
                  <a:pt x="474" y="84"/>
                </a:lnTo>
                <a:lnTo>
                  <a:pt x="470" y="79"/>
                </a:lnTo>
                <a:lnTo>
                  <a:pt x="465" y="75"/>
                </a:lnTo>
                <a:lnTo>
                  <a:pt x="461" y="72"/>
                </a:lnTo>
                <a:lnTo>
                  <a:pt x="454" y="69"/>
                </a:lnTo>
                <a:lnTo>
                  <a:pt x="454" y="72"/>
                </a:lnTo>
                <a:lnTo>
                  <a:pt x="453" y="75"/>
                </a:lnTo>
                <a:lnTo>
                  <a:pt x="453" y="80"/>
                </a:lnTo>
                <a:lnTo>
                  <a:pt x="454" y="85"/>
                </a:lnTo>
                <a:lnTo>
                  <a:pt x="455" y="88"/>
                </a:lnTo>
                <a:lnTo>
                  <a:pt x="458" y="91"/>
                </a:lnTo>
                <a:lnTo>
                  <a:pt x="460" y="94"/>
                </a:lnTo>
                <a:lnTo>
                  <a:pt x="464" y="98"/>
                </a:lnTo>
                <a:lnTo>
                  <a:pt x="468" y="101"/>
                </a:lnTo>
                <a:lnTo>
                  <a:pt x="472" y="104"/>
                </a:lnTo>
                <a:lnTo>
                  <a:pt x="472" y="127"/>
                </a:lnTo>
                <a:lnTo>
                  <a:pt x="469" y="126"/>
                </a:lnTo>
                <a:lnTo>
                  <a:pt x="468" y="125"/>
                </a:lnTo>
                <a:lnTo>
                  <a:pt x="463" y="120"/>
                </a:lnTo>
                <a:lnTo>
                  <a:pt x="461" y="118"/>
                </a:lnTo>
                <a:lnTo>
                  <a:pt x="460" y="116"/>
                </a:lnTo>
                <a:lnTo>
                  <a:pt x="456" y="111"/>
                </a:lnTo>
                <a:lnTo>
                  <a:pt x="454" y="106"/>
                </a:lnTo>
                <a:lnTo>
                  <a:pt x="451" y="101"/>
                </a:lnTo>
                <a:lnTo>
                  <a:pt x="445" y="91"/>
                </a:lnTo>
                <a:lnTo>
                  <a:pt x="442" y="85"/>
                </a:lnTo>
                <a:lnTo>
                  <a:pt x="440" y="81"/>
                </a:lnTo>
                <a:lnTo>
                  <a:pt x="436" y="77"/>
                </a:lnTo>
                <a:lnTo>
                  <a:pt x="431" y="73"/>
                </a:lnTo>
                <a:lnTo>
                  <a:pt x="427" y="71"/>
                </a:lnTo>
                <a:lnTo>
                  <a:pt x="421" y="68"/>
                </a:lnTo>
                <a:lnTo>
                  <a:pt x="418" y="67"/>
                </a:lnTo>
                <a:lnTo>
                  <a:pt x="414" y="67"/>
                </a:lnTo>
                <a:lnTo>
                  <a:pt x="406" y="66"/>
                </a:lnTo>
                <a:lnTo>
                  <a:pt x="403" y="67"/>
                </a:lnTo>
                <a:lnTo>
                  <a:pt x="401" y="68"/>
                </a:lnTo>
                <a:lnTo>
                  <a:pt x="398" y="69"/>
                </a:lnTo>
                <a:lnTo>
                  <a:pt x="396" y="73"/>
                </a:lnTo>
                <a:lnTo>
                  <a:pt x="394" y="76"/>
                </a:lnTo>
                <a:lnTo>
                  <a:pt x="392" y="81"/>
                </a:lnTo>
                <a:lnTo>
                  <a:pt x="392" y="85"/>
                </a:lnTo>
                <a:lnTo>
                  <a:pt x="392" y="89"/>
                </a:lnTo>
                <a:lnTo>
                  <a:pt x="392" y="93"/>
                </a:lnTo>
                <a:lnTo>
                  <a:pt x="392" y="96"/>
                </a:lnTo>
                <a:lnTo>
                  <a:pt x="393" y="100"/>
                </a:lnTo>
                <a:lnTo>
                  <a:pt x="394" y="103"/>
                </a:lnTo>
                <a:lnTo>
                  <a:pt x="396" y="107"/>
                </a:lnTo>
                <a:lnTo>
                  <a:pt x="398" y="111"/>
                </a:lnTo>
                <a:lnTo>
                  <a:pt x="401" y="114"/>
                </a:lnTo>
                <a:lnTo>
                  <a:pt x="403" y="117"/>
                </a:lnTo>
                <a:lnTo>
                  <a:pt x="410" y="123"/>
                </a:lnTo>
                <a:lnTo>
                  <a:pt x="413" y="126"/>
                </a:lnTo>
                <a:lnTo>
                  <a:pt x="416" y="128"/>
                </a:lnTo>
                <a:lnTo>
                  <a:pt x="420" y="130"/>
                </a:lnTo>
                <a:lnTo>
                  <a:pt x="424" y="131"/>
                </a:lnTo>
                <a:lnTo>
                  <a:pt x="428" y="133"/>
                </a:lnTo>
                <a:lnTo>
                  <a:pt x="431" y="134"/>
                </a:lnTo>
                <a:lnTo>
                  <a:pt x="428" y="136"/>
                </a:lnTo>
                <a:lnTo>
                  <a:pt x="425" y="138"/>
                </a:lnTo>
                <a:lnTo>
                  <a:pt x="423" y="138"/>
                </a:lnTo>
                <a:lnTo>
                  <a:pt x="419" y="139"/>
                </a:lnTo>
                <a:lnTo>
                  <a:pt x="415" y="139"/>
                </a:lnTo>
                <a:lnTo>
                  <a:pt x="411" y="139"/>
                </a:lnTo>
                <a:lnTo>
                  <a:pt x="407" y="138"/>
                </a:lnTo>
                <a:lnTo>
                  <a:pt x="402" y="135"/>
                </a:lnTo>
                <a:lnTo>
                  <a:pt x="398" y="134"/>
                </a:lnTo>
                <a:lnTo>
                  <a:pt x="389" y="129"/>
                </a:lnTo>
                <a:lnTo>
                  <a:pt x="380" y="125"/>
                </a:lnTo>
                <a:lnTo>
                  <a:pt x="375" y="122"/>
                </a:lnTo>
                <a:lnTo>
                  <a:pt x="371" y="121"/>
                </a:lnTo>
                <a:lnTo>
                  <a:pt x="366" y="120"/>
                </a:lnTo>
                <a:lnTo>
                  <a:pt x="361" y="118"/>
                </a:lnTo>
                <a:lnTo>
                  <a:pt x="331" y="118"/>
                </a:lnTo>
                <a:lnTo>
                  <a:pt x="333" y="123"/>
                </a:lnTo>
                <a:lnTo>
                  <a:pt x="335" y="133"/>
                </a:lnTo>
                <a:lnTo>
                  <a:pt x="335" y="134"/>
                </a:lnTo>
                <a:lnTo>
                  <a:pt x="335" y="136"/>
                </a:lnTo>
                <a:lnTo>
                  <a:pt x="334" y="138"/>
                </a:lnTo>
                <a:lnTo>
                  <a:pt x="332" y="138"/>
                </a:lnTo>
                <a:lnTo>
                  <a:pt x="330" y="136"/>
                </a:lnTo>
                <a:lnTo>
                  <a:pt x="329" y="134"/>
                </a:lnTo>
                <a:lnTo>
                  <a:pt x="321" y="127"/>
                </a:lnTo>
                <a:lnTo>
                  <a:pt x="318" y="125"/>
                </a:lnTo>
                <a:lnTo>
                  <a:pt x="316" y="125"/>
                </a:lnTo>
                <a:lnTo>
                  <a:pt x="315" y="125"/>
                </a:lnTo>
                <a:lnTo>
                  <a:pt x="312" y="125"/>
                </a:lnTo>
                <a:lnTo>
                  <a:pt x="307" y="127"/>
                </a:lnTo>
                <a:lnTo>
                  <a:pt x="302" y="130"/>
                </a:lnTo>
                <a:lnTo>
                  <a:pt x="296" y="134"/>
                </a:lnTo>
                <a:lnTo>
                  <a:pt x="290" y="138"/>
                </a:lnTo>
                <a:lnTo>
                  <a:pt x="284" y="141"/>
                </a:lnTo>
                <a:lnTo>
                  <a:pt x="281" y="142"/>
                </a:lnTo>
                <a:lnTo>
                  <a:pt x="277" y="142"/>
                </a:lnTo>
                <a:lnTo>
                  <a:pt x="276" y="142"/>
                </a:lnTo>
                <a:lnTo>
                  <a:pt x="275" y="141"/>
                </a:lnTo>
                <a:lnTo>
                  <a:pt x="272" y="138"/>
                </a:lnTo>
                <a:lnTo>
                  <a:pt x="268" y="134"/>
                </a:lnTo>
                <a:lnTo>
                  <a:pt x="266" y="134"/>
                </a:lnTo>
                <a:lnTo>
                  <a:pt x="263" y="134"/>
                </a:lnTo>
                <a:lnTo>
                  <a:pt x="258" y="134"/>
                </a:lnTo>
                <a:lnTo>
                  <a:pt x="253" y="134"/>
                </a:lnTo>
                <a:lnTo>
                  <a:pt x="243" y="136"/>
                </a:lnTo>
                <a:lnTo>
                  <a:pt x="235" y="141"/>
                </a:lnTo>
                <a:lnTo>
                  <a:pt x="231" y="143"/>
                </a:lnTo>
                <a:lnTo>
                  <a:pt x="227" y="145"/>
                </a:lnTo>
                <a:lnTo>
                  <a:pt x="220" y="151"/>
                </a:lnTo>
                <a:lnTo>
                  <a:pt x="214" y="157"/>
                </a:lnTo>
                <a:lnTo>
                  <a:pt x="201" y="167"/>
                </a:lnTo>
                <a:lnTo>
                  <a:pt x="199" y="165"/>
                </a:lnTo>
                <a:lnTo>
                  <a:pt x="197" y="162"/>
                </a:lnTo>
                <a:lnTo>
                  <a:pt x="195" y="158"/>
                </a:lnTo>
                <a:lnTo>
                  <a:pt x="194" y="156"/>
                </a:lnTo>
                <a:lnTo>
                  <a:pt x="193" y="148"/>
                </a:lnTo>
                <a:lnTo>
                  <a:pt x="192" y="139"/>
                </a:lnTo>
                <a:lnTo>
                  <a:pt x="172" y="139"/>
                </a:lnTo>
                <a:lnTo>
                  <a:pt x="173" y="144"/>
                </a:lnTo>
                <a:lnTo>
                  <a:pt x="174" y="148"/>
                </a:lnTo>
                <a:lnTo>
                  <a:pt x="177" y="154"/>
                </a:lnTo>
                <a:lnTo>
                  <a:pt x="178" y="158"/>
                </a:lnTo>
                <a:lnTo>
                  <a:pt x="178" y="161"/>
                </a:lnTo>
                <a:lnTo>
                  <a:pt x="179" y="166"/>
                </a:lnTo>
                <a:lnTo>
                  <a:pt x="179" y="171"/>
                </a:lnTo>
                <a:lnTo>
                  <a:pt x="174" y="171"/>
                </a:lnTo>
                <a:lnTo>
                  <a:pt x="171" y="171"/>
                </a:lnTo>
                <a:lnTo>
                  <a:pt x="167" y="172"/>
                </a:lnTo>
                <a:lnTo>
                  <a:pt x="164" y="174"/>
                </a:lnTo>
                <a:lnTo>
                  <a:pt x="160" y="175"/>
                </a:lnTo>
                <a:lnTo>
                  <a:pt x="157" y="177"/>
                </a:lnTo>
                <a:lnTo>
                  <a:pt x="153" y="179"/>
                </a:lnTo>
                <a:lnTo>
                  <a:pt x="151" y="181"/>
                </a:lnTo>
                <a:lnTo>
                  <a:pt x="146" y="186"/>
                </a:lnTo>
                <a:lnTo>
                  <a:pt x="141" y="192"/>
                </a:lnTo>
                <a:lnTo>
                  <a:pt x="138" y="197"/>
                </a:lnTo>
                <a:lnTo>
                  <a:pt x="134" y="203"/>
                </a:lnTo>
                <a:lnTo>
                  <a:pt x="131" y="202"/>
                </a:lnTo>
                <a:lnTo>
                  <a:pt x="128" y="200"/>
                </a:lnTo>
                <a:lnTo>
                  <a:pt x="118" y="197"/>
                </a:lnTo>
                <a:lnTo>
                  <a:pt x="107" y="194"/>
                </a:lnTo>
                <a:lnTo>
                  <a:pt x="110" y="200"/>
                </a:lnTo>
                <a:lnTo>
                  <a:pt x="113" y="206"/>
                </a:lnTo>
                <a:lnTo>
                  <a:pt x="117" y="212"/>
                </a:lnTo>
                <a:lnTo>
                  <a:pt x="119" y="218"/>
                </a:lnTo>
                <a:lnTo>
                  <a:pt x="113" y="218"/>
                </a:lnTo>
                <a:lnTo>
                  <a:pt x="108" y="217"/>
                </a:lnTo>
                <a:lnTo>
                  <a:pt x="102" y="216"/>
                </a:lnTo>
                <a:lnTo>
                  <a:pt x="98" y="214"/>
                </a:lnTo>
                <a:lnTo>
                  <a:pt x="94" y="211"/>
                </a:lnTo>
                <a:lnTo>
                  <a:pt x="91" y="208"/>
                </a:lnTo>
                <a:lnTo>
                  <a:pt x="85" y="202"/>
                </a:lnTo>
                <a:lnTo>
                  <a:pt x="81" y="194"/>
                </a:lnTo>
                <a:lnTo>
                  <a:pt x="76" y="186"/>
                </a:lnTo>
                <a:lnTo>
                  <a:pt x="72" y="178"/>
                </a:lnTo>
                <a:lnTo>
                  <a:pt x="69" y="171"/>
                </a:lnTo>
                <a:lnTo>
                  <a:pt x="72" y="171"/>
                </a:lnTo>
                <a:lnTo>
                  <a:pt x="77" y="172"/>
                </a:lnTo>
                <a:lnTo>
                  <a:pt x="86" y="175"/>
                </a:lnTo>
                <a:lnTo>
                  <a:pt x="98" y="178"/>
                </a:lnTo>
                <a:lnTo>
                  <a:pt x="104" y="180"/>
                </a:lnTo>
                <a:lnTo>
                  <a:pt x="112" y="180"/>
                </a:lnTo>
                <a:lnTo>
                  <a:pt x="116" y="180"/>
                </a:lnTo>
                <a:lnTo>
                  <a:pt x="121" y="179"/>
                </a:lnTo>
                <a:lnTo>
                  <a:pt x="125" y="177"/>
                </a:lnTo>
                <a:lnTo>
                  <a:pt x="128" y="175"/>
                </a:lnTo>
                <a:lnTo>
                  <a:pt x="135" y="171"/>
                </a:lnTo>
                <a:lnTo>
                  <a:pt x="142" y="167"/>
                </a:lnTo>
                <a:lnTo>
                  <a:pt x="141" y="165"/>
                </a:lnTo>
                <a:lnTo>
                  <a:pt x="140" y="161"/>
                </a:lnTo>
                <a:lnTo>
                  <a:pt x="138" y="158"/>
                </a:lnTo>
                <a:lnTo>
                  <a:pt x="137" y="156"/>
                </a:lnTo>
                <a:lnTo>
                  <a:pt x="134" y="153"/>
                </a:lnTo>
                <a:lnTo>
                  <a:pt x="131" y="150"/>
                </a:lnTo>
                <a:lnTo>
                  <a:pt x="128" y="148"/>
                </a:lnTo>
                <a:lnTo>
                  <a:pt x="125" y="147"/>
                </a:lnTo>
                <a:lnTo>
                  <a:pt x="121" y="144"/>
                </a:lnTo>
                <a:lnTo>
                  <a:pt x="117" y="143"/>
                </a:lnTo>
                <a:lnTo>
                  <a:pt x="108" y="140"/>
                </a:lnTo>
                <a:lnTo>
                  <a:pt x="99" y="138"/>
                </a:lnTo>
                <a:lnTo>
                  <a:pt x="89" y="134"/>
                </a:lnTo>
                <a:lnTo>
                  <a:pt x="69" y="131"/>
                </a:lnTo>
                <a:lnTo>
                  <a:pt x="50" y="126"/>
                </a:lnTo>
                <a:lnTo>
                  <a:pt x="41" y="125"/>
                </a:lnTo>
                <a:lnTo>
                  <a:pt x="34" y="121"/>
                </a:lnTo>
                <a:lnTo>
                  <a:pt x="26" y="118"/>
                </a:lnTo>
                <a:lnTo>
                  <a:pt x="21" y="114"/>
                </a:lnTo>
                <a:lnTo>
                  <a:pt x="21" y="125"/>
                </a:lnTo>
                <a:lnTo>
                  <a:pt x="13" y="127"/>
                </a:lnTo>
                <a:lnTo>
                  <a:pt x="7" y="130"/>
                </a:lnTo>
                <a:lnTo>
                  <a:pt x="4" y="131"/>
                </a:lnTo>
                <a:lnTo>
                  <a:pt x="1" y="134"/>
                </a:lnTo>
                <a:lnTo>
                  <a:pt x="0" y="136"/>
                </a:lnTo>
                <a:lnTo>
                  <a:pt x="0" y="140"/>
                </a:lnTo>
                <a:lnTo>
                  <a:pt x="0" y="143"/>
                </a:lnTo>
                <a:lnTo>
                  <a:pt x="0" y="144"/>
                </a:lnTo>
                <a:lnTo>
                  <a:pt x="1" y="147"/>
                </a:lnTo>
                <a:lnTo>
                  <a:pt x="2" y="148"/>
                </a:lnTo>
                <a:lnTo>
                  <a:pt x="4" y="148"/>
                </a:lnTo>
                <a:lnTo>
                  <a:pt x="6" y="148"/>
                </a:lnTo>
                <a:lnTo>
                  <a:pt x="9" y="148"/>
                </a:lnTo>
                <a:lnTo>
                  <a:pt x="13" y="149"/>
                </a:lnTo>
                <a:lnTo>
                  <a:pt x="15" y="149"/>
                </a:lnTo>
                <a:lnTo>
                  <a:pt x="17" y="151"/>
                </a:lnTo>
                <a:lnTo>
                  <a:pt x="18" y="153"/>
                </a:lnTo>
                <a:lnTo>
                  <a:pt x="18" y="154"/>
                </a:lnTo>
                <a:lnTo>
                  <a:pt x="18" y="157"/>
                </a:lnTo>
                <a:lnTo>
                  <a:pt x="17" y="158"/>
                </a:lnTo>
                <a:lnTo>
                  <a:pt x="15" y="161"/>
                </a:lnTo>
                <a:lnTo>
                  <a:pt x="13" y="165"/>
                </a:lnTo>
                <a:lnTo>
                  <a:pt x="13" y="166"/>
                </a:lnTo>
                <a:lnTo>
                  <a:pt x="13" y="167"/>
                </a:lnTo>
                <a:lnTo>
                  <a:pt x="13" y="170"/>
                </a:lnTo>
                <a:lnTo>
                  <a:pt x="13" y="171"/>
                </a:lnTo>
                <a:lnTo>
                  <a:pt x="15" y="171"/>
                </a:lnTo>
                <a:lnTo>
                  <a:pt x="16" y="171"/>
                </a:lnTo>
                <a:lnTo>
                  <a:pt x="19" y="169"/>
                </a:lnTo>
                <a:lnTo>
                  <a:pt x="21" y="167"/>
                </a:lnTo>
                <a:lnTo>
                  <a:pt x="21" y="174"/>
                </a:lnTo>
                <a:lnTo>
                  <a:pt x="22" y="179"/>
                </a:lnTo>
                <a:lnTo>
                  <a:pt x="23" y="184"/>
                </a:lnTo>
                <a:lnTo>
                  <a:pt x="23" y="190"/>
                </a:lnTo>
                <a:lnTo>
                  <a:pt x="26" y="196"/>
                </a:lnTo>
                <a:lnTo>
                  <a:pt x="27" y="200"/>
                </a:lnTo>
                <a:lnTo>
                  <a:pt x="29" y="202"/>
                </a:lnTo>
                <a:lnTo>
                  <a:pt x="30" y="203"/>
                </a:lnTo>
                <a:lnTo>
                  <a:pt x="31" y="204"/>
                </a:lnTo>
                <a:lnTo>
                  <a:pt x="32" y="204"/>
                </a:lnTo>
                <a:lnTo>
                  <a:pt x="32" y="207"/>
                </a:lnTo>
                <a:lnTo>
                  <a:pt x="32" y="210"/>
                </a:lnTo>
                <a:lnTo>
                  <a:pt x="35" y="214"/>
                </a:lnTo>
                <a:lnTo>
                  <a:pt x="36" y="219"/>
                </a:lnTo>
                <a:lnTo>
                  <a:pt x="36" y="220"/>
                </a:lnTo>
                <a:lnTo>
                  <a:pt x="36" y="223"/>
                </a:lnTo>
                <a:lnTo>
                  <a:pt x="40" y="227"/>
                </a:lnTo>
                <a:lnTo>
                  <a:pt x="44" y="230"/>
                </a:lnTo>
                <a:lnTo>
                  <a:pt x="52" y="237"/>
                </a:lnTo>
                <a:lnTo>
                  <a:pt x="52" y="246"/>
                </a:lnTo>
                <a:lnTo>
                  <a:pt x="49" y="247"/>
                </a:lnTo>
                <a:lnTo>
                  <a:pt x="46" y="248"/>
                </a:lnTo>
                <a:lnTo>
                  <a:pt x="44" y="250"/>
                </a:lnTo>
                <a:lnTo>
                  <a:pt x="42" y="250"/>
                </a:lnTo>
                <a:lnTo>
                  <a:pt x="39" y="253"/>
                </a:lnTo>
                <a:lnTo>
                  <a:pt x="35" y="256"/>
                </a:lnTo>
                <a:lnTo>
                  <a:pt x="29" y="263"/>
                </a:lnTo>
                <a:lnTo>
                  <a:pt x="23" y="269"/>
                </a:lnTo>
                <a:lnTo>
                  <a:pt x="26" y="273"/>
                </a:lnTo>
                <a:lnTo>
                  <a:pt x="29" y="275"/>
                </a:lnTo>
                <a:lnTo>
                  <a:pt x="32" y="278"/>
                </a:lnTo>
                <a:lnTo>
                  <a:pt x="35" y="279"/>
                </a:lnTo>
                <a:lnTo>
                  <a:pt x="36" y="279"/>
                </a:lnTo>
                <a:lnTo>
                  <a:pt x="29" y="287"/>
                </a:lnTo>
                <a:lnTo>
                  <a:pt x="27" y="290"/>
                </a:lnTo>
                <a:lnTo>
                  <a:pt x="24" y="292"/>
                </a:lnTo>
                <a:lnTo>
                  <a:pt x="22" y="293"/>
                </a:lnTo>
                <a:lnTo>
                  <a:pt x="19" y="295"/>
                </a:lnTo>
                <a:lnTo>
                  <a:pt x="18" y="304"/>
                </a:lnTo>
                <a:lnTo>
                  <a:pt x="13" y="306"/>
                </a:lnTo>
                <a:lnTo>
                  <a:pt x="14" y="311"/>
                </a:lnTo>
                <a:lnTo>
                  <a:pt x="18" y="322"/>
                </a:lnTo>
                <a:lnTo>
                  <a:pt x="23" y="332"/>
                </a:lnTo>
                <a:lnTo>
                  <a:pt x="26" y="342"/>
                </a:lnTo>
                <a:lnTo>
                  <a:pt x="26" y="346"/>
                </a:lnTo>
                <a:lnTo>
                  <a:pt x="27" y="351"/>
                </a:lnTo>
                <a:lnTo>
                  <a:pt x="28" y="354"/>
                </a:lnTo>
                <a:lnTo>
                  <a:pt x="29" y="354"/>
                </a:lnTo>
                <a:lnTo>
                  <a:pt x="31" y="353"/>
                </a:lnTo>
                <a:lnTo>
                  <a:pt x="39" y="350"/>
                </a:lnTo>
                <a:lnTo>
                  <a:pt x="45" y="347"/>
                </a:lnTo>
                <a:lnTo>
                  <a:pt x="53" y="350"/>
                </a:lnTo>
                <a:lnTo>
                  <a:pt x="62" y="351"/>
                </a:lnTo>
                <a:lnTo>
                  <a:pt x="71" y="351"/>
                </a:lnTo>
                <a:lnTo>
                  <a:pt x="79" y="363"/>
                </a:lnTo>
                <a:lnTo>
                  <a:pt x="81" y="373"/>
                </a:lnTo>
                <a:lnTo>
                  <a:pt x="85" y="377"/>
                </a:lnTo>
                <a:lnTo>
                  <a:pt x="88" y="381"/>
                </a:lnTo>
                <a:lnTo>
                  <a:pt x="90" y="386"/>
                </a:lnTo>
                <a:lnTo>
                  <a:pt x="91" y="389"/>
                </a:lnTo>
                <a:lnTo>
                  <a:pt x="93" y="390"/>
                </a:lnTo>
                <a:lnTo>
                  <a:pt x="94" y="390"/>
                </a:lnTo>
                <a:lnTo>
                  <a:pt x="95" y="390"/>
                </a:lnTo>
                <a:lnTo>
                  <a:pt x="98" y="391"/>
                </a:lnTo>
                <a:lnTo>
                  <a:pt x="101" y="391"/>
                </a:lnTo>
                <a:lnTo>
                  <a:pt x="102" y="391"/>
                </a:lnTo>
                <a:lnTo>
                  <a:pt x="104" y="400"/>
                </a:lnTo>
                <a:lnTo>
                  <a:pt x="98" y="402"/>
                </a:lnTo>
                <a:lnTo>
                  <a:pt x="86" y="403"/>
                </a:lnTo>
                <a:lnTo>
                  <a:pt x="92" y="420"/>
                </a:lnTo>
                <a:lnTo>
                  <a:pt x="102" y="421"/>
                </a:lnTo>
                <a:lnTo>
                  <a:pt x="118" y="416"/>
                </a:lnTo>
                <a:lnTo>
                  <a:pt x="128" y="423"/>
                </a:lnTo>
                <a:lnTo>
                  <a:pt x="128" y="431"/>
                </a:lnTo>
                <a:lnTo>
                  <a:pt x="129" y="439"/>
                </a:lnTo>
                <a:lnTo>
                  <a:pt x="144" y="439"/>
                </a:lnTo>
                <a:lnTo>
                  <a:pt x="148" y="453"/>
                </a:lnTo>
                <a:lnTo>
                  <a:pt x="158" y="454"/>
                </a:lnTo>
                <a:lnTo>
                  <a:pt x="161" y="458"/>
                </a:lnTo>
                <a:lnTo>
                  <a:pt x="174" y="454"/>
                </a:lnTo>
                <a:lnTo>
                  <a:pt x="178" y="462"/>
                </a:lnTo>
                <a:lnTo>
                  <a:pt x="187" y="464"/>
                </a:lnTo>
                <a:lnTo>
                  <a:pt x="193" y="466"/>
                </a:lnTo>
                <a:lnTo>
                  <a:pt x="201" y="467"/>
                </a:lnTo>
                <a:lnTo>
                  <a:pt x="207" y="470"/>
                </a:lnTo>
                <a:lnTo>
                  <a:pt x="210" y="471"/>
                </a:lnTo>
                <a:lnTo>
                  <a:pt x="213" y="472"/>
                </a:lnTo>
                <a:lnTo>
                  <a:pt x="213" y="474"/>
                </a:lnTo>
                <a:lnTo>
                  <a:pt x="213" y="476"/>
                </a:lnTo>
                <a:lnTo>
                  <a:pt x="213" y="478"/>
                </a:lnTo>
                <a:lnTo>
                  <a:pt x="208" y="483"/>
                </a:lnTo>
                <a:lnTo>
                  <a:pt x="210" y="492"/>
                </a:lnTo>
                <a:lnTo>
                  <a:pt x="213" y="499"/>
                </a:lnTo>
                <a:lnTo>
                  <a:pt x="213" y="503"/>
                </a:lnTo>
                <a:lnTo>
                  <a:pt x="197" y="503"/>
                </a:lnTo>
                <a:lnTo>
                  <a:pt x="191" y="511"/>
                </a:lnTo>
                <a:lnTo>
                  <a:pt x="191" y="519"/>
                </a:lnTo>
                <a:lnTo>
                  <a:pt x="202" y="520"/>
                </a:lnTo>
                <a:lnTo>
                  <a:pt x="194" y="527"/>
                </a:lnTo>
                <a:lnTo>
                  <a:pt x="187" y="529"/>
                </a:lnTo>
                <a:lnTo>
                  <a:pt x="194" y="539"/>
                </a:lnTo>
                <a:lnTo>
                  <a:pt x="186" y="542"/>
                </a:lnTo>
                <a:lnTo>
                  <a:pt x="186" y="554"/>
                </a:lnTo>
                <a:lnTo>
                  <a:pt x="175" y="556"/>
                </a:lnTo>
                <a:lnTo>
                  <a:pt x="178" y="560"/>
                </a:lnTo>
                <a:lnTo>
                  <a:pt x="181" y="563"/>
                </a:lnTo>
                <a:lnTo>
                  <a:pt x="184" y="565"/>
                </a:lnTo>
                <a:lnTo>
                  <a:pt x="187" y="566"/>
                </a:lnTo>
                <a:lnTo>
                  <a:pt x="196" y="569"/>
                </a:lnTo>
                <a:lnTo>
                  <a:pt x="217" y="586"/>
                </a:lnTo>
                <a:lnTo>
                  <a:pt x="226" y="587"/>
                </a:lnTo>
                <a:lnTo>
                  <a:pt x="228" y="588"/>
                </a:lnTo>
                <a:lnTo>
                  <a:pt x="231" y="588"/>
                </a:lnTo>
                <a:lnTo>
                  <a:pt x="236" y="587"/>
                </a:lnTo>
                <a:lnTo>
                  <a:pt x="244" y="592"/>
                </a:lnTo>
                <a:lnTo>
                  <a:pt x="257" y="592"/>
                </a:lnTo>
                <a:lnTo>
                  <a:pt x="264" y="593"/>
                </a:lnTo>
                <a:lnTo>
                  <a:pt x="269" y="597"/>
                </a:lnTo>
                <a:lnTo>
                  <a:pt x="272" y="600"/>
                </a:lnTo>
                <a:lnTo>
                  <a:pt x="275" y="602"/>
                </a:lnTo>
                <a:lnTo>
                  <a:pt x="277" y="602"/>
                </a:lnTo>
                <a:lnTo>
                  <a:pt x="281" y="602"/>
                </a:lnTo>
                <a:lnTo>
                  <a:pt x="286" y="602"/>
                </a:lnTo>
                <a:lnTo>
                  <a:pt x="303" y="607"/>
                </a:lnTo>
                <a:lnTo>
                  <a:pt x="306" y="615"/>
                </a:lnTo>
                <a:lnTo>
                  <a:pt x="315" y="618"/>
                </a:lnTo>
                <a:lnTo>
                  <a:pt x="318" y="622"/>
                </a:lnTo>
                <a:lnTo>
                  <a:pt x="321" y="622"/>
                </a:lnTo>
                <a:lnTo>
                  <a:pt x="323" y="624"/>
                </a:lnTo>
                <a:lnTo>
                  <a:pt x="326" y="627"/>
                </a:lnTo>
                <a:lnTo>
                  <a:pt x="326" y="628"/>
                </a:lnTo>
                <a:lnTo>
                  <a:pt x="326" y="629"/>
                </a:lnTo>
                <a:lnTo>
                  <a:pt x="326" y="631"/>
                </a:lnTo>
                <a:lnTo>
                  <a:pt x="329" y="631"/>
                </a:lnTo>
                <a:lnTo>
                  <a:pt x="330" y="632"/>
                </a:lnTo>
                <a:lnTo>
                  <a:pt x="332" y="632"/>
                </a:lnTo>
                <a:lnTo>
                  <a:pt x="335" y="631"/>
                </a:lnTo>
                <a:lnTo>
                  <a:pt x="338" y="629"/>
                </a:lnTo>
                <a:lnTo>
                  <a:pt x="339" y="628"/>
                </a:lnTo>
                <a:lnTo>
                  <a:pt x="340" y="627"/>
                </a:lnTo>
                <a:lnTo>
                  <a:pt x="343" y="623"/>
                </a:lnTo>
                <a:lnTo>
                  <a:pt x="333" y="604"/>
                </a:lnTo>
                <a:lnTo>
                  <a:pt x="329" y="593"/>
                </a:lnTo>
                <a:lnTo>
                  <a:pt x="322" y="583"/>
                </a:lnTo>
                <a:lnTo>
                  <a:pt x="316" y="574"/>
                </a:lnTo>
                <a:lnTo>
                  <a:pt x="311" y="573"/>
                </a:lnTo>
                <a:lnTo>
                  <a:pt x="311" y="565"/>
                </a:lnTo>
                <a:lnTo>
                  <a:pt x="313" y="559"/>
                </a:lnTo>
                <a:lnTo>
                  <a:pt x="316" y="549"/>
                </a:lnTo>
                <a:lnTo>
                  <a:pt x="316" y="548"/>
                </a:lnTo>
                <a:lnTo>
                  <a:pt x="319" y="547"/>
                </a:lnTo>
                <a:lnTo>
                  <a:pt x="323" y="546"/>
                </a:lnTo>
                <a:lnTo>
                  <a:pt x="325" y="546"/>
                </a:lnTo>
                <a:lnTo>
                  <a:pt x="326" y="546"/>
                </a:lnTo>
                <a:lnTo>
                  <a:pt x="327" y="544"/>
                </a:lnTo>
                <a:lnTo>
                  <a:pt x="331" y="539"/>
                </a:lnTo>
                <a:lnTo>
                  <a:pt x="335" y="535"/>
                </a:lnTo>
                <a:lnTo>
                  <a:pt x="337" y="533"/>
                </a:lnTo>
                <a:lnTo>
                  <a:pt x="337" y="532"/>
                </a:lnTo>
                <a:lnTo>
                  <a:pt x="337" y="529"/>
                </a:lnTo>
                <a:lnTo>
                  <a:pt x="335" y="526"/>
                </a:lnTo>
                <a:lnTo>
                  <a:pt x="330" y="517"/>
                </a:lnTo>
                <a:lnTo>
                  <a:pt x="323" y="506"/>
                </a:lnTo>
                <a:lnTo>
                  <a:pt x="309" y="505"/>
                </a:lnTo>
                <a:lnTo>
                  <a:pt x="309" y="496"/>
                </a:lnTo>
                <a:lnTo>
                  <a:pt x="307" y="497"/>
                </a:lnTo>
                <a:lnTo>
                  <a:pt x="305" y="497"/>
                </a:lnTo>
                <a:lnTo>
                  <a:pt x="304" y="498"/>
                </a:lnTo>
                <a:lnTo>
                  <a:pt x="303" y="498"/>
                </a:lnTo>
                <a:lnTo>
                  <a:pt x="302" y="497"/>
                </a:lnTo>
                <a:lnTo>
                  <a:pt x="300" y="497"/>
                </a:lnTo>
                <a:lnTo>
                  <a:pt x="300" y="496"/>
                </a:lnTo>
                <a:lnTo>
                  <a:pt x="300" y="493"/>
                </a:lnTo>
                <a:lnTo>
                  <a:pt x="300" y="486"/>
                </a:lnTo>
                <a:lnTo>
                  <a:pt x="300" y="481"/>
                </a:lnTo>
                <a:lnTo>
                  <a:pt x="300" y="480"/>
                </a:lnTo>
                <a:lnTo>
                  <a:pt x="300" y="464"/>
                </a:lnTo>
                <a:lnTo>
                  <a:pt x="309" y="454"/>
                </a:lnTo>
                <a:lnTo>
                  <a:pt x="316" y="466"/>
                </a:lnTo>
                <a:lnTo>
                  <a:pt x="325" y="462"/>
                </a:lnTo>
                <a:lnTo>
                  <a:pt x="322" y="448"/>
                </a:lnTo>
                <a:lnTo>
                  <a:pt x="343" y="430"/>
                </a:lnTo>
                <a:lnTo>
                  <a:pt x="362" y="432"/>
                </a:lnTo>
                <a:lnTo>
                  <a:pt x="379" y="438"/>
                </a:lnTo>
                <a:lnTo>
                  <a:pt x="392" y="449"/>
                </a:lnTo>
                <a:lnTo>
                  <a:pt x="400" y="448"/>
                </a:lnTo>
                <a:lnTo>
                  <a:pt x="410" y="452"/>
                </a:lnTo>
                <a:lnTo>
                  <a:pt x="415" y="445"/>
                </a:lnTo>
                <a:lnTo>
                  <a:pt x="445" y="444"/>
                </a:lnTo>
                <a:lnTo>
                  <a:pt x="454" y="453"/>
                </a:lnTo>
                <a:lnTo>
                  <a:pt x="483" y="449"/>
                </a:lnTo>
                <a:lnTo>
                  <a:pt x="483" y="438"/>
                </a:lnTo>
                <a:lnTo>
                  <a:pt x="462" y="427"/>
                </a:lnTo>
                <a:lnTo>
                  <a:pt x="467" y="421"/>
                </a:lnTo>
                <a:lnTo>
                  <a:pt x="468" y="410"/>
                </a:lnTo>
                <a:lnTo>
                  <a:pt x="481" y="407"/>
                </a:lnTo>
                <a:lnTo>
                  <a:pt x="469" y="402"/>
                </a:lnTo>
                <a:lnTo>
                  <a:pt x="464" y="389"/>
                </a:lnTo>
                <a:lnTo>
                  <a:pt x="483" y="389"/>
                </a:lnTo>
                <a:lnTo>
                  <a:pt x="544" y="373"/>
                </a:lnTo>
                <a:lnTo>
                  <a:pt x="553" y="362"/>
                </a:lnTo>
                <a:lnTo>
                  <a:pt x="578" y="367"/>
                </a:lnTo>
                <a:lnTo>
                  <a:pt x="589" y="385"/>
                </a:lnTo>
                <a:lnTo>
                  <a:pt x="620" y="391"/>
                </a:lnTo>
                <a:lnTo>
                  <a:pt x="620" y="398"/>
                </a:lnTo>
                <a:lnTo>
                  <a:pt x="634" y="398"/>
                </a:lnTo>
                <a:lnTo>
                  <a:pt x="650" y="382"/>
                </a:lnTo>
                <a:lnTo>
                  <a:pt x="657" y="382"/>
                </a:lnTo>
                <a:lnTo>
                  <a:pt x="657" y="391"/>
                </a:lnTo>
                <a:lnTo>
                  <a:pt x="673" y="399"/>
                </a:lnTo>
                <a:lnTo>
                  <a:pt x="719" y="448"/>
                </a:lnTo>
                <a:lnTo>
                  <a:pt x="727" y="450"/>
                </a:lnTo>
                <a:lnTo>
                  <a:pt x="728" y="441"/>
                </a:lnTo>
                <a:lnTo>
                  <a:pt x="737" y="443"/>
                </a:lnTo>
                <a:lnTo>
                  <a:pt x="739" y="450"/>
                </a:lnTo>
                <a:lnTo>
                  <a:pt x="755" y="454"/>
                </a:lnTo>
                <a:lnTo>
                  <a:pt x="762" y="444"/>
                </a:lnTo>
                <a:lnTo>
                  <a:pt x="797" y="471"/>
                </a:lnTo>
                <a:lnTo>
                  <a:pt x="816" y="476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86" name="Freeform 185">
            <a:extLst>
              <a:ext uri="{FF2B5EF4-FFF2-40B4-BE49-F238E27FC236}">
                <a16:creationId xmlns:a16="http://schemas.microsoft.com/office/drawing/2014/main" id="{6E11D6C1-F9AE-3BE0-0E07-F86413E8F4CF}"/>
              </a:ext>
            </a:extLst>
          </p:cNvPr>
          <p:cNvSpPr>
            <a:spLocks/>
          </p:cNvSpPr>
          <p:nvPr/>
        </p:nvSpPr>
        <p:spPr bwMode="auto">
          <a:xfrm>
            <a:off x="4403100" y="2263621"/>
            <a:ext cx="695325" cy="174625"/>
          </a:xfrm>
          <a:custGeom>
            <a:avLst/>
            <a:gdLst>
              <a:gd name="T0" fmla="*/ 147 w 345"/>
              <a:gd name="T1" fmla="*/ 55 h 94"/>
              <a:gd name="T2" fmla="*/ 138 w 345"/>
              <a:gd name="T3" fmla="*/ 72 h 94"/>
              <a:gd name="T4" fmla="*/ 129 w 345"/>
              <a:gd name="T5" fmla="*/ 79 h 94"/>
              <a:gd name="T6" fmla="*/ 120 w 345"/>
              <a:gd name="T7" fmla="*/ 76 h 94"/>
              <a:gd name="T8" fmla="*/ 117 w 345"/>
              <a:gd name="T9" fmla="*/ 75 h 94"/>
              <a:gd name="T10" fmla="*/ 126 w 345"/>
              <a:gd name="T11" fmla="*/ 83 h 94"/>
              <a:gd name="T12" fmla="*/ 110 w 345"/>
              <a:gd name="T13" fmla="*/ 92 h 94"/>
              <a:gd name="T14" fmla="*/ 99 w 345"/>
              <a:gd name="T15" fmla="*/ 90 h 94"/>
              <a:gd name="T16" fmla="*/ 40 w 345"/>
              <a:gd name="T17" fmla="*/ 86 h 94"/>
              <a:gd name="T18" fmla="*/ 27 w 345"/>
              <a:gd name="T19" fmla="*/ 90 h 94"/>
              <a:gd name="T20" fmla="*/ 19 w 345"/>
              <a:gd name="T21" fmla="*/ 84 h 94"/>
              <a:gd name="T22" fmla="*/ 22 w 345"/>
              <a:gd name="T23" fmla="*/ 78 h 94"/>
              <a:gd name="T24" fmla="*/ 45 w 345"/>
              <a:gd name="T25" fmla="*/ 82 h 94"/>
              <a:gd name="T26" fmla="*/ 48 w 345"/>
              <a:gd name="T27" fmla="*/ 70 h 94"/>
              <a:gd name="T28" fmla="*/ 57 w 345"/>
              <a:gd name="T29" fmla="*/ 68 h 94"/>
              <a:gd name="T30" fmla="*/ 66 w 345"/>
              <a:gd name="T31" fmla="*/ 72 h 94"/>
              <a:gd name="T32" fmla="*/ 68 w 345"/>
              <a:gd name="T33" fmla="*/ 68 h 94"/>
              <a:gd name="T34" fmla="*/ 64 w 345"/>
              <a:gd name="T35" fmla="*/ 55 h 94"/>
              <a:gd name="T36" fmla="*/ 55 w 345"/>
              <a:gd name="T37" fmla="*/ 52 h 94"/>
              <a:gd name="T38" fmla="*/ 35 w 345"/>
              <a:gd name="T39" fmla="*/ 60 h 94"/>
              <a:gd name="T40" fmla="*/ 9 w 345"/>
              <a:gd name="T41" fmla="*/ 57 h 94"/>
              <a:gd name="T42" fmla="*/ 0 w 345"/>
              <a:gd name="T43" fmla="*/ 48 h 94"/>
              <a:gd name="T44" fmla="*/ 1 w 345"/>
              <a:gd name="T45" fmla="*/ 40 h 94"/>
              <a:gd name="T46" fmla="*/ 12 w 345"/>
              <a:gd name="T47" fmla="*/ 32 h 94"/>
              <a:gd name="T48" fmla="*/ 45 w 345"/>
              <a:gd name="T49" fmla="*/ 23 h 94"/>
              <a:gd name="T50" fmla="*/ 80 w 345"/>
              <a:gd name="T51" fmla="*/ 36 h 94"/>
              <a:gd name="T52" fmla="*/ 87 w 345"/>
              <a:gd name="T53" fmla="*/ 41 h 94"/>
              <a:gd name="T54" fmla="*/ 93 w 345"/>
              <a:gd name="T55" fmla="*/ 37 h 94"/>
              <a:gd name="T56" fmla="*/ 100 w 345"/>
              <a:gd name="T57" fmla="*/ 31 h 94"/>
              <a:gd name="T58" fmla="*/ 115 w 345"/>
              <a:gd name="T59" fmla="*/ 34 h 94"/>
              <a:gd name="T60" fmla="*/ 121 w 345"/>
              <a:gd name="T61" fmla="*/ 40 h 94"/>
              <a:gd name="T62" fmla="*/ 126 w 345"/>
              <a:gd name="T63" fmla="*/ 36 h 94"/>
              <a:gd name="T64" fmla="*/ 113 w 345"/>
              <a:gd name="T65" fmla="*/ 27 h 94"/>
              <a:gd name="T66" fmla="*/ 87 w 345"/>
              <a:gd name="T67" fmla="*/ 27 h 94"/>
              <a:gd name="T68" fmla="*/ 72 w 345"/>
              <a:gd name="T69" fmla="*/ 24 h 94"/>
              <a:gd name="T70" fmla="*/ 70 w 345"/>
              <a:gd name="T71" fmla="*/ 19 h 94"/>
              <a:gd name="T72" fmla="*/ 74 w 345"/>
              <a:gd name="T73" fmla="*/ 13 h 94"/>
              <a:gd name="T74" fmla="*/ 116 w 345"/>
              <a:gd name="T75" fmla="*/ 11 h 94"/>
              <a:gd name="T76" fmla="*/ 138 w 345"/>
              <a:gd name="T77" fmla="*/ 6 h 94"/>
              <a:gd name="T78" fmla="*/ 150 w 345"/>
              <a:gd name="T79" fmla="*/ 8 h 94"/>
              <a:gd name="T80" fmla="*/ 157 w 345"/>
              <a:gd name="T81" fmla="*/ 10 h 94"/>
              <a:gd name="T82" fmla="*/ 181 w 345"/>
              <a:gd name="T83" fmla="*/ 2 h 94"/>
              <a:gd name="T84" fmla="*/ 275 w 345"/>
              <a:gd name="T85" fmla="*/ 0 h 94"/>
              <a:gd name="T86" fmla="*/ 320 w 345"/>
              <a:gd name="T87" fmla="*/ 1 h 94"/>
              <a:gd name="T88" fmla="*/ 338 w 345"/>
              <a:gd name="T89" fmla="*/ 13 h 94"/>
              <a:gd name="T90" fmla="*/ 307 w 345"/>
              <a:gd name="T91" fmla="*/ 24 h 94"/>
              <a:gd name="T92" fmla="*/ 284 w 345"/>
              <a:gd name="T93" fmla="*/ 23 h 94"/>
              <a:gd name="T94" fmla="*/ 283 w 345"/>
              <a:gd name="T95" fmla="*/ 25 h 94"/>
              <a:gd name="T96" fmla="*/ 275 w 345"/>
              <a:gd name="T97" fmla="*/ 30 h 94"/>
              <a:gd name="T98" fmla="*/ 249 w 345"/>
              <a:gd name="T99" fmla="*/ 29 h 94"/>
              <a:gd name="T100" fmla="*/ 230 w 345"/>
              <a:gd name="T101" fmla="*/ 38 h 94"/>
              <a:gd name="T102" fmla="*/ 217 w 345"/>
              <a:gd name="T103" fmla="*/ 42 h 94"/>
              <a:gd name="T104" fmla="*/ 193 w 345"/>
              <a:gd name="T105" fmla="*/ 41 h 94"/>
              <a:gd name="T106" fmla="*/ 188 w 345"/>
              <a:gd name="T107" fmla="*/ 46 h 94"/>
              <a:gd name="T108" fmla="*/ 176 w 345"/>
              <a:gd name="T109" fmla="*/ 57 h 94"/>
              <a:gd name="T110" fmla="*/ 155 w 345"/>
              <a:gd name="T111" fmla="*/ 65 h 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45" h="94">
                <a:moveTo>
                  <a:pt x="155" y="65"/>
                </a:moveTo>
                <a:lnTo>
                  <a:pt x="152" y="62"/>
                </a:lnTo>
                <a:lnTo>
                  <a:pt x="149" y="59"/>
                </a:lnTo>
                <a:lnTo>
                  <a:pt x="147" y="55"/>
                </a:lnTo>
                <a:lnTo>
                  <a:pt x="141" y="55"/>
                </a:lnTo>
                <a:lnTo>
                  <a:pt x="139" y="64"/>
                </a:lnTo>
                <a:lnTo>
                  <a:pt x="139" y="68"/>
                </a:lnTo>
                <a:lnTo>
                  <a:pt x="138" y="72"/>
                </a:lnTo>
                <a:lnTo>
                  <a:pt x="136" y="74"/>
                </a:lnTo>
                <a:lnTo>
                  <a:pt x="134" y="77"/>
                </a:lnTo>
                <a:lnTo>
                  <a:pt x="132" y="79"/>
                </a:lnTo>
                <a:lnTo>
                  <a:pt x="129" y="79"/>
                </a:lnTo>
                <a:lnTo>
                  <a:pt x="128" y="79"/>
                </a:lnTo>
                <a:lnTo>
                  <a:pt x="126" y="79"/>
                </a:lnTo>
                <a:lnTo>
                  <a:pt x="124" y="78"/>
                </a:lnTo>
                <a:lnTo>
                  <a:pt x="120" y="76"/>
                </a:lnTo>
                <a:lnTo>
                  <a:pt x="117" y="74"/>
                </a:lnTo>
                <a:lnTo>
                  <a:pt x="115" y="73"/>
                </a:lnTo>
                <a:lnTo>
                  <a:pt x="113" y="72"/>
                </a:lnTo>
                <a:lnTo>
                  <a:pt x="117" y="75"/>
                </a:lnTo>
                <a:lnTo>
                  <a:pt x="120" y="77"/>
                </a:lnTo>
                <a:lnTo>
                  <a:pt x="124" y="79"/>
                </a:lnTo>
                <a:lnTo>
                  <a:pt x="128" y="82"/>
                </a:lnTo>
                <a:lnTo>
                  <a:pt x="126" y="83"/>
                </a:lnTo>
                <a:lnTo>
                  <a:pt x="124" y="86"/>
                </a:lnTo>
                <a:lnTo>
                  <a:pt x="119" y="88"/>
                </a:lnTo>
                <a:lnTo>
                  <a:pt x="112" y="92"/>
                </a:lnTo>
                <a:lnTo>
                  <a:pt x="110" y="92"/>
                </a:lnTo>
                <a:lnTo>
                  <a:pt x="108" y="93"/>
                </a:lnTo>
                <a:lnTo>
                  <a:pt x="106" y="93"/>
                </a:lnTo>
                <a:lnTo>
                  <a:pt x="103" y="92"/>
                </a:lnTo>
                <a:lnTo>
                  <a:pt x="99" y="90"/>
                </a:lnTo>
                <a:lnTo>
                  <a:pt x="95" y="88"/>
                </a:lnTo>
                <a:lnTo>
                  <a:pt x="93" y="87"/>
                </a:lnTo>
                <a:lnTo>
                  <a:pt x="90" y="86"/>
                </a:lnTo>
                <a:lnTo>
                  <a:pt x="40" y="86"/>
                </a:lnTo>
                <a:lnTo>
                  <a:pt x="37" y="87"/>
                </a:lnTo>
                <a:lnTo>
                  <a:pt x="35" y="88"/>
                </a:lnTo>
                <a:lnTo>
                  <a:pt x="31" y="89"/>
                </a:lnTo>
                <a:lnTo>
                  <a:pt x="27" y="90"/>
                </a:lnTo>
                <a:lnTo>
                  <a:pt x="24" y="90"/>
                </a:lnTo>
                <a:lnTo>
                  <a:pt x="22" y="89"/>
                </a:lnTo>
                <a:lnTo>
                  <a:pt x="19" y="86"/>
                </a:lnTo>
                <a:lnTo>
                  <a:pt x="19" y="84"/>
                </a:lnTo>
                <a:lnTo>
                  <a:pt x="19" y="82"/>
                </a:lnTo>
                <a:lnTo>
                  <a:pt x="19" y="81"/>
                </a:lnTo>
                <a:lnTo>
                  <a:pt x="19" y="79"/>
                </a:lnTo>
                <a:lnTo>
                  <a:pt x="22" y="78"/>
                </a:lnTo>
                <a:lnTo>
                  <a:pt x="26" y="78"/>
                </a:lnTo>
                <a:lnTo>
                  <a:pt x="31" y="78"/>
                </a:lnTo>
                <a:lnTo>
                  <a:pt x="39" y="81"/>
                </a:lnTo>
                <a:lnTo>
                  <a:pt x="45" y="82"/>
                </a:lnTo>
                <a:lnTo>
                  <a:pt x="45" y="78"/>
                </a:lnTo>
                <a:lnTo>
                  <a:pt x="45" y="75"/>
                </a:lnTo>
                <a:lnTo>
                  <a:pt x="46" y="72"/>
                </a:lnTo>
                <a:lnTo>
                  <a:pt x="48" y="70"/>
                </a:lnTo>
                <a:lnTo>
                  <a:pt x="49" y="69"/>
                </a:lnTo>
                <a:lnTo>
                  <a:pt x="51" y="68"/>
                </a:lnTo>
                <a:lnTo>
                  <a:pt x="54" y="68"/>
                </a:lnTo>
                <a:lnTo>
                  <a:pt x="57" y="68"/>
                </a:lnTo>
                <a:lnTo>
                  <a:pt x="59" y="68"/>
                </a:lnTo>
                <a:lnTo>
                  <a:pt x="61" y="68"/>
                </a:lnTo>
                <a:lnTo>
                  <a:pt x="64" y="72"/>
                </a:lnTo>
                <a:lnTo>
                  <a:pt x="66" y="72"/>
                </a:lnTo>
                <a:lnTo>
                  <a:pt x="67" y="73"/>
                </a:lnTo>
                <a:lnTo>
                  <a:pt x="68" y="73"/>
                </a:lnTo>
                <a:lnTo>
                  <a:pt x="71" y="73"/>
                </a:lnTo>
                <a:lnTo>
                  <a:pt x="68" y="68"/>
                </a:lnTo>
                <a:lnTo>
                  <a:pt x="67" y="65"/>
                </a:lnTo>
                <a:lnTo>
                  <a:pt x="65" y="60"/>
                </a:lnTo>
                <a:lnTo>
                  <a:pt x="65" y="58"/>
                </a:lnTo>
                <a:lnTo>
                  <a:pt x="64" y="55"/>
                </a:lnTo>
                <a:lnTo>
                  <a:pt x="61" y="56"/>
                </a:lnTo>
                <a:lnTo>
                  <a:pt x="58" y="56"/>
                </a:lnTo>
                <a:lnTo>
                  <a:pt x="57" y="55"/>
                </a:lnTo>
                <a:lnTo>
                  <a:pt x="55" y="52"/>
                </a:lnTo>
                <a:lnTo>
                  <a:pt x="50" y="55"/>
                </a:lnTo>
                <a:lnTo>
                  <a:pt x="45" y="58"/>
                </a:lnTo>
                <a:lnTo>
                  <a:pt x="38" y="59"/>
                </a:lnTo>
                <a:lnTo>
                  <a:pt x="35" y="60"/>
                </a:lnTo>
                <a:lnTo>
                  <a:pt x="30" y="60"/>
                </a:lnTo>
                <a:lnTo>
                  <a:pt x="19" y="59"/>
                </a:lnTo>
                <a:lnTo>
                  <a:pt x="14" y="58"/>
                </a:lnTo>
                <a:lnTo>
                  <a:pt x="9" y="57"/>
                </a:lnTo>
                <a:lnTo>
                  <a:pt x="5" y="55"/>
                </a:lnTo>
                <a:lnTo>
                  <a:pt x="2" y="51"/>
                </a:lnTo>
                <a:lnTo>
                  <a:pt x="0" y="51"/>
                </a:lnTo>
                <a:lnTo>
                  <a:pt x="0" y="48"/>
                </a:lnTo>
                <a:lnTo>
                  <a:pt x="0" y="46"/>
                </a:lnTo>
                <a:lnTo>
                  <a:pt x="0" y="43"/>
                </a:lnTo>
                <a:lnTo>
                  <a:pt x="0" y="41"/>
                </a:lnTo>
                <a:lnTo>
                  <a:pt x="1" y="40"/>
                </a:lnTo>
                <a:lnTo>
                  <a:pt x="2" y="38"/>
                </a:lnTo>
                <a:lnTo>
                  <a:pt x="3" y="37"/>
                </a:lnTo>
                <a:lnTo>
                  <a:pt x="6" y="36"/>
                </a:lnTo>
                <a:lnTo>
                  <a:pt x="12" y="32"/>
                </a:lnTo>
                <a:lnTo>
                  <a:pt x="21" y="29"/>
                </a:lnTo>
                <a:lnTo>
                  <a:pt x="29" y="27"/>
                </a:lnTo>
                <a:lnTo>
                  <a:pt x="37" y="24"/>
                </a:lnTo>
                <a:lnTo>
                  <a:pt x="45" y="23"/>
                </a:lnTo>
                <a:lnTo>
                  <a:pt x="50" y="22"/>
                </a:lnTo>
                <a:lnTo>
                  <a:pt x="57" y="24"/>
                </a:lnTo>
                <a:lnTo>
                  <a:pt x="68" y="30"/>
                </a:lnTo>
                <a:lnTo>
                  <a:pt x="80" y="36"/>
                </a:lnTo>
                <a:lnTo>
                  <a:pt x="84" y="38"/>
                </a:lnTo>
                <a:lnTo>
                  <a:pt x="85" y="40"/>
                </a:lnTo>
                <a:lnTo>
                  <a:pt x="85" y="41"/>
                </a:lnTo>
                <a:lnTo>
                  <a:pt x="87" y="41"/>
                </a:lnTo>
                <a:lnTo>
                  <a:pt x="88" y="42"/>
                </a:lnTo>
                <a:lnTo>
                  <a:pt x="92" y="42"/>
                </a:lnTo>
                <a:lnTo>
                  <a:pt x="93" y="40"/>
                </a:lnTo>
                <a:lnTo>
                  <a:pt x="93" y="37"/>
                </a:lnTo>
                <a:lnTo>
                  <a:pt x="94" y="35"/>
                </a:lnTo>
                <a:lnTo>
                  <a:pt x="97" y="33"/>
                </a:lnTo>
                <a:lnTo>
                  <a:pt x="98" y="32"/>
                </a:lnTo>
                <a:lnTo>
                  <a:pt x="100" y="31"/>
                </a:lnTo>
                <a:lnTo>
                  <a:pt x="105" y="31"/>
                </a:lnTo>
                <a:lnTo>
                  <a:pt x="110" y="31"/>
                </a:lnTo>
                <a:lnTo>
                  <a:pt x="113" y="32"/>
                </a:lnTo>
                <a:lnTo>
                  <a:pt x="115" y="34"/>
                </a:lnTo>
                <a:lnTo>
                  <a:pt x="117" y="36"/>
                </a:lnTo>
                <a:lnTo>
                  <a:pt x="120" y="37"/>
                </a:lnTo>
                <a:lnTo>
                  <a:pt x="120" y="38"/>
                </a:lnTo>
                <a:lnTo>
                  <a:pt x="121" y="40"/>
                </a:lnTo>
                <a:lnTo>
                  <a:pt x="124" y="41"/>
                </a:lnTo>
                <a:lnTo>
                  <a:pt x="128" y="41"/>
                </a:lnTo>
                <a:lnTo>
                  <a:pt x="128" y="37"/>
                </a:lnTo>
                <a:lnTo>
                  <a:pt x="126" y="36"/>
                </a:lnTo>
                <a:lnTo>
                  <a:pt x="124" y="33"/>
                </a:lnTo>
                <a:lnTo>
                  <a:pt x="121" y="30"/>
                </a:lnTo>
                <a:lnTo>
                  <a:pt x="116" y="28"/>
                </a:lnTo>
                <a:lnTo>
                  <a:pt x="113" y="27"/>
                </a:lnTo>
                <a:lnTo>
                  <a:pt x="108" y="27"/>
                </a:lnTo>
                <a:lnTo>
                  <a:pt x="105" y="27"/>
                </a:lnTo>
                <a:lnTo>
                  <a:pt x="101" y="27"/>
                </a:lnTo>
                <a:lnTo>
                  <a:pt x="87" y="27"/>
                </a:lnTo>
                <a:lnTo>
                  <a:pt x="84" y="27"/>
                </a:lnTo>
                <a:lnTo>
                  <a:pt x="77" y="27"/>
                </a:lnTo>
                <a:lnTo>
                  <a:pt x="75" y="25"/>
                </a:lnTo>
                <a:lnTo>
                  <a:pt x="72" y="24"/>
                </a:lnTo>
                <a:lnTo>
                  <a:pt x="71" y="24"/>
                </a:lnTo>
                <a:lnTo>
                  <a:pt x="71" y="22"/>
                </a:lnTo>
                <a:lnTo>
                  <a:pt x="70" y="20"/>
                </a:lnTo>
                <a:lnTo>
                  <a:pt x="70" y="19"/>
                </a:lnTo>
                <a:lnTo>
                  <a:pt x="70" y="16"/>
                </a:lnTo>
                <a:lnTo>
                  <a:pt x="71" y="14"/>
                </a:lnTo>
                <a:lnTo>
                  <a:pt x="72" y="13"/>
                </a:lnTo>
                <a:lnTo>
                  <a:pt x="74" y="13"/>
                </a:lnTo>
                <a:lnTo>
                  <a:pt x="79" y="11"/>
                </a:lnTo>
                <a:lnTo>
                  <a:pt x="84" y="11"/>
                </a:lnTo>
                <a:lnTo>
                  <a:pt x="112" y="11"/>
                </a:lnTo>
                <a:lnTo>
                  <a:pt x="116" y="11"/>
                </a:lnTo>
                <a:lnTo>
                  <a:pt x="119" y="10"/>
                </a:lnTo>
                <a:lnTo>
                  <a:pt x="126" y="9"/>
                </a:lnTo>
                <a:lnTo>
                  <a:pt x="134" y="6"/>
                </a:lnTo>
                <a:lnTo>
                  <a:pt x="138" y="6"/>
                </a:lnTo>
                <a:lnTo>
                  <a:pt x="142" y="6"/>
                </a:lnTo>
                <a:lnTo>
                  <a:pt x="144" y="6"/>
                </a:lnTo>
                <a:lnTo>
                  <a:pt x="146" y="6"/>
                </a:lnTo>
                <a:lnTo>
                  <a:pt x="150" y="8"/>
                </a:lnTo>
                <a:lnTo>
                  <a:pt x="152" y="10"/>
                </a:lnTo>
                <a:lnTo>
                  <a:pt x="154" y="10"/>
                </a:lnTo>
                <a:lnTo>
                  <a:pt x="155" y="10"/>
                </a:lnTo>
                <a:lnTo>
                  <a:pt x="157" y="10"/>
                </a:lnTo>
                <a:lnTo>
                  <a:pt x="160" y="9"/>
                </a:lnTo>
                <a:lnTo>
                  <a:pt x="168" y="6"/>
                </a:lnTo>
                <a:lnTo>
                  <a:pt x="175" y="4"/>
                </a:lnTo>
                <a:lnTo>
                  <a:pt x="181" y="2"/>
                </a:lnTo>
                <a:lnTo>
                  <a:pt x="192" y="1"/>
                </a:lnTo>
                <a:lnTo>
                  <a:pt x="204" y="0"/>
                </a:lnTo>
                <a:lnTo>
                  <a:pt x="227" y="0"/>
                </a:lnTo>
                <a:lnTo>
                  <a:pt x="275" y="0"/>
                </a:lnTo>
                <a:lnTo>
                  <a:pt x="294" y="0"/>
                </a:lnTo>
                <a:lnTo>
                  <a:pt x="303" y="0"/>
                </a:lnTo>
                <a:lnTo>
                  <a:pt x="311" y="0"/>
                </a:lnTo>
                <a:lnTo>
                  <a:pt x="320" y="1"/>
                </a:lnTo>
                <a:lnTo>
                  <a:pt x="328" y="4"/>
                </a:lnTo>
                <a:lnTo>
                  <a:pt x="335" y="6"/>
                </a:lnTo>
                <a:lnTo>
                  <a:pt x="344" y="10"/>
                </a:lnTo>
                <a:lnTo>
                  <a:pt x="338" y="13"/>
                </a:lnTo>
                <a:lnTo>
                  <a:pt x="332" y="17"/>
                </a:lnTo>
                <a:lnTo>
                  <a:pt x="324" y="20"/>
                </a:lnTo>
                <a:lnTo>
                  <a:pt x="315" y="23"/>
                </a:lnTo>
                <a:lnTo>
                  <a:pt x="307" y="24"/>
                </a:lnTo>
                <a:lnTo>
                  <a:pt x="298" y="25"/>
                </a:lnTo>
                <a:lnTo>
                  <a:pt x="291" y="24"/>
                </a:lnTo>
                <a:lnTo>
                  <a:pt x="288" y="24"/>
                </a:lnTo>
                <a:lnTo>
                  <a:pt x="284" y="23"/>
                </a:lnTo>
                <a:lnTo>
                  <a:pt x="272" y="23"/>
                </a:lnTo>
                <a:lnTo>
                  <a:pt x="276" y="24"/>
                </a:lnTo>
                <a:lnTo>
                  <a:pt x="279" y="25"/>
                </a:lnTo>
                <a:lnTo>
                  <a:pt x="283" y="25"/>
                </a:lnTo>
                <a:lnTo>
                  <a:pt x="286" y="27"/>
                </a:lnTo>
                <a:lnTo>
                  <a:pt x="283" y="28"/>
                </a:lnTo>
                <a:lnTo>
                  <a:pt x="279" y="30"/>
                </a:lnTo>
                <a:lnTo>
                  <a:pt x="275" y="30"/>
                </a:lnTo>
                <a:lnTo>
                  <a:pt x="270" y="30"/>
                </a:lnTo>
                <a:lnTo>
                  <a:pt x="262" y="29"/>
                </a:lnTo>
                <a:lnTo>
                  <a:pt x="253" y="29"/>
                </a:lnTo>
                <a:lnTo>
                  <a:pt x="249" y="29"/>
                </a:lnTo>
                <a:lnTo>
                  <a:pt x="243" y="31"/>
                </a:lnTo>
                <a:lnTo>
                  <a:pt x="240" y="33"/>
                </a:lnTo>
                <a:lnTo>
                  <a:pt x="235" y="36"/>
                </a:lnTo>
                <a:lnTo>
                  <a:pt x="230" y="38"/>
                </a:lnTo>
                <a:lnTo>
                  <a:pt x="227" y="41"/>
                </a:lnTo>
                <a:lnTo>
                  <a:pt x="221" y="42"/>
                </a:lnTo>
                <a:lnTo>
                  <a:pt x="219" y="42"/>
                </a:lnTo>
                <a:lnTo>
                  <a:pt x="217" y="42"/>
                </a:lnTo>
                <a:lnTo>
                  <a:pt x="205" y="42"/>
                </a:lnTo>
                <a:lnTo>
                  <a:pt x="199" y="41"/>
                </a:lnTo>
                <a:lnTo>
                  <a:pt x="196" y="41"/>
                </a:lnTo>
                <a:lnTo>
                  <a:pt x="193" y="41"/>
                </a:lnTo>
                <a:lnTo>
                  <a:pt x="191" y="41"/>
                </a:lnTo>
                <a:lnTo>
                  <a:pt x="188" y="42"/>
                </a:lnTo>
                <a:lnTo>
                  <a:pt x="188" y="44"/>
                </a:lnTo>
                <a:lnTo>
                  <a:pt x="188" y="46"/>
                </a:lnTo>
                <a:lnTo>
                  <a:pt x="185" y="50"/>
                </a:lnTo>
                <a:lnTo>
                  <a:pt x="181" y="54"/>
                </a:lnTo>
                <a:lnTo>
                  <a:pt x="178" y="55"/>
                </a:lnTo>
                <a:lnTo>
                  <a:pt x="176" y="57"/>
                </a:lnTo>
                <a:lnTo>
                  <a:pt x="171" y="61"/>
                </a:lnTo>
                <a:lnTo>
                  <a:pt x="165" y="64"/>
                </a:lnTo>
                <a:lnTo>
                  <a:pt x="160" y="65"/>
                </a:lnTo>
                <a:lnTo>
                  <a:pt x="155" y="65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87" name="Freeform 186">
            <a:extLst>
              <a:ext uri="{FF2B5EF4-FFF2-40B4-BE49-F238E27FC236}">
                <a16:creationId xmlns:a16="http://schemas.microsoft.com/office/drawing/2014/main" id="{BA0D0A0C-301B-93C3-8AFC-2A761366422B}"/>
              </a:ext>
            </a:extLst>
          </p:cNvPr>
          <p:cNvSpPr>
            <a:spLocks/>
          </p:cNvSpPr>
          <p:nvPr/>
        </p:nvSpPr>
        <p:spPr bwMode="auto">
          <a:xfrm>
            <a:off x="4796800" y="2247746"/>
            <a:ext cx="1149350" cy="684213"/>
          </a:xfrm>
          <a:custGeom>
            <a:avLst/>
            <a:gdLst>
              <a:gd name="T0" fmla="*/ 353 w 569"/>
              <a:gd name="T1" fmla="*/ 224 h 366"/>
              <a:gd name="T2" fmla="*/ 316 w 569"/>
              <a:gd name="T3" fmla="*/ 239 h 366"/>
              <a:gd name="T4" fmla="*/ 273 w 569"/>
              <a:gd name="T5" fmla="*/ 258 h 366"/>
              <a:gd name="T6" fmla="*/ 235 w 569"/>
              <a:gd name="T7" fmla="*/ 267 h 366"/>
              <a:gd name="T8" fmla="*/ 229 w 569"/>
              <a:gd name="T9" fmla="*/ 279 h 366"/>
              <a:gd name="T10" fmla="*/ 213 w 569"/>
              <a:gd name="T11" fmla="*/ 305 h 366"/>
              <a:gd name="T12" fmla="*/ 191 w 569"/>
              <a:gd name="T13" fmla="*/ 329 h 366"/>
              <a:gd name="T14" fmla="*/ 173 w 569"/>
              <a:gd name="T15" fmla="*/ 360 h 366"/>
              <a:gd name="T16" fmla="*/ 150 w 569"/>
              <a:gd name="T17" fmla="*/ 359 h 366"/>
              <a:gd name="T18" fmla="*/ 124 w 569"/>
              <a:gd name="T19" fmla="*/ 346 h 366"/>
              <a:gd name="T20" fmla="*/ 112 w 569"/>
              <a:gd name="T21" fmla="*/ 324 h 366"/>
              <a:gd name="T22" fmla="*/ 102 w 569"/>
              <a:gd name="T23" fmla="*/ 304 h 366"/>
              <a:gd name="T24" fmla="*/ 103 w 569"/>
              <a:gd name="T25" fmla="*/ 288 h 366"/>
              <a:gd name="T26" fmla="*/ 102 w 569"/>
              <a:gd name="T27" fmla="*/ 270 h 366"/>
              <a:gd name="T28" fmla="*/ 102 w 569"/>
              <a:gd name="T29" fmla="*/ 255 h 366"/>
              <a:gd name="T30" fmla="*/ 99 w 569"/>
              <a:gd name="T31" fmla="*/ 238 h 366"/>
              <a:gd name="T32" fmla="*/ 133 w 569"/>
              <a:gd name="T33" fmla="*/ 216 h 366"/>
              <a:gd name="T34" fmla="*/ 124 w 569"/>
              <a:gd name="T35" fmla="*/ 190 h 366"/>
              <a:gd name="T36" fmla="*/ 121 w 569"/>
              <a:gd name="T37" fmla="*/ 203 h 366"/>
              <a:gd name="T38" fmla="*/ 103 w 569"/>
              <a:gd name="T39" fmla="*/ 197 h 366"/>
              <a:gd name="T40" fmla="*/ 132 w 569"/>
              <a:gd name="T41" fmla="*/ 182 h 366"/>
              <a:gd name="T42" fmla="*/ 124 w 569"/>
              <a:gd name="T43" fmla="*/ 165 h 366"/>
              <a:gd name="T44" fmla="*/ 120 w 569"/>
              <a:gd name="T45" fmla="*/ 136 h 366"/>
              <a:gd name="T46" fmla="*/ 115 w 569"/>
              <a:gd name="T47" fmla="*/ 118 h 366"/>
              <a:gd name="T48" fmla="*/ 97 w 569"/>
              <a:gd name="T49" fmla="*/ 106 h 366"/>
              <a:gd name="T50" fmla="*/ 45 w 569"/>
              <a:gd name="T51" fmla="*/ 100 h 366"/>
              <a:gd name="T52" fmla="*/ 17 w 569"/>
              <a:gd name="T53" fmla="*/ 94 h 366"/>
              <a:gd name="T54" fmla="*/ 17 w 569"/>
              <a:gd name="T55" fmla="*/ 81 h 366"/>
              <a:gd name="T56" fmla="*/ 21 w 569"/>
              <a:gd name="T57" fmla="*/ 76 h 366"/>
              <a:gd name="T58" fmla="*/ 0 w 569"/>
              <a:gd name="T59" fmla="*/ 73 h 366"/>
              <a:gd name="T60" fmla="*/ 16 w 569"/>
              <a:gd name="T61" fmla="*/ 62 h 366"/>
              <a:gd name="T62" fmla="*/ 89 w 569"/>
              <a:gd name="T63" fmla="*/ 53 h 366"/>
              <a:gd name="T64" fmla="*/ 108 w 569"/>
              <a:gd name="T65" fmla="*/ 39 h 366"/>
              <a:gd name="T66" fmla="*/ 156 w 569"/>
              <a:gd name="T67" fmla="*/ 22 h 366"/>
              <a:gd name="T68" fmla="*/ 215 w 569"/>
              <a:gd name="T69" fmla="*/ 23 h 366"/>
              <a:gd name="T70" fmla="*/ 280 w 569"/>
              <a:gd name="T71" fmla="*/ 4 h 366"/>
              <a:gd name="T72" fmla="*/ 369 w 569"/>
              <a:gd name="T73" fmla="*/ 0 h 366"/>
              <a:gd name="T74" fmla="*/ 396 w 569"/>
              <a:gd name="T75" fmla="*/ 6 h 366"/>
              <a:gd name="T76" fmla="*/ 460 w 569"/>
              <a:gd name="T77" fmla="*/ 6 h 366"/>
              <a:gd name="T78" fmla="*/ 474 w 569"/>
              <a:gd name="T79" fmla="*/ 17 h 366"/>
              <a:gd name="T80" fmla="*/ 562 w 569"/>
              <a:gd name="T81" fmla="*/ 30 h 366"/>
              <a:gd name="T82" fmla="*/ 509 w 569"/>
              <a:gd name="T83" fmla="*/ 42 h 366"/>
              <a:gd name="T84" fmla="*/ 482 w 569"/>
              <a:gd name="T85" fmla="*/ 59 h 366"/>
              <a:gd name="T86" fmla="*/ 486 w 569"/>
              <a:gd name="T87" fmla="*/ 69 h 366"/>
              <a:gd name="T88" fmla="*/ 498 w 569"/>
              <a:gd name="T89" fmla="*/ 79 h 366"/>
              <a:gd name="T90" fmla="*/ 475 w 569"/>
              <a:gd name="T91" fmla="*/ 89 h 366"/>
              <a:gd name="T92" fmla="*/ 483 w 569"/>
              <a:gd name="T93" fmla="*/ 99 h 366"/>
              <a:gd name="T94" fmla="*/ 481 w 569"/>
              <a:gd name="T95" fmla="*/ 116 h 366"/>
              <a:gd name="T96" fmla="*/ 463 w 569"/>
              <a:gd name="T97" fmla="*/ 123 h 366"/>
              <a:gd name="T98" fmla="*/ 435 w 569"/>
              <a:gd name="T99" fmla="*/ 139 h 366"/>
              <a:gd name="T100" fmla="*/ 454 w 569"/>
              <a:gd name="T101" fmla="*/ 155 h 366"/>
              <a:gd name="T102" fmla="*/ 429 w 569"/>
              <a:gd name="T103" fmla="*/ 149 h 366"/>
              <a:gd name="T104" fmla="*/ 452 w 569"/>
              <a:gd name="T105" fmla="*/ 165 h 366"/>
              <a:gd name="T106" fmla="*/ 443 w 569"/>
              <a:gd name="T107" fmla="*/ 185 h 366"/>
              <a:gd name="T108" fmla="*/ 421 w 569"/>
              <a:gd name="T109" fmla="*/ 170 h 366"/>
              <a:gd name="T110" fmla="*/ 405 w 569"/>
              <a:gd name="T111" fmla="*/ 179 h 366"/>
              <a:gd name="T112" fmla="*/ 442 w 569"/>
              <a:gd name="T113" fmla="*/ 190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69" h="366">
                <a:moveTo>
                  <a:pt x="442" y="192"/>
                </a:moveTo>
                <a:lnTo>
                  <a:pt x="431" y="198"/>
                </a:lnTo>
                <a:lnTo>
                  <a:pt x="419" y="203"/>
                </a:lnTo>
                <a:lnTo>
                  <a:pt x="407" y="209"/>
                </a:lnTo>
                <a:lnTo>
                  <a:pt x="394" y="214"/>
                </a:lnTo>
                <a:lnTo>
                  <a:pt x="388" y="216"/>
                </a:lnTo>
                <a:lnTo>
                  <a:pt x="380" y="219"/>
                </a:lnTo>
                <a:lnTo>
                  <a:pt x="367" y="221"/>
                </a:lnTo>
                <a:lnTo>
                  <a:pt x="353" y="224"/>
                </a:lnTo>
                <a:lnTo>
                  <a:pt x="340" y="224"/>
                </a:lnTo>
                <a:lnTo>
                  <a:pt x="337" y="223"/>
                </a:lnTo>
                <a:lnTo>
                  <a:pt x="334" y="221"/>
                </a:lnTo>
                <a:lnTo>
                  <a:pt x="330" y="217"/>
                </a:lnTo>
                <a:lnTo>
                  <a:pt x="329" y="221"/>
                </a:lnTo>
                <a:lnTo>
                  <a:pt x="326" y="225"/>
                </a:lnTo>
                <a:lnTo>
                  <a:pt x="322" y="233"/>
                </a:lnTo>
                <a:lnTo>
                  <a:pt x="320" y="237"/>
                </a:lnTo>
                <a:lnTo>
                  <a:pt x="316" y="239"/>
                </a:lnTo>
                <a:lnTo>
                  <a:pt x="308" y="246"/>
                </a:lnTo>
                <a:lnTo>
                  <a:pt x="300" y="251"/>
                </a:lnTo>
                <a:lnTo>
                  <a:pt x="296" y="252"/>
                </a:lnTo>
                <a:lnTo>
                  <a:pt x="293" y="255"/>
                </a:lnTo>
                <a:lnTo>
                  <a:pt x="288" y="256"/>
                </a:lnTo>
                <a:lnTo>
                  <a:pt x="283" y="257"/>
                </a:lnTo>
                <a:lnTo>
                  <a:pt x="280" y="258"/>
                </a:lnTo>
                <a:lnTo>
                  <a:pt x="275" y="258"/>
                </a:lnTo>
                <a:lnTo>
                  <a:pt x="273" y="258"/>
                </a:lnTo>
                <a:lnTo>
                  <a:pt x="271" y="259"/>
                </a:lnTo>
                <a:lnTo>
                  <a:pt x="267" y="262"/>
                </a:lnTo>
                <a:lnTo>
                  <a:pt x="266" y="262"/>
                </a:lnTo>
                <a:lnTo>
                  <a:pt x="264" y="264"/>
                </a:lnTo>
                <a:lnTo>
                  <a:pt x="260" y="265"/>
                </a:lnTo>
                <a:lnTo>
                  <a:pt x="259" y="265"/>
                </a:lnTo>
                <a:lnTo>
                  <a:pt x="247" y="265"/>
                </a:lnTo>
                <a:lnTo>
                  <a:pt x="242" y="265"/>
                </a:lnTo>
                <a:lnTo>
                  <a:pt x="235" y="267"/>
                </a:lnTo>
                <a:lnTo>
                  <a:pt x="232" y="268"/>
                </a:lnTo>
                <a:lnTo>
                  <a:pt x="229" y="269"/>
                </a:lnTo>
                <a:lnTo>
                  <a:pt x="227" y="270"/>
                </a:lnTo>
                <a:lnTo>
                  <a:pt x="227" y="271"/>
                </a:lnTo>
                <a:lnTo>
                  <a:pt x="227" y="273"/>
                </a:lnTo>
                <a:lnTo>
                  <a:pt x="227" y="274"/>
                </a:lnTo>
                <a:lnTo>
                  <a:pt x="227" y="275"/>
                </a:lnTo>
                <a:lnTo>
                  <a:pt x="228" y="278"/>
                </a:lnTo>
                <a:lnTo>
                  <a:pt x="229" y="279"/>
                </a:lnTo>
                <a:lnTo>
                  <a:pt x="231" y="282"/>
                </a:lnTo>
                <a:lnTo>
                  <a:pt x="228" y="284"/>
                </a:lnTo>
                <a:lnTo>
                  <a:pt x="227" y="285"/>
                </a:lnTo>
                <a:lnTo>
                  <a:pt x="226" y="285"/>
                </a:lnTo>
                <a:lnTo>
                  <a:pt x="224" y="282"/>
                </a:lnTo>
                <a:lnTo>
                  <a:pt x="224" y="293"/>
                </a:lnTo>
                <a:lnTo>
                  <a:pt x="220" y="298"/>
                </a:lnTo>
                <a:lnTo>
                  <a:pt x="217" y="301"/>
                </a:lnTo>
                <a:lnTo>
                  <a:pt x="213" y="305"/>
                </a:lnTo>
                <a:lnTo>
                  <a:pt x="208" y="308"/>
                </a:lnTo>
                <a:lnTo>
                  <a:pt x="204" y="311"/>
                </a:lnTo>
                <a:lnTo>
                  <a:pt x="200" y="315"/>
                </a:lnTo>
                <a:lnTo>
                  <a:pt x="198" y="316"/>
                </a:lnTo>
                <a:lnTo>
                  <a:pt x="196" y="319"/>
                </a:lnTo>
                <a:lnTo>
                  <a:pt x="195" y="322"/>
                </a:lnTo>
                <a:lnTo>
                  <a:pt x="193" y="325"/>
                </a:lnTo>
                <a:lnTo>
                  <a:pt x="192" y="328"/>
                </a:lnTo>
                <a:lnTo>
                  <a:pt x="191" y="329"/>
                </a:lnTo>
                <a:lnTo>
                  <a:pt x="188" y="332"/>
                </a:lnTo>
                <a:lnTo>
                  <a:pt x="186" y="334"/>
                </a:lnTo>
                <a:lnTo>
                  <a:pt x="184" y="335"/>
                </a:lnTo>
                <a:lnTo>
                  <a:pt x="183" y="337"/>
                </a:lnTo>
                <a:lnTo>
                  <a:pt x="181" y="341"/>
                </a:lnTo>
                <a:lnTo>
                  <a:pt x="180" y="345"/>
                </a:lnTo>
                <a:lnTo>
                  <a:pt x="177" y="354"/>
                </a:lnTo>
                <a:lnTo>
                  <a:pt x="175" y="358"/>
                </a:lnTo>
                <a:lnTo>
                  <a:pt x="173" y="360"/>
                </a:lnTo>
                <a:lnTo>
                  <a:pt x="171" y="361"/>
                </a:lnTo>
                <a:lnTo>
                  <a:pt x="167" y="364"/>
                </a:lnTo>
                <a:lnTo>
                  <a:pt x="165" y="364"/>
                </a:lnTo>
                <a:lnTo>
                  <a:pt x="161" y="365"/>
                </a:lnTo>
                <a:lnTo>
                  <a:pt x="159" y="364"/>
                </a:lnTo>
                <a:lnTo>
                  <a:pt x="156" y="364"/>
                </a:lnTo>
                <a:lnTo>
                  <a:pt x="155" y="363"/>
                </a:lnTo>
                <a:lnTo>
                  <a:pt x="152" y="362"/>
                </a:lnTo>
                <a:lnTo>
                  <a:pt x="150" y="359"/>
                </a:lnTo>
                <a:lnTo>
                  <a:pt x="147" y="356"/>
                </a:lnTo>
                <a:lnTo>
                  <a:pt x="144" y="354"/>
                </a:lnTo>
                <a:lnTo>
                  <a:pt x="142" y="351"/>
                </a:lnTo>
                <a:lnTo>
                  <a:pt x="137" y="349"/>
                </a:lnTo>
                <a:lnTo>
                  <a:pt x="135" y="349"/>
                </a:lnTo>
                <a:lnTo>
                  <a:pt x="131" y="348"/>
                </a:lnTo>
                <a:lnTo>
                  <a:pt x="128" y="348"/>
                </a:lnTo>
                <a:lnTo>
                  <a:pt x="126" y="347"/>
                </a:lnTo>
                <a:lnTo>
                  <a:pt x="124" y="346"/>
                </a:lnTo>
                <a:lnTo>
                  <a:pt x="122" y="345"/>
                </a:lnTo>
                <a:lnTo>
                  <a:pt x="121" y="341"/>
                </a:lnTo>
                <a:lnTo>
                  <a:pt x="120" y="340"/>
                </a:lnTo>
                <a:lnTo>
                  <a:pt x="119" y="337"/>
                </a:lnTo>
                <a:lnTo>
                  <a:pt x="119" y="334"/>
                </a:lnTo>
                <a:lnTo>
                  <a:pt x="118" y="332"/>
                </a:lnTo>
                <a:lnTo>
                  <a:pt x="117" y="329"/>
                </a:lnTo>
                <a:lnTo>
                  <a:pt x="115" y="326"/>
                </a:lnTo>
                <a:lnTo>
                  <a:pt x="112" y="324"/>
                </a:lnTo>
                <a:lnTo>
                  <a:pt x="112" y="322"/>
                </a:lnTo>
                <a:lnTo>
                  <a:pt x="111" y="319"/>
                </a:lnTo>
                <a:lnTo>
                  <a:pt x="112" y="315"/>
                </a:lnTo>
                <a:lnTo>
                  <a:pt x="108" y="315"/>
                </a:lnTo>
                <a:lnTo>
                  <a:pt x="107" y="314"/>
                </a:lnTo>
                <a:lnTo>
                  <a:pt x="106" y="313"/>
                </a:lnTo>
                <a:lnTo>
                  <a:pt x="104" y="310"/>
                </a:lnTo>
                <a:lnTo>
                  <a:pt x="102" y="307"/>
                </a:lnTo>
                <a:lnTo>
                  <a:pt x="102" y="304"/>
                </a:lnTo>
                <a:lnTo>
                  <a:pt x="101" y="300"/>
                </a:lnTo>
                <a:lnTo>
                  <a:pt x="101" y="294"/>
                </a:lnTo>
                <a:lnTo>
                  <a:pt x="104" y="293"/>
                </a:lnTo>
                <a:lnTo>
                  <a:pt x="108" y="292"/>
                </a:lnTo>
                <a:lnTo>
                  <a:pt x="111" y="289"/>
                </a:lnTo>
                <a:lnTo>
                  <a:pt x="112" y="288"/>
                </a:lnTo>
                <a:lnTo>
                  <a:pt x="108" y="288"/>
                </a:lnTo>
                <a:lnTo>
                  <a:pt x="105" y="288"/>
                </a:lnTo>
                <a:lnTo>
                  <a:pt x="103" y="288"/>
                </a:lnTo>
                <a:lnTo>
                  <a:pt x="101" y="288"/>
                </a:lnTo>
                <a:lnTo>
                  <a:pt x="99" y="286"/>
                </a:lnTo>
                <a:lnTo>
                  <a:pt x="98" y="285"/>
                </a:lnTo>
                <a:lnTo>
                  <a:pt x="98" y="282"/>
                </a:lnTo>
                <a:lnTo>
                  <a:pt x="99" y="278"/>
                </a:lnTo>
                <a:lnTo>
                  <a:pt x="99" y="274"/>
                </a:lnTo>
                <a:lnTo>
                  <a:pt x="99" y="273"/>
                </a:lnTo>
                <a:lnTo>
                  <a:pt x="98" y="271"/>
                </a:lnTo>
                <a:lnTo>
                  <a:pt x="102" y="270"/>
                </a:lnTo>
                <a:lnTo>
                  <a:pt x="105" y="269"/>
                </a:lnTo>
                <a:lnTo>
                  <a:pt x="108" y="268"/>
                </a:lnTo>
                <a:lnTo>
                  <a:pt x="110" y="266"/>
                </a:lnTo>
                <a:lnTo>
                  <a:pt x="108" y="265"/>
                </a:lnTo>
                <a:lnTo>
                  <a:pt x="105" y="264"/>
                </a:lnTo>
                <a:lnTo>
                  <a:pt x="101" y="262"/>
                </a:lnTo>
                <a:lnTo>
                  <a:pt x="95" y="261"/>
                </a:lnTo>
                <a:lnTo>
                  <a:pt x="90" y="259"/>
                </a:lnTo>
                <a:lnTo>
                  <a:pt x="102" y="255"/>
                </a:lnTo>
                <a:lnTo>
                  <a:pt x="107" y="252"/>
                </a:lnTo>
                <a:lnTo>
                  <a:pt x="112" y="251"/>
                </a:lnTo>
                <a:lnTo>
                  <a:pt x="102" y="250"/>
                </a:lnTo>
                <a:lnTo>
                  <a:pt x="99" y="250"/>
                </a:lnTo>
                <a:lnTo>
                  <a:pt x="95" y="251"/>
                </a:lnTo>
                <a:lnTo>
                  <a:pt x="95" y="247"/>
                </a:lnTo>
                <a:lnTo>
                  <a:pt x="97" y="244"/>
                </a:lnTo>
                <a:lnTo>
                  <a:pt x="98" y="242"/>
                </a:lnTo>
                <a:lnTo>
                  <a:pt x="99" y="238"/>
                </a:lnTo>
                <a:lnTo>
                  <a:pt x="103" y="234"/>
                </a:lnTo>
                <a:lnTo>
                  <a:pt x="106" y="232"/>
                </a:lnTo>
                <a:lnTo>
                  <a:pt x="108" y="230"/>
                </a:lnTo>
                <a:lnTo>
                  <a:pt x="113" y="228"/>
                </a:lnTo>
                <a:lnTo>
                  <a:pt x="119" y="225"/>
                </a:lnTo>
                <a:lnTo>
                  <a:pt x="124" y="223"/>
                </a:lnTo>
                <a:lnTo>
                  <a:pt x="128" y="221"/>
                </a:lnTo>
                <a:lnTo>
                  <a:pt x="131" y="219"/>
                </a:lnTo>
                <a:lnTo>
                  <a:pt x="133" y="216"/>
                </a:lnTo>
                <a:lnTo>
                  <a:pt x="135" y="212"/>
                </a:lnTo>
                <a:lnTo>
                  <a:pt x="138" y="209"/>
                </a:lnTo>
                <a:lnTo>
                  <a:pt x="140" y="202"/>
                </a:lnTo>
                <a:lnTo>
                  <a:pt x="143" y="195"/>
                </a:lnTo>
                <a:lnTo>
                  <a:pt x="140" y="193"/>
                </a:lnTo>
                <a:lnTo>
                  <a:pt x="137" y="192"/>
                </a:lnTo>
                <a:lnTo>
                  <a:pt x="134" y="192"/>
                </a:lnTo>
                <a:lnTo>
                  <a:pt x="130" y="190"/>
                </a:lnTo>
                <a:lnTo>
                  <a:pt x="124" y="190"/>
                </a:lnTo>
                <a:lnTo>
                  <a:pt x="119" y="192"/>
                </a:lnTo>
                <a:lnTo>
                  <a:pt x="121" y="192"/>
                </a:lnTo>
                <a:lnTo>
                  <a:pt x="124" y="193"/>
                </a:lnTo>
                <a:lnTo>
                  <a:pt x="128" y="194"/>
                </a:lnTo>
                <a:lnTo>
                  <a:pt x="128" y="197"/>
                </a:lnTo>
                <a:lnTo>
                  <a:pt x="125" y="199"/>
                </a:lnTo>
                <a:lnTo>
                  <a:pt x="125" y="202"/>
                </a:lnTo>
                <a:lnTo>
                  <a:pt x="123" y="202"/>
                </a:lnTo>
                <a:lnTo>
                  <a:pt x="121" y="203"/>
                </a:lnTo>
                <a:lnTo>
                  <a:pt x="119" y="203"/>
                </a:lnTo>
                <a:lnTo>
                  <a:pt x="113" y="203"/>
                </a:lnTo>
                <a:lnTo>
                  <a:pt x="112" y="203"/>
                </a:lnTo>
                <a:lnTo>
                  <a:pt x="108" y="203"/>
                </a:lnTo>
                <a:lnTo>
                  <a:pt x="107" y="202"/>
                </a:lnTo>
                <a:lnTo>
                  <a:pt x="105" y="202"/>
                </a:lnTo>
                <a:lnTo>
                  <a:pt x="104" y="201"/>
                </a:lnTo>
                <a:lnTo>
                  <a:pt x="103" y="199"/>
                </a:lnTo>
                <a:lnTo>
                  <a:pt x="103" y="197"/>
                </a:lnTo>
                <a:lnTo>
                  <a:pt x="102" y="195"/>
                </a:lnTo>
                <a:lnTo>
                  <a:pt x="103" y="192"/>
                </a:lnTo>
                <a:lnTo>
                  <a:pt x="104" y="189"/>
                </a:lnTo>
                <a:lnTo>
                  <a:pt x="105" y="188"/>
                </a:lnTo>
                <a:lnTo>
                  <a:pt x="108" y="185"/>
                </a:lnTo>
                <a:lnTo>
                  <a:pt x="110" y="185"/>
                </a:lnTo>
                <a:lnTo>
                  <a:pt x="112" y="184"/>
                </a:lnTo>
                <a:lnTo>
                  <a:pt x="119" y="183"/>
                </a:lnTo>
                <a:lnTo>
                  <a:pt x="132" y="182"/>
                </a:lnTo>
                <a:lnTo>
                  <a:pt x="138" y="181"/>
                </a:lnTo>
                <a:lnTo>
                  <a:pt x="142" y="180"/>
                </a:lnTo>
                <a:lnTo>
                  <a:pt x="138" y="177"/>
                </a:lnTo>
                <a:lnTo>
                  <a:pt x="134" y="172"/>
                </a:lnTo>
                <a:lnTo>
                  <a:pt x="130" y="167"/>
                </a:lnTo>
                <a:lnTo>
                  <a:pt x="128" y="165"/>
                </a:lnTo>
                <a:lnTo>
                  <a:pt x="128" y="162"/>
                </a:lnTo>
                <a:lnTo>
                  <a:pt x="125" y="163"/>
                </a:lnTo>
                <a:lnTo>
                  <a:pt x="124" y="165"/>
                </a:lnTo>
                <a:lnTo>
                  <a:pt x="120" y="167"/>
                </a:lnTo>
                <a:lnTo>
                  <a:pt x="117" y="170"/>
                </a:lnTo>
                <a:lnTo>
                  <a:pt x="115" y="171"/>
                </a:lnTo>
                <a:lnTo>
                  <a:pt x="113" y="172"/>
                </a:lnTo>
                <a:lnTo>
                  <a:pt x="112" y="171"/>
                </a:lnTo>
                <a:lnTo>
                  <a:pt x="110" y="169"/>
                </a:lnTo>
                <a:lnTo>
                  <a:pt x="108" y="167"/>
                </a:lnTo>
                <a:lnTo>
                  <a:pt x="108" y="165"/>
                </a:lnTo>
                <a:lnTo>
                  <a:pt x="120" y="136"/>
                </a:lnTo>
                <a:lnTo>
                  <a:pt x="119" y="135"/>
                </a:lnTo>
                <a:lnTo>
                  <a:pt x="117" y="133"/>
                </a:lnTo>
                <a:lnTo>
                  <a:pt x="116" y="130"/>
                </a:lnTo>
                <a:lnTo>
                  <a:pt x="116" y="127"/>
                </a:lnTo>
                <a:lnTo>
                  <a:pt x="116" y="126"/>
                </a:lnTo>
                <a:lnTo>
                  <a:pt x="117" y="122"/>
                </a:lnTo>
                <a:lnTo>
                  <a:pt x="119" y="118"/>
                </a:lnTo>
                <a:lnTo>
                  <a:pt x="116" y="118"/>
                </a:lnTo>
                <a:lnTo>
                  <a:pt x="115" y="118"/>
                </a:lnTo>
                <a:lnTo>
                  <a:pt x="112" y="117"/>
                </a:lnTo>
                <a:lnTo>
                  <a:pt x="110" y="116"/>
                </a:lnTo>
                <a:lnTo>
                  <a:pt x="108" y="113"/>
                </a:lnTo>
                <a:lnTo>
                  <a:pt x="107" y="112"/>
                </a:lnTo>
                <a:lnTo>
                  <a:pt x="107" y="111"/>
                </a:lnTo>
                <a:lnTo>
                  <a:pt x="106" y="109"/>
                </a:lnTo>
                <a:lnTo>
                  <a:pt x="106" y="107"/>
                </a:lnTo>
                <a:lnTo>
                  <a:pt x="102" y="107"/>
                </a:lnTo>
                <a:lnTo>
                  <a:pt x="97" y="106"/>
                </a:lnTo>
                <a:lnTo>
                  <a:pt x="89" y="102"/>
                </a:lnTo>
                <a:lnTo>
                  <a:pt x="85" y="100"/>
                </a:lnTo>
                <a:lnTo>
                  <a:pt x="81" y="99"/>
                </a:lnTo>
                <a:lnTo>
                  <a:pt x="76" y="98"/>
                </a:lnTo>
                <a:lnTo>
                  <a:pt x="70" y="98"/>
                </a:lnTo>
                <a:lnTo>
                  <a:pt x="63" y="98"/>
                </a:lnTo>
                <a:lnTo>
                  <a:pt x="57" y="99"/>
                </a:lnTo>
                <a:lnTo>
                  <a:pt x="50" y="99"/>
                </a:lnTo>
                <a:lnTo>
                  <a:pt x="45" y="100"/>
                </a:lnTo>
                <a:lnTo>
                  <a:pt x="35" y="102"/>
                </a:lnTo>
                <a:lnTo>
                  <a:pt x="29" y="103"/>
                </a:lnTo>
                <a:lnTo>
                  <a:pt x="24" y="103"/>
                </a:lnTo>
                <a:lnTo>
                  <a:pt x="23" y="103"/>
                </a:lnTo>
                <a:lnTo>
                  <a:pt x="22" y="102"/>
                </a:lnTo>
                <a:lnTo>
                  <a:pt x="19" y="99"/>
                </a:lnTo>
                <a:lnTo>
                  <a:pt x="17" y="96"/>
                </a:lnTo>
                <a:lnTo>
                  <a:pt x="15" y="94"/>
                </a:lnTo>
                <a:lnTo>
                  <a:pt x="17" y="94"/>
                </a:lnTo>
                <a:lnTo>
                  <a:pt x="13" y="93"/>
                </a:lnTo>
                <a:lnTo>
                  <a:pt x="10" y="92"/>
                </a:lnTo>
                <a:lnTo>
                  <a:pt x="8" y="90"/>
                </a:lnTo>
                <a:lnTo>
                  <a:pt x="7" y="89"/>
                </a:lnTo>
                <a:lnTo>
                  <a:pt x="7" y="86"/>
                </a:lnTo>
                <a:lnTo>
                  <a:pt x="8" y="85"/>
                </a:lnTo>
                <a:lnTo>
                  <a:pt x="10" y="82"/>
                </a:lnTo>
                <a:lnTo>
                  <a:pt x="14" y="82"/>
                </a:lnTo>
                <a:lnTo>
                  <a:pt x="17" y="81"/>
                </a:lnTo>
                <a:lnTo>
                  <a:pt x="21" y="81"/>
                </a:lnTo>
                <a:lnTo>
                  <a:pt x="24" y="82"/>
                </a:lnTo>
                <a:lnTo>
                  <a:pt x="34" y="82"/>
                </a:lnTo>
                <a:lnTo>
                  <a:pt x="39" y="82"/>
                </a:lnTo>
                <a:lnTo>
                  <a:pt x="42" y="82"/>
                </a:lnTo>
                <a:lnTo>
                  <a:pt x="46" y="79"/>
                </a:lnTo>
                <a:lnTo>
                  <a:pt x="46" y="77"/>
                </a:lnTo>
                <a:lnTo>
                  <a:pt x="49" y="76"/>
                </a:lnTo>
                <a:lnTo>
                  <a:pt x="21" y="76"/>
                </a:lnTo>
                <a:lnTo>
                  <a:pt x="18" y="76"/>
                </a:lnTo>
                <a:lnTo>
                  <a:pt x="14" y="76"/>
                </a:lnTo>
                <a:lnTo>
                  <a:pt x="10" y="77"/>
                </a:lnTo>
                <a:lnTo>
                  <a:pt x="8" y="78"/>
                </a:lnTo>
                <a:lnTo>
                  <a:pt x="4" y="77"/>
                </a:lnTo>
                <a:lnTo>
                  <a:pt x="3" y="77"/>
                </a:lnTo>
                <a:lnTo>
                  <a:pt x="1" y="76"/>
                </a:lnTo>
                <a:lnTo>
                  <a:pt x="0" y="75"/>
                </a:lnTo>
                <a:lnTo>
                  <a:pt x="0" y="73"/>
                </a:lnTo>
                <a:lnTo>
                  <a:pt x="0" y="71"/>
                </a:lnTo>
                <a:lnTo>
                  <a:pt x="0" y="68"/>
                </a:lnTo>
                <a:lnTo>
                  <a:pt x="0" y="67"/>
                </a:lnTo>
                <a:lnTo>
                  <a:pt x="0" y="65"/>
                </a:lnTo>
                <a:lnTo>
                  <a:pt x="1" y="64"/>
                </a:lnTo>
                <a:lnTo>
                  <a:pt x="3" y="63"/>
                </a:lnTo>
                <a:lnTo>
                  <a:pt x="5" y="63"/>
                </a:lnTo>
                <a:lnTo>
                  <a:pt x="9" y="62"/>
                </a:lnTo>
                <a:lnTo>
                  <a:pt x="16" y="62"/>
                </a:lnTo>
                <a:lnTo>
                  <a:pt x="22" y="63"/>
                </a:lnTo>
                <a:lnTo>
                  <a:pt x="29" y="63"/>
                </a:lnTo>
                <a:lnTo>
                  <a:pt x="39" y="62"/>
                </a:lnTo>
                <a:lnTo>
                  <a:pt x="49" y="62"/>
                </a:lnTo>
                <a:lnTo>
                  <a:pt x="61" y="59"/>
                </a:lnTo>
                <a:lnTo>
                  <a:pt x="71" y="58"/>
                </a:lnTo>
                <a:lnTo>
                  <a:pt x="81" y="56"/>
                </a:lnTo>
                <a:lnTo>
                  <a:pt x="85" y="54"/>
                </a:lnTo>
                <a:lnTo>
                  <a:pt x="89" y="53"/>
                </a:lnTo>
                <a:lnTo>
                  <a:pt x="91" y="51"/>
                </a:lnTo>
                <a:lnTo>
                  <a:pt x="94" y="49"/>
                </a:lnTo>
                <a:lnTo>
                  <a:pt x="88" y="48"/>
                </a:lnTo>
                <a:lnTo>
                  <a:pt x="84" y="46"/>
                </a:lnTo>
                <a:lnTo>
                  <a:pt x="86" y="43"/>
                </a:lnTo>
                <a:lnTo>
                  <a:pt x="90" y="41"/>
                </a:lnTo>
                <a:lnTo>
                  <a:pt x="95" y="40"/>
                </a:lnTo>
                <a:lnTo>
                  <a:pt x="99" y="40"/>
                </a:lnTo>
                <a:lnTo>
                  <a:pt x="108" y="39"/>
                </a:lnTo>
                <a:lnTo>
                  <a:pt x="118" y="39"/>
                </a:lnTo>
                <a:lnTo>
                  <a:pt x="121" y="38"/>
                </a:lnTo>
                <a:lnTo>
                  <a:pt x="125" y="37"/>
                </a:lnTo>
                <a:lnTo>
                  <a:pt x="131" y="35"/>
                </a:lnTo>
                <a:lnTo>
                  <a:pt x="137" y="32"/>
                </a:lnTo>
                <a:lnTo>
                  <a:pt x="142" y="28"/>
                </a:lnTo>
                <a:lnTo>
                  <a:pt x="148" y="26"/>
                </a:lnTo>
                <a:lnTo>
                  <a:pt x="153" y="23"/>
                </a:lnTo>
                <a:lnTo>
                  <a:pt x="156" y="22"/>
                </a:lnTo>
                <a:lnTo>
                  <a:pt x="159" y="21"/>
                </a:lnTo>
                <a:lnTo>
                  <a:pt x="165" y="19"/>
                </a:lnTo>
                <a:lnTo>
                  <a:pt x="170" y="19"/>
                </a:lnTo>
                <a:lnTo>
                  <a:pt x="178" y="18"/>
                </a:lnTo>
                <a:lnTo>
                  <a:pt x="184" y="17"/>
                </a:lnTo>
                <a:lnTo>
                  <a:pt x="188" y="15"/>
                </a:lnTo>
                <a:lnTo>
                  <a:pt x="211" y="15"/>
                </a:lnTo>
                <a:lnTo>
                  <a:pt x="210" y="22"/>
                </a:lnTo>
                <a:lnTo>
                  <a:pt x="215" y="23"/>
                </a:lnTo>
                <a:lnTo>
                  <a:pt x="221" y="22"/>
                </a:lnTo>
                <a:lnTo>
                  <a:pt x="232" y="19"/>
                </a:lnTo>
                <a:lnTo>
                  <a:pt x="244" y="17"/>
                </a:lnTo>
                <a:lnTo>
                  <a:pt x="249" y="16"/>
                </a:lnTo>
                <a:lnTo>
                  <a:pt x="255" y="15"/>
                </a:lnTo>
                <a:lnTo>
                  <a:pt x="258" y="15"/>
                </a:lnTo>
                <a:lnTo>
                  <a:pt x="260" y="14"/>
                </a:lnTo>
                <a:lnTo>
                  <a:pt x="264" y="13"/>
                </a:lnTo>
                <a:lnTo>
                  <a:pt x="280" y="4"/>
                </a:lnTo>
                <a:lnTo>
                  <a:pt x="326" y="4"/>
                </a:lnTo>
                <a:lnTo>
                  <a:pt x="327" y="6"/>
                </a:lnTo>
                <a:lnTo>
                  <a:pt x="330" y="6"/>
                </a:lnTo>
                <a:lnTo>
                  <a:pt x="331" y="8"/>
                </a:lnTo>
                <a:lnTo>
                  <a:pt x="333" y="8"/>
                </a:lnTo>
                <a:lnTo>
                  <a:pt x="338" y="8"/>
                </a:lnTo>
                <a:lnTo>
                  <a:pt x="343" y="6"/>
                </a:lnTo>
                <a:lnTo>
                  <a:pt x="356" y="4"/>
                </a:lnTo>
                <a:lnTo>
                  <a:pt x="369" y="0"/>
                </a:lnTo>
                <a:lnTo>
                  <a:pt x="375" y="0"/>
                </a:lnTo>
                <a:lnTo>
                  <a:pt x="379" y="0"/>
                </a:lnTo>
                <a:lnTo>
                  <a:pt x="383" y="0"/>
                </a:lnTo>
                <a:lnTo>
                  <a:pt x="386" y="0"/>
                </a:lnTo>
                <a:lnTo>
                  <a:pt x="389" y="0"/>
                </a:lnTo>
                <a:lnTo>
                  <a:pt x="391" y="1"/>
                </a:lnTo>
                <a:lnTo>
                  <a:pt x="393" y="2"/>
                </a:lnTo>
                <a:lnTo>
                  <a:pt x="396" y="4"/>
                </a:lnTo>
                <a:lnTo>
                  <a:pt x="396" y="6"/>
                </a:lnTo>
                <a:lnTo>
                  <a:pt x="398" y="9"/>
                </a:lnTo>
                <a:lnTo>
                  <a:pt x="436" y="9"/>
                </a:lnTo>
                <a:lnTo>
                  <a:pt x="438" y="8"/>
                </a:lnTo>
                <a:lnTo>
                  <a:pt x="440" y="6"/>
                </a:lnTo>
                <a:lnTo>
                  <a:pt x="442" y="5"/>
                </a:lnTo>
                <a:lnTo>
                  <a:pt x="443" y="5"/>
                </a:lnTo>
                <a:lnTo>
                  <a:pt x="448" y="5"/>
                </a:lnTo>
                <a:lnTo>
                  <a:pt x="453" y="5"/>
                </a:lnTo>
                <a:lnTo>
                  <a:pt x="460" y="6"/>
                </a:lnTo>
                <a:lnTo>
                  <a:pt x="469" y="6"/>
                </a:lnTo>
                <a:lnTo>
                  <a:pt x="478" y="9"/>
                </a:lnTo>
                <a:lnTo>
                  <a:pt x="483" y="9"/>
                </a:lnTo>
                <a:lnTo>
                  <a:pt x="487" y="9"/>
                </a:lnTo>
                <a:lnTo>
                  <a:pt x="487" y="17"/>
                </a:lnTo>
                <a:lnTo>
                  <a:pt x="445" y="17"/>
                </a:lnTo>
                <a:lnTo>
                  <a:pt x="445" y="19"/>
                </a:lnTo>
                <a:lnTo>
                  <a:pt x="474" y="19"/>
                </a:lnTo>
                <a:lnTo>
                  <a:pt x="474" y="17"/>
                </a:lnTo>
                <a:lnTo>
                  <a:pt x="481" y="17"/>
                </a:lnTo>
                <a:lnTo>
                  <a:pt x="480" y="19"/>
                </a:lnTo>
                <a:lnTo>
                  <a:pt x="478" y="19"/>
                </a:lnTo>
                <a:lnTo>
                  <a:pt x="476" y="21"/>
                </a:lnTo>
                <a:lnTo>
                  <a:pt x="474" y="22"/>
                </a:lnTo>
                <a:lnTo>
                  <a:pt x="568" y="22"/>
                </a:lnTo>
                <a:lnTo>
                  <a:pt x="567" y="26"/>
                </a:lnTo>
                <a:lnTo>
                  <a:pt x="565" y="29"/>
                </a:lnTo>
                <a:lnTo>
                  <a:pt x="562" y="30"/>
                </a:lnTo>
                <a:lnTo>
                  <a:pt x="559" y="31"/>
                </a:lnTo>
                <a:lnTo>
                  <a:pt x="552" y="31"/>
                </a:lnTo>
                <a:lnTo>
                  <a:pt x="548" y="31"/>
                </a:lnTo>
                <a:lnTo>
                  <a:pt x="544" y="31"/>
                </a:lnTo>
                <a:lnTo>
                  <a:pt x="539" y="33"/>
                </a:lnTo>
                <a:lnTo>
                  <a:pt x="534" y="33"/>
                </a:lnTo>
                <a:lnTo>
                  <a:pt x="525" y="37"/>
                </a:lnTo>
                <a:lnTo>
                  <a:pt x="515" y="40"/>
                </a:lnTo>
                <a:lnTo>
                  <a:pt x="509" y="42"/>
                </a:lnTo>
                <a:lnTo>
                  <a:pt x="504" y="43"/>
                </a:lnTo>
                <a:lnTo>
                  <a:pt x="509" y="43"/>
                </a:lnTo>
                <a:lnTo>
                  <a:pt x="508" y="44"/>
                </a:lnTo>
                <a:lnTo>
                  <a:pt x="507" y="45"/>
                </a:lnTo>
                <a:lnTo>
                  <a:pt x="502" y="46"/>
                </a:lnTo>
                <a:lnTo>
                  <a:pt x="496" y="46"/>
                </a:lnTo>
                <a:lnTo>
                  <a:pt x="498" y="51"/>
                </a:lnTo>
                <a:lnTo>
                  <a:pt x="490" y="56"/>
                </a:lnTo>
                <a:lnTo>
                  <a:pt x="482" y="59"/>
                </a:lnTo>
                <a:lnTo>
                  <a:pt x="480" y="63"/>
                </a:lnTo>
                <a:lnTo>
                  <a:pt x="478" y="64"/>
                </a:lnTo>
                <a:lnTo>
                  <a:pt x="476" y="65"/>
                </a:lnTo>
                <a:lnTo>
                  <a:pt x="474" y="69"/>
                </a:lnTo>
                <a:lnTo>
                  <a:pt x="472" y="73"/>
                </a:lnTo>
                <a:lnTo>
                  <a:pt x="473" y="73"/>
                </a:lnTo>
                <a:lnTo>
                  <a:pt x="476" y="73"/>
                </a:lnTo>
                <a:lnTo>
                  <a:pt x="481" y="72"/>
                </a:lnTo>
                <a:lnTo>
                  <a:pt x="486" y="69"/>
                </a:lnTo>
                <a:lnTo>
                  <a:pt x="491" y="69"/>
                </a:lnTo>
                <a:lnTo>
                  <a:pt x="492" y="69"/>
                </a:lnTo>
                <a:lnTo>
                  <a:pt x="492" y="73"/>
                </a:lnTo>
                <a:lnTo>
                  <a:pt x="492" y="75"/>
                </a:lnTo>
                <a:lnTo>
                  <a:pt x="492" y="76"/>
                </a:lnTo>
                <a:lnTo>
                  <a:pt x="494" y="77"/>
                </a:lnTo>
                <a:lnTo>
                  <a:pt x="495" y="77"/>
                </a:lnTo>
                <a:lnTo>
                  <a:pt x="495" y="78"/>
                </a:lnTo>
                <a:lnTo>
                  <a:pt x="498" y="79"/>
                </a:lnTo>
                <a:lnTo>
                  <a:pt x="502" y="81"/>
                </a:lnTo>
                <a:lnTo>
                  <a:pt x="505" y="84"/>
                </a:lnTo>
                <a:lnTo>
                  <a:pt x="503" y="85"/>
                </a:lnTo>
                <a:lnTo>
                  <a:pt x="500" y="86"/>
                </a:lnTo>
                <a:lnTo>
                  <a:pt x="498" y="86"/>
                </a:lnTo>
                <a:lnTo>
                  <a:pt x="495" y="87"/>
                </a:lnTo>
                <a:lnTo>
                  <a:pt x="488" y="87"/>
                </a:lnTo>
                <a:lnTo>
                  <a:pt x="482" y="89"/>
                </a:lnTo>
                <a:lnTo>
                  <a:pt x="475" y="89"/>
                </a:lnTo>
                <a:lnTo>
                  <a:pt x="469" y="89"/>
                </a:lnTo>
                <a:lnTo>
                  <a:pt x="468" y="90"/>
                </a:lnTo>
                <a:lnTo>
                  <a:pt x="465" y="91"/>
                </a:lnTo>
                <a:lnTo>
                  <a:pt x="465" y="93"/>
                </a:lnTo>
                <a:lnTo>
                  <a:pt x="464" y="95"/>
                </a:lnTo>
                <a:lnTo>
                  <a:pt x="467" y="96"/>
                </a:lnTo>
                <a:lnTo>
                  <a:pt x="473" y="96"/>
                </a:lnTo>
                <a:lnTo>
                  <a:pt x="483" y="98"/>
                </a:lnTo>
                <a:lnTo>
                  <a:pt x="483" y="99"/>
                </a:lnTo>
                <a:lnTo>
                  <a:pt x="485" y="99"/>
                </a:lnTo>
                <a:lnTo>
                  <a:pt x="485" y="102"/>
                </a:lnTo>
                <a:lnTo>
                  <a:pt x="488" y="106"/>
                </a:lnTo>
                <a:lnTo>
                  <a:pt x="492" y="109"/>
                </a:lnTo>
                <a:lnTo>
                  <a:pt x="497" y="109"/>
                </a:lnTo>
                <a:lnTo>
                  <a:pt x="494" y="113"/>
                </a:lnTo>
                <a:lnTo>
                  <a:pt x="489" y="116"/>
                </a:lnTo>
                <a:lnTo>
                  <a:pt x="485" y="116"/>
                </a:lnTo>
                <a:lnTo>
                  <a:pt x="481" y="116"/>
                </a:lnTo>
                <a:lnTo>
                  <a:pt x="470" y="116"/>
                </a:lnTo>
                <a:lnTo>
                  <a:pt x="473" y="116"/>
                </a:lnTo>
                <a:lnTo>
                  <a:pt x="476" y="116"/>
                </a:lnTo>
                <a:lnTo>
                  <a:pt x="480" y="119"/>
                </a:lnTo>
                <a:lnTo>
                  <a:pt x="478" y="121"/>
                </a:lnTo>
                <a:lnTo>
                  <a:pt x="475" y="122"/>
                </a:lnTo>
                <a:lnTo>
                  <a:pt x="473" y="123"/>
                </a:lnTo>
                <a:lnTo>
                  <a:pt x="469" y="123"/>
                </a:lnTo>
                <a:lnTo>
                  <a:pt x="463" y="123"/>
                </a:lnTo>
                <a:lnTo>
                  <a:pt x="456" y="123"/>
                </a:lnTo>
                <a:lnTo>
                  <a:pt x="460" y="126"/>
                </a:lnTo>
                <a:lnTo>
                  <a:pt x="464" y="129"/>
                </a:lnTo>
                <a:lnTo>
                  <a:pt x="467" y="131"/>
                </a:lnTo>
                <a:lnTo>
                  <a:pt x="468" y="133"/>
                </a:lnTo>
                <a:lnTo>
                  <a:pt x="469" y="136"/>
                </a:lnTo>
                <a:lnTo>
                  <a:pt x="432" y="136"/>
                </a:lnTo>
                <a:lnTo>
                  <a:pt x="434" y="139"/>
                </a:lnTo>
                <a:lnTo>
                  <a:pt x="435" y="139"/>
                </a:lnTo>
                <a:lnTo>
                  <a:pt x="437" y="140"/>
                </a:lnTo>
                <a:lnTo>
                  <a:pt x="441" y="142"/>
                </a:lnTo>
                <a:lnTo>
                  <a:pt x="445" y="144"/>
                </a:lnTo>
                <a:lnTo>
                  <a:pt x="448" y="145"/>
                </a:lnTo>
                <a:lnTo>
                  <a:pt x="451" y="147"/>
                </a:lnTo>
                <a:lnTo>
                  <a:pt x="453" y="149"/>
                </a:lnTo>
                <a:lnTo>
                  <a:pt x="454" y="149"/>
                </a:lnTo>
                <a:lnTo>
                  <a:pt x="454" y="152"/>
                </a:lnTo>
                <a:lnTo>
                  <a:pt x="454" y="155"/>
                </a:lnTo>
                <a:lnTo>
                  <a:pt x="453" y="157"/>
                </a:lnTo>
                <a:lnTo>
                  <a:pt x="452" y="158"/>
                </a:lnTo>
                <a:lnTo>
                  <a:pt x="451" y="159"/>
                </a:lnTo>
                <a:lnTo>
                  <a:pt x="449" y="160"/>
                </a:lnTo>
                <a:lnTo>
                  <a:pt x="445" y="159"/>
                </a:lnTo>
                <a:lnTo>
                  <a:pt x="442" y="158"/>
                </a:lnTo>
                <a:lnTo>
                  <a:pt x="436" y="152"/>
                </a:lnTo>
                <a:lnTo>
                  <a:pt x="432" y="150"/>
                </a:lnTo>
                <a:lnTo>
                  <a:pt x="429" y="149"/>
                </a:lnTo>
                <a:lnTo>
                  <a:pt x="425" y="147"/>
                </a:lnTo>
                <a:lnTo>
                  <a:pt x="420" y="147"/>
                </a:lnTo>
                <a:lnTo>
                  <a:pt x="421" y="149"/>
                </a:lnTo>
                <a:lnTo>
                  <a:pt x="423" y="149"/>
                </a:lnTo>
                <a:lnTo>
                  <a:pt x="428" y="152"/>
                </a:lnTo>
                <a:lnTo>
                  <a:pt x="440" y="157"/>
                </a:lnTo>
                <a:lnTo>
                  <a:pt x="445" y="160"/>
                </a:lnTo>
                <a:lnTo>
                  <a:pt x="450" y="163"/>
                </a:lnTo>
                <a:lnTo>
                  <a:pt x="452" y="165"/>
                </a:lnTo>
                <a:lnTo>
                  <a:pt x="453" y="167"/>
                </a:lnTo>
                <a:lnTo>
                  <a:pt x="454" y="169"/>
                </a:lnTo>
                <a:lnTo>
                  <a:pt x="454" y="172"/>
                </a:lnTo>
                <a:lnTo>
                  <a:pt x="454" y="175"/>
                </a:lnTo>
                <a:lnTo>
                  <a:pt x="453" y="179"/>
                </a:lnTo>
                <a:lnTo>
                  <a:pt x="451" y="181"/>
                </a:lnTo>
                <a:lnTo>
                  <a:pt x="449" y="183"/>
                </a:lnTo>
                <a:lnTo>
                  <a:pt x="446" y="184"/>
                </a:lnTo>
                <a:lnTo>
                  <a:pt x="443" y="185"/>
                </a:lnTo>
                <a:lnTo>
                  <a:pt x="438" y="185"/>
                </a:lnTo>
                <a:lnTo>
                  <a:pt x="434" y="185"/>
                </a:lnTo>
                <a:lnTo>
                  <a:pt x="431" y="185"/>
                </a:lnTo>
                <a:lnTo>
                  <a:pt x="428" y="184"/>
                </a:lnTo>
                <a:lnTo>
                  <a:pt x="425" y="183"/>
                </a:lnTo>
                <a:lnTo>
                  <a:pt x="423" y="180"/>
                </a:lnTo>
                <a:lnTo>
                  <a:pt x="422" y="177"/>
                </a:lnTo>
                <a:lnTo>
                  <a:pt x="421" y="175"/>
                </a:lnTo>
                <a:lnTo>
                  <a:pt x="421" y="170"/>
                </a:lnTo>
                <a:lnTo>
                  <a:pt x="413" y="170"/>
                </a:lnTo>
                <a:lnTo>
                  <a:pt x="409" y="169"/>
                </a:lnTo>
                <a:lnTo>
                  <a:pt x="406" y="168"/>
                </a:lnTo>
                <a:lnTo>
                  <a:pt x="392" y="165"/>
                </a:lnTo>
                <a:lnTo>
                  <a:pt x="402" y="168"/>
                </a:lnTo>
                <a:lnTo>
                  <a:pt x="411" y="172"/>
                </a:lnTo>
                <a:lnTo>
                  <a:pt x="410" y="175"/>
                </a:lnTo>
                <a:lnTo>
                  <a:pt x="407" y="177"/>
                </a:lnTo>
                <a:lnTo>
                  <a:pt x="405" y="179"/>
                </a:lnTo>
                <a:lnTo>
                  <a:pt x="402" y="180"/>
                </a:lnTo>
                <a:lnTo>
                  <a:pt x="402" y="182"/>
                </a:lnTo>
                <a:lnTo>
                  <a:pt x="403" y="185"/>
                </a:lnTo>
                <a:lnTo>
                  <a:pt x="406" y="188"/>
                </a:lnTo>
                <a:lnTo>
                  <a:pt x="411" y="189"/>
                </a:lnTo>
                <a:lnTo>
                  <a:pt x="416" y="190"/>
                </a:lnTo>
                <a:lnTo>
                  <a:pt x="423" y="190"/>
                </a:lnTo>
                <a:lnTo>
                  <a:pt x="429" y="192"/>
                </a:lnTo>
                <a:lnTo>
                  <a:pt x="442" y="190"/>
                </a:lnTo>
                <a:lnTo>
                  <a:pt x="442" y="192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88" name="Freeform 187">
            <a:extLst>
              <a:ext uri="{FF2B5EF4-FFF2-40B4-BE49-F238E27FC236}">
                <a16:creationId xmlns:a16="http://schemas.microsoft.com/office/drawing/2014/main" id="{84BBC3AF-B064-BEAF-0AFC-BB33D4BF333E}"/>
              </a:ext>
            </a:extLst>
          </p:cNvPr>
          <p:cNvSpPr>
            <a:spLocks/>
          </p:cNvSpPr>
          <p:nvPr/>
        </p:nvSpPr>
        <p:spPr bwMode="auto">
          <a:xfrm>
            <a:off x="7038350" y="3774921"/>
            <a:ext cx="41275" cy="31750"/>
          </a:xfrm>
          <a:custGeom>
            <a:avLst/>
            <a:gdLst>
              <a:gd name="T0" fmla="*/ 8 w 21"/>
              <a:gd name="T1" fmla="*/ 16 h 17"/>
              <a:gd name="T2" fmla="*/ 0 w 21"/>
              <a:gd name="T3" fmla="*/ 16 h 17"/>
              <a:gd name="T4" fmla="*/ 2 w 21"/>
              <a:gd name="T5" fmla="*/ 10 h 17"/>
              <a:gd name="T6" fmla="*/ 3 w 21"/>
              <a:gd name="T7" fmla="*/ 8 h 17"/>
              <a:gd name="T8" fmla="*/ 3 w 21"/>
              <a:gd name="T9" fmla="*/ 7 h 17"/>
              <a:gd name="T10" fmla="*/ 3 w 21"/>
              <a:gd name="T11" fmla="*/ 6 h 17"/>
              <a:gd name="T12" fmla="*/ 4 w 21"/>
              <a:gd name="T13" fmla="*/ 5 h 17"/>
              <a:gd name="T14" fmla="*/ 4 w 21"/>
              <a:gd name="T15" fmla="*/ 4 h 17"/>
              <a:gd name="T16" fmla="*/ 8 w 21"/>
              <a:gd name="T17" fmla="*/ 0 h 17"/>
              <a:gd name="T18" fmla="*/ 10 w 21"/>
              <a:gd name="T19" fmla="*/ 3 h 17"/>
              <a:gd name="T20" fmla="*/ 12 w 21"/>
              <a:gd name="T21" fmla="*/ 4 h 17"/>
              <a:gd name="T22" fmla="*/ 13 w 21"/>
              <a:gd name="T23" fmla="*/ 5 h 17"/>
              <a:gd name="T24" fmla="*/ 20 w 21"/>
              <a:gd name="T25" fmla="*/ 0 h 17"/>
              <a:gd name="T26" fmla="*/ 20 w 21"/>
              <a:gd name="T27" fmla="*/ 3 h 17"/>
              <a:gd name="T28" fmla="*/ 19 w 21"/>
              <a:gd name="T29" fmla="*/ 6 h 17"/>
              <a:gd name="T30" fmla="*/ 18 w 21"/>
              <a:gd name="T31" fmla="*/ 8 h 17"/>
              <a:gd name="T32" fmla="*/ 17 w 21"/>
              <a:gd name="T33" fmla="*/ 10 h 17"/>
              <a:gd name="T34" fmla="*/ 13 w 21"/>
              <a:gd name="T35" fmla="*/ 12 h 17"/>
              <a:gd name="T36" fmla="*/ 12 w 21"/>
              <a:gd name="T37" fmla="*/ 15 h 17"/>
              <a:gd name="T38" fmla="*/ 8 w 21"/>
              <a:gd name="T39" fmla="*/ 16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1" h="17">
                <a:moveTo>
                  <a:pt x="8" y="16"/>
                </a:moveTo>
                <a:lnTo>
                  <a:pt x="0" y="16"/>
                </a:lnTo>
                <a:lnTo>
                  <a:pt x="2" y="10"/>
                </a:lnTo>
                <a:lnTo>
                  <a:pt x="3" y="8"/>
                </a:lnTo>
                <a:lnTo>
                  <a:pt x="3" y="7"/>
                </a:lnTo>
                <a:lnTo>
                  <a:pt x="3" y="6"/>
                </a:lnTo>
                <a:lnTo>
                  <a:pt x="4" y="5"/>
                </a:lnTo>
                <a:lnTo>
                  <a:pt x="4" y="4"/>
                </a:lnTo>
                <a:lnTo>
                  <a:pt x="8" y="0"/>
                </a:lnTo>
                <a:lnTo>
                  <a:pt x="10" y="3"/>
                </a:lnTo>
                <a:lnTo>
                  <a:pt x="12" y="4"/>
                </a:lnTo>
                <a:lnTo>
                  <a:pt x="13" y="5"/>
                </a:lnTo>
                <a:lnTo>
                  <a:pt x="20" y="0"/>
                </a:lnTo>
                <a:lnTo>
                  <a:pt x="20" y="3"/>
                </a:lnTo>
                <a:lnTo>
                  <a:pt x="19" y="6"/>
                </a:lnTo>
                <a:lnTo>
                  <a:pt x="18" y="8"/>
                </a:lnTo>
                <a:lnTo>
                  <a:pt x="17" y="10"/>
                </a:lnTo>
                <a:lnTo>
                  <a:pt x="13" y="12"/>
                </a:lnTo>
                <a:lnTo>
                  <a:pt x="12" y="15"/>
                </a:lnTo>
                <a:lnTo>
                  <a:pt x="8" y="16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89" name="Freeform 188">
            <a:extLst>
              <a:ext uri="{FF2B5EF4-FFF2-40B4-BE49-F238E27FC236}">
                <a16:creationId xmlns:a16="http://schemas.microsoft.com/office/drawing/2014/main" id="{5B55B56D-E826-FE56-8FCB-B0FC10977B71}"/>
              </a:ext>
            </a:extLst>
          </p:cNvPr>
          <p:cNvSpPr>
            <a:spLocks/>
          </p:cNvSpPr>
          <p:nvPr/>
        </p:nvSpPr>
        <p:spPr bwMode="auto">
          <a:xfrm>
            <a:off x="7165350" y="2625571"/>
            <a:ext cx="46038" cy="31750"/>
          </a:xfrm>
          <a:custGeom>
            <a:avLst/>
            <a:gdLst>
              <a:gd name="T0" fmla="*/ 22 w 23"/>
              <a:gd name="T1" fmla="*/ 9 h 17"/>
              <a:gd name="T2" fmla="*/ 17 w 23"/>
              <a:gd name="T3" fmla="*/ 13 h 17"/>
              <a:gd name="T4" fmla="*/ 14 w 23"/>
              <a:gd name="T5" fmla="*/ 14 h 17"/>
              <a:gd name="T6" fmla="*/ 11 w 23"/>
              <a:gd name="T7" fmla="*/ 16 h 17"/>
              <a:gd name="T8" fmla="*/ 9 w 23"/>
              <a:gd name="T9" fmla="*/ 16 h 17"/>
              <a:gd name="T10" fmla="*/ 6 w 23"/>
              <a:gd name="T11" fmla="*/ 14 h 17"/>
              <a:gd name="T12" fmla="*/ 4 w 23"/>
              <a:gd name="T13" fmla="*/ 12 h 17"/>
              <a:gd name="T14" fmla="*/ 3 w 23"/>
              <a:gd name="T15" fmla="*/ 11 h 17"/>
              <a:gd name="T16" fmla="*/ 1 w 23"/>
              <a:gd name="T17" fmla="*/ 9 h 17"/>
              <a:gd name="T18" fmla="*/ 0 w 23"/>
              <a:gd name="T19" fmla="*/ 6 h 17"/>
              <a:gd name="T20" fmla="*/ 0 w 23"/>
              <a:gd name="T21" fmla="*/ 3 h 17"/>
              <a:gd name="T22" fmla="*/ 0 w 23"/>
              <a:gd name="T23" fmla="*/ 0 h 17"/>
              <a:gd name="T24" fmla="*/ 5 w 23"/>
              <a:gd name="T25" fmla="*/ 0 h 17"/>
              <a:gd name="T26" fmla="*/ 7 w 23"/>
              <a:gd name="T27" fmla="*/ 0 h 17"/>
              <a:gd name="T28" fmla="*/ 9 w 23"/>
              <a:gd name="T29" fmla="*/ 0 h 17"/>
              <a:gd name="T30" fmla="*/ 12 w 23"/>
              <a:gd name="T31" fmla="*/ 1 h 17"/>
              <a:gd name="T32" fmla="*/ 16 w 23"/>
              <a:gd name="T33" fmla="*/ 3 h 17"/>
              <a:gd name="T34" fmla="*/ 18 w 23"/>
              <a:gd name="T35" fmla="*/ 6 h 17"/>
              <a:gd name="T36" fmla="*/ 22 w 23"/>
              <a:gd name="T37" fmla="*/ 9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3" h="17">
                <a:moveTo>
                  <a:pt x="22" y="9"/>
                </a:moveTo>
                <a:lnTo>
                  <a:pt x="17" y="13"/>
                </a:lnTo>
                <a:lnTo>
                  <a:pt x="14" y="14"/>
                </a:lnTo>
                <a:lnTo>
                  <a:pt x="11" y="16"/>
                </a:lnTo>
                <a:lnTo>
                  <a:pt x="9" y="16"/>
                </a:lnTo>
                <a:lnTo>
                  <a:pt x="6" y="14"/>
                </a:lnTo>
                <a:lnTo>
                  <a:pt x="4" y="12"/>
                </a:lnTo>
                <a:lnTo>
                  <a:pt x="3" y="11"/>
                </a:lnTo>
                <a:lnTo>
                  <a:pt x="1" y="9"/>
                </a:lnTo>
                <a:lnTo>
                  <a:pt x="0" y="6"/>
                </a:lnTo>
                <a:lnTo>
                  <a:pt x="0" y="3"/>
                </a:lnTo>
                <a:lnTo>
                  <a:pt x="0" y="0"/>
                </a:lnTo>
                <a:lnTo>
                  <a:pt x="5" y="0"/>
                </a:lnTo>
                <a:lnTo>
                  <a:pt x="7" y="0"/>
                </a:lnTo>
                <a:lnTo>
                  <a:pt x="9" y="0"/>
                </a:lnTo>
                <a:lnTo>
                  <a:pt x="12" y="1"/>
                </a:lnTo>
                <a:lnTo>
                  <a:pt x="16" y="3"/>
                </a:lnTo>
                <a:lnTo>
                  <a:pt x="18" y="6"/>
                </a:lnTo>
                <a:lnTo>
                  <a:pt x="22" y="9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90" name="Freeform 189">
            <a:extLst>
              <a:ext uri="{FF2B5EF4-FFF2-40B4-BE49-F238E27FC236}">
                <a16:creationId xmlns:a16="http://schemas.microsoft.com/office/drawing/2014/main" id="{3C256E5E-FEF9-14ED-F419-4CA6B08A7A48}"/>
              </a:ext>
            </a:extLst>
          </p:cNvPr>
          <p:cNvSpPr>
            <a:spLocks/>
          </p:cNvSpPr>
          <p:nvPr/>
        </p:nvSpPr>
        <p:spPr bwMode="auto">
          <a:xfrm>
            <a:off x="7200275" y="2414434"/>
            <a:ext cx="269875" cy="182563"/>
          </a:xfrm>
          <a:custGeom>
            <a:avLst/>
            <a:gdLst>
              <a:gd name="T0" fmla="*/ 32 w 133"/>
              <a:gd name="T1" fmla="*/ 97 h 98"/>
              <a:gd name="T2" fmla="*/ 26 w 133"/>
              <a:gd name="T3" fmla="*/ 90 h 98"/>
              <a:gd name="T4" fmla="*/ 21 w 133"/>
              <a:gd name="T5" fmla="*/ 79 h 98"/>
              <a:gd name="T6" fmla="*/ 13 w 133"/>
              <a:gd name="T7" fmla="*/ 80 h 98"/>
              <a:gd name="T8" fmla="*/ 5 w 133"/>
              <a:gd name="T9" fmla="*/ 79 h 98"/>
              <a:gd name="T10" fmla="*/ 1 w 133"/>
              <a:gd name="T11" fmla="*/ 77 h 98"/>
              <a:gd name="T12" fmla="*/ 0 w 133"/>
              <a:gd name="T13" fmla="*/ 74 h 98"/>
              <a:gd name="T14" fmla="*/ 1 w 133"/>
              <a:gd name="T15" fmla="*/ 72 h 98"/>
              <a:gd name="T16" fmla="*/ 5 w 133"/>
              <a:gd name="T17" fmla="*/ 68 h 98"/>
              <a:gd name="T18" fmla="*/ 8 w 133"/>
              <a:gd name="T19" fmla="*/ 61 h 98"/>
              <a:gd name="T20" fmla="*/ 10 w 133"/>
              <a:gd name="T21" fmla="*/ 56 h 98"/>
              <a:gd name="T22" fmla="*/ 13 w 133"/>
              <a:gd name="T23" fmla="*/ 56 h 98"/>
              <a:gd name="T24" fmla="*/ 19 w 133"/>
              <a:gd name="T25" fmla="*/ 49 h 98"/>
              <a:gd name="T26" fmla="*/ 21 w 133"/>
              <a:gd name="T27" fmla="*/ 38 h 98"/>
              <a:gd name="T28" fmla="*/ 25 w 133"/>
              <a:gd name="T29" fmla="*/ 31 h 98"/>
              <a:gd name="T30" fmla="*/ 28 w 133"/>
              <a:gd name="T31" fmla="*/ 26 h 98"/>
              <a:gd name="T32" fmla="*/ 32 w 133"/>
              <a:gd name="T33" fmla="*/ 23 h 98"/>
              <a:gd name="T34" fmla="*/ 45 w 133"/>
              <a:gd name="T35" fmla="*/ 16 h 98"/>
              <a:gd name="T36" fmla="*/ 57 w 133"/>
              <a:gd name="T37" fmla="*/ 11 h 98"/>
              <a:gd name="T38" fmla="*/ 88 w 133"/>
              <a:gd name="T39" fmla="*/ 10 h 98"/>
              <a:gd name="T40" fmla="*/ 102 w 133"/>
              <a:gd name="T41" fmla="*/ 2 h 98"/>
              <a:gd name="T42" fmla="*/ 108 w 133"/>
              <a:gd name="T43" fmla="*/ 0 h 98"/>
              <a:gd name="T44" fmla="*/ 116 w 133"/>
              <a:gd name="T45" fmla="*/ 0 h 98"/>
              <a:gd name="T46" fmla="*/ 125 w 133"/>
              <a:gd name="T47" fmla="*/ 0 h 98"/>
              <a:gd name="T48" fmla="*/ 130 w 133"/>
              <a:gd name="T49" fmla="*/ 2 h 98"/>
              <a:gd name="T50" fmla="*/ 130 w 133"/>
              <a:gd name="T51" fmla="*/ 6 h 98"/>
              <a:gd name="T52" fmla="*/ 129 w 133"/>
              <a:gd name="T53" fmla="*/ 9 h 98"/>
              <a:gd name="T54" fmla="*/ 124 w 133"/>
              <a:gd name="T55" fmla="*/ 13 h 98"/>
              <a:gd name="T56" fmla="*/ 111 w 133"/>
              <a:gd name="T57" fmla="*/ 15 h 98"/>
              <a:gd name="T58" fmla="*/ 76 w 133"/>
              <a:gd name="T59" fmla="*/ 26 h 98"/>
              <a:gd name="T60" fmla="*/ 61 w 133"/>
              <a:gd name="T61" fmla="*/ 33 h 98"/>
              <a:gd name="T62" fmla="*/ 51 w 133"/>
              <a:gd name="T63" fmla="*/ 40 h 98"/>
              <a:gd name="T64" fmla="*/ 47 w 133"/>
              <a:gd name="T65" fmla="*/ 45 h 98"/>
              <a:gd name="T66" fmla="*/ 41 w 133"/>
              <a:gd name="T67" fmla="*/ 52 h 98"/>
              <a:gd name="T68" fmla="*/ 37 w 133"/>
              <a:gd name="T69" fmla="*/ 58 h 98"/>
              <a:gd name="T70" fmla="*/ 35 w 133"/>
              <a:gd name="T71" fmla="*/ 65 h 98"/>
              <a:gd name="T72" fmla="*/ 36 w 133"/>
              <a:gd name="T73" fmla="*/ 73 h 98"/>
              <a:gd name="T74" fmla="*/ 39 w 133"/>
              <a:gd name="T75" fmla="*/ 78 h 98"/>
              <a:gd name="T76" fmla="*/ 44 w 133"/>
              <a:gd name="T77" fmla="*/ 82 h 98"/>
              <a:gd name="T78" fmla="*/ 59 w 133"/>
              <a:gd name="T79" fmla="*/ 90 h 98"/>
              <a:gd name="T80" fmla="*/ 65 w 133"/>
              <a:gd name="T81" fmla="*/ 92 h 98"/>
              <a:gd name="T82" fmla="*/ 70 w 133"/>
              <a:gd name="T83" fmla="*/ 96 h 98"/>
              <a:gd name="T84" fmla="*/ 61 w 133"/>
              <a:gd name="T85" fmla="*/ 96 h 98"/>
              <a:gd name="T86" fmla="*/ 44 w 133"/>
              <a:gd name="T87" fmla="*/ 97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33" h="98">
                <a:moveTo>
                  <a:pt x="35" y="97"/>
                </a:moveTo>
                <a:lnTo>
                  <a:pt x="32" y="97"/>
                </a:lnTo>
                <a:lnTo>
                  <a:pt x="30" y="95"/>
                </a:lnTo>
                <a:lnTo>
                  <a:pt x="26" y="90"/>
                </a:lnTo>
                <a:lnTo>
                  <a:pt x="22" y="83"/>
                </a:lnTo>
                <a:lnTo>
                  <a:pt x="21" y="79"/>
                </a:lnTo>
                <a:lnTo>
                  <a:pt x="16" y="80"/>
                </a:lnTo>
                <a:lnTo>
                  <a:pt x="13" y="80"/>
                </a:lnTo>
                <a:lnTo>
                  <a:pt x="7" y="79"/>
                </a:lnTo>
                <a:lnTo>
                  <a:pt x="5" y="79"/>
                </a:lnTo>
                <a:lnTo>
                  <a:pt x="3" y="78"/>
                </a:lnTo>
                <a:lnTo>
                  <a:pt x="1" y="77"/>
                </a:lnTo>
                <a:lnTo>
                  <a:pt x="0" y="76"/>
                </a:lnTo>
                <a:lnTo>
                  <a:pt x="0" y="74"/>
                </a:lnTo>
                <a:lnTo>
                  <a:pt x="0" y="73"/>
                </a:lnTo>
                <a:lnTo>
                  <a:pt x="1" y="72"/>
                </a:lnTo>
                <a:lnTo>
                  <a:pt x="3" y="70"/>
                </a:lnTo>
                <a:lnTo>
                  <a:pt x="5" y="68"/>
                </a:lnTo>
                <a:lnTo>
                  <a:pt x="7" y="64"/>
                </a:lnTo>
                <a:lnTo>
                  <a:pt x="8" y="61"/>
                </a:lnTo>
                <a:lnTo>
                  <a:pt x="9" y="60"/>
                </a:lnTo>
                <a:lnTo>
                  <a:pt x="10" y="56"/>
                </a:lnTo>
                <a:lnTo>
                  <a:pt x="12" y="56"/>
                </a:lnTo>
                <a:lnTo>
                  <a:pt x="13" y="56"/>
                </a:lnTo>
                <a:lnTo>
                  <a:pt x="18" y="55"/>
                </a:lnTo>
                <a:lnTo>
                  <a:pt x="19" y="49"/>
                </a:lnTo>
                <a:lnTo>
                  <a:pt x="19" y="43"/>
                </a:lnTo>
                <a:lnTo>
                  <a:pt x="21" y="38"/>
                </a:lnTo>
                <a:lnTo>
                  <a:pt x="22" y="34"/>
                </a:lnTo>
                <a:lnTo>
                  <a:pt x="25" y="31"/>
                </a:lnTo>
                <a:lnTo>
                  <a:pt x="26" y="28"/>
                </a:lnTo>
                <a:lnTo>
                  <a:pt x="28" y="26"/>
                </a:lnTo>
                <a:lnTo>
                  <a:pt x="29" y="25"/>
                </a:lnTo>
                <a:lnTo>
                  <a:pt x="32" y="23"/>
                </a:lnTo>
                <a:lnTo>
                  <a:pt x="38" y="20"/>
                </a:lnTo>
                <a:lnTo>
                  <a:pt x="45" y="16"/>
                </a:lnTo>
                <a:lnTo>
                  <a:pt x="53" y="13"/>
                </a:lnTo>
                <a:lnTo>
                  <a:pt x="57" y="11"/>
                </a:lnTo>
                <a:lnTo>
                  <a:pt x="61" y="10"/>
                </a:lnTo>
                <a:lnTo>
                  <a:pt x="88" y="10"/>
                </a:lnTo>
                <a:lnTo>
                  <a:pt x="96" y="6"/>
                </a:lnTo>
                <a:lnTo>
                  <a:pt x="102" y="2"/>
                </a:lnTo>
                <a:lnTo>
                  <a:pt x="105" y="1"/>
                </a:lnTo>
                <a:lnTo>
                  <a:pt x="108" y="0"/>
                </a:lnTo>
                <a:lnTo>
                  <a:pt x="113" y="0"/>
                </a:lnTo>
                <a:lnTo>
                  <a:pt x="116" y="0"/>
                </a:lnTo>
                <a:lnTo>
                  <a:pt x="121" y="0"/>
                </a:lnTo>
                <a:lnTo>
                  <a:pt x="125" y="0"/>
                </a:lnTo>
                <a:lnTo>
                  <a:pt x="129" y="1"/>
                </a:lnTo>
                <a:lnTo>
                  <a:pt x="130" y="2"/>
                </a:lnTo>
                <a:lnTo>
                  <a:pt x="132" y="2"/>
                </a:lnTo>
                <a:lnTo>
                  <a:pt x="130" y="6"/>
                </a:lnTo>
                <a:lnTo>
                  <a:pt x="129" y="7"/>
                </a:lnTo>
                <a:lnTo>
                  <a:pt x="129" y="9"/>
                </a:lnTo>
                <a:lnTo>
                  <a:pt x="127" y="10"/>
                </a:lnTo>
                <a:lnTo>
                  <a:pt x="124" y="13"/>
                </a:lnTo>
                <a:lnTo>
                  <a:pt x="118" y="14"/>
                </a:lnTo>
                <a:lnTo>
                  <a:pt x="111" y="15"/>
                </a:lnTo>
                <a:lnTo>
                  <a:pt x="93" y="20"/>
                </a:lnTo>
                <a:lnTo>
                  <a:pt x="76" y="26"/>
                </a:lnTo>
                <a:lnTo>
                  <a:pt x="69" y="29"/>
                </a:lnTo>
                <a:lnTo>
                  <a:pt x="61" y="33"/>
                </a:lnTo>
                <a:lnTo>
                  <a:pt x="54" y="36"/>
                </a:lnTo>
                <a:lnTo>
                  <a:pt x="51" y="40"/>
                </a:lnTo>
                <a:lnTo>
                  <a:pt x="48" y="42"/>
                </a:lnTo>
                <a:lnTo>
                  <a:pt x="47" y="45"/>
                </a:lnTo>
                <a:lnTo>
                  <a:pt x="45" y="47"/>
                </a:lnTo>
                <a:lnTo>
                  <a:pt x="41" y="52"/>
                </a:lnTo>
                <a:lnTo>
                  <a:pt x="39" y="55"/>
                </a:lnTo>
                <a:lnTo>
                  <a:pt x="37" y="58"/>
                </a:lnTo>
                <a:lnTo>
                  <a:pt x="36" y="60"/>
                </a:lnTo>
                <a:lnTo>
                  <a:pt x="35" y="65"/>
                </a:lnTo>
                <a:lnTo>
                  <a:pt x="36" y="69"/>
                </a:lnTo>
                <a:lnTo>
                  <a:pt x="36" y="73"/>
                </a:lnTo>
                <a:lnTo>
                  <a:pt x="38" y="76"/>
                </a:lnTo>
                <a:lnTo>
                  <a:pt x="39" y="78"/>
                </a:lnTo>
                <a:lnTo>
                  <a:pt x="41" y="80"/>
                </a:lnTo>
                <a:lnTo>
                  <a:pt x="44" y="82"/>
                </a:lnTo>
                <a:lnTo>
                  <a:pt x="48" y="85"/>
                </a:lnTo>
                <a:lnTo>
                  <a:pt x="59" y="90"/>
                </a:lnTo>
                <a:lnTo>
                  <a:pt x="62" y="90"/>
                </a:lnTo>
                <a:lnTo>
                  <a:pt x="65" y="92"/>
                </a:lnTo>
                <a:lnTo>
                  <a:pt x="67" y="94"/>
                </a:lnTo>
                <a:lnTo>
                  <a:pt x="70" y="96"/>
                </a:lnTo>
                <a:lnTo>
                  <a:pt x="65" y="96"/>
                </a:lnTo>
                <a:lnTo>
                  <a:pt x="61" y="96"/>
                </a:lnTo>
                <a:lnTo>
                  <a:pt x="52" y="96"/>
                </a:lnTo>
                <a:lnTo>
                  <a:pt x="44" y="97"/>
                </a:lnTo>
                <a:lnTo>
                  <a:pt x="35" y="97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91" name="Freeform 190">
            <a:extLst>
              <a:ext uri="{FF2B5EF4-FFF2-40B4-BE49-F238E27FC236}">
                <a16:creationId xmlns:a16="http://schemas.microsoft.com/office/drawing/2014/main" id="{0ED4A338-4F11-08C9-76FE-B15FEB97464F}"/>
              </a:ext>
            </a:extLst>
          </p:cNvPr>
          <p:cNvSpPr>
            <a:spLocks/>
          </p:cNvSpPr>
          <p:nvPr/>
        </p:nvSpPr>
        <p:spPr bwMode="auto">
          <a:xfrm>
            <a:off x="7808288" y="2306484"/>
            <a:ext cx="192088" cy="65088"/>
          </a:xfrm>
          <a:custGeom>
            <a:avLst/>
            <a:gdLst>
              <a:gd name="T0" fmla="*/ 90 w 95"/>
              <a:gd name="T1" fmla="*/ 31 h 35"/>
              <a:gd name="T2" fmla="*/ 83 w 95"/>
              <a:gd name="T3" fmla="*/ 31 h 35"/>
              <a:gd name="T4" fmla="*/ 77 w 95"/>
              <a:gd name="T5" fmla="*/ 30 h 35"/>
              <a:gd name="T6" fmla="*/ 72 w 95"/>
              <a:gd name="T7" fmla="*/ 30 h 35"/>
              <a:gd name="T8" fmla="*/ 69 w 95"/>
              <a:gd name="T9" fmla="*/ 33 h 35"/>
              <a:gd name="T10" fmla="*/ 63 w 95"/>
              <a:gd name="T11" fmla="*/ 34 h 35"/>
              <a:gd name="T12" fmla="*/ 50 w 95"/>
              <a:gd name="T13" fmla="*/ 31 h 35"/>
              <a:gd name="T14" fmla="*/ 36 w 95"/>
              <a:gd name="T15" fmla="*/ 26 h 35"/>
              <a:gd name="T16" fmla="*/ 31 w 95"/>
              <a:gd name="T17" fmla="*/ 20 h 35"/>
              <a:gd name="T18" fmla="*/ 30 w 95"/>
              <a:gd name="T19" fmla="*/ 15 h 35"/>
              <a:gd name="T20" fmla="*/ 27 w 95"/>
              <a:gd name="T21" fmla="*/ 13 h 35"/>
              <a:gd name="T22" fmla="*/ 15 w 95"/>
              <a:gd name="T23" fmla="*/ 12 h 35"/>
              <a:gd name="T24" fmla="*/ 6 w 95"/>
              <a:gd name="T25" fmla="*/ 13 h 35"/>
              <a:gd name="T26" fmla="*/ 1 w 95"/>
              <a:gd name="T27" fmla="*/ 12 h 35"/>
              <a:gd name="T28" fmla="*/ 0 w 95"/>
              <a:gd name="T29" fmla="*/ 9 h 35"/>
              <a:gd name="T30" fmla="*/ 0 w 95"/>
              <a:gd name="T31" fmla="*/ 5 h 35"/>
              <a:gd name="T32" fmla="*/ 1 w 95"/>
              <a:gd name="T33" fmla="*/ 3 h 35"/>
              <a:gd name="T34" fmla="*/ 5 w 95"/>
              <a:gd name="T35" fmla="*/ 1 h 35"/>
              <a:gd name="T36" fmla="*/ 15 w 95"/>
              <a:gd name="T37" fmla="*/ 0 h 35"/>
              <a:gd name="T38" fmla="*/ 25 w 95"/>
              <a:gd name="T39" fmla="*/ 0 h 35"/>
              <a:gd name="T40" fmla="*/ 33 w 95"/>
              <a:gd name="T41" fmla="*/ 1 h 35"/>
              <a:gd name="T42" fmla="*/ 41 w 95"/>
              <a:gd name="T43" fmla="*/ 5 h 35"/>
              <a:gd name="T44" fmla="*/ 47 w 95"/>
              <a:gd name="T45" fmla="*/ 10 h 35"/>
              <a:gd name="T46" fmla="*/ 41 w 95"/>
              <a:gd name="T47" fmla="*/ 14 h 35"/>
              <a:gd name="T48" fmla="*/ 52 w 95"/>
              <a:gd name="T49" fmla="*/ 15 h 35"/>
              <a:gd name="T50" fmla="*/ 59 w 95"/>
              <a:gd name="T51" fmla="*/ 18 h 35"/>
              <a:gd name="T52" fmla="*/ 63 w 95"/>
              <a:gd name="T53" fmla="*/ 18 h 35"/>
              <a:gd name="T54" fmla="*/ 66 w 95"/>
              <a:gd name="T55" fmla="*/ 15 h 35"/>
              <a:gd name="T56" fmla="*/ 73 w 95"/>
              <a:gd name="T57" fmla="*/ 15 h 35"/>
              <a:gd name="T58" fmla="*/ 79 w 95"/>
              <a:gd name="T59" fmla="*/ 18 h 35"/>
              <a:gd name="T60" fmla="*/ 87 w 95"/>
              <a:gd name="T61" fmla="*/ 26 h 35"/>
              <a:gd name="T62" fmla="*/ 94 w 95"/>
              <a:gd name="T63" fmla="*/ 29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95" h="35">
                <a:moveTo>
                  <a:pt x="94" y="29"/>
                </a:moveTo>
                <a:lnTo>
                  <a:pt x="90" y="31"/>
                </a:lnTo>
                <a:lnTo>
                  <a:pt x="87" y="31"/>
                </a:lnTo>
                <a:lnTo>
                  <a:pt x="83" y="31"/>
                </a:lnTo>
                <a:lnTo>
                  <a:pt x="82" y="31"/>
                </a:lnTo>
                <a:lnTo>
                  <a:pt x="77" y="30"/>
                </a:lnTo>
                <a:lnTo>
                  <a:pt x="73" y="29"/>
                </a:lnTo>
                <a:lnTo>
                  <a:pt x="72" y="30"/>
                </a:lnTo>
                <a:lnTo>
                  <a:pt x="71" y="31"/>
                </a:lnTo>
                <a:lnTo>
                  <a:pt x="69" y="33"/>
                </a:lnTo>
                <a:lnTo>
                  <a:pt x="67" y="34"/>
                </a:lnTo>
                <a:lnTo>
                  <a:pt x="63" y="34"/>
                </a:lnTo>
                <a:lnTo>
                  <a:pt x="57" y="33"/>
                </a:lnTo>
                <a:lnTo>
                  <a:pt x="50" y="31"/>
                </a:lnTo>
                <a:lnTo>
                  <a:pt x="43" y="28"/>
                </a:lnTo>
                <a:lnTo>
                  <a:pt x="36" y="26"/>
                </a:lnTo>
                <a:lnTo>
                  <a:pt x="33" y="22"/>
                </a:lnTo>
                <a:lnTo>
                  <a:pt x="31" y="20"/>
                </a:lnTo>
                <a:lnTo>
                  <a:pt x="30" y="18"/>
                </a:lnTo>
                <a:lnTo>
                  <a:pt x="30" y="15"/>
                </a:lnTo>
                <a:lnTo>
                  <a:pt x="31" y="13"/>
                </a:lnTo>
                <a:lnTo>
                  <a:pt x="27" y="13"/>
                </a:lnTo>
                <a:lnTo>
                  <a:pt x="23" y="13"/>
                </a:lnTo>
                <a:lnTo>
                  <a:pt x="15" y="12"/>
                </a:lnTo>
                <a:lnTo>
                  <a:pt x="11" y="13"/>
                </a:lnTo>
                <a:lnTo>
                  <a:pt x="6" y="13"/>
                </a:lnTo>
                <a:lnTo>
                  <a:pt x="4" y="13"/>
                </a:lnTo>
                <a:lnTo>
                  <a:pt x="1" y="12"/>
                </a:lnTo>
                <a:lnTo>
                  <a:pt x="0" y="11"/>
                </a:lnTo>
                <a:lnTo>
                  <a:pt x="0" y="9"/>
                </a:lnTo>
                <a:lnTo>
                  <a:pt x="0" y="6"/>
                </a:lnTo>
                <a:lnTo>
                  <a:pt x="0" y="5"/>
                </a:lnTo>
                <a:lnTo>
                  <a:pt x="0" y="4"/>
                </a:lnTo>
                <a:lnTo>
                  <a:pt x="1" y="3"/>
                </a:lnTo>
                <a:lnTo>
                  <a:pt x="2" y="2"/>
                </a:lnTo>
                <a:lnTo>
                  <a:pt x="5" y="1"/>
                </a:lnTo>
                <a:lnTo>
                  <a:pt x="9" y="0"/>
                </a:lnTo>
                <a:lnTo>
                  <a:pt x="15" y="0"/>
                </a:lnTo>
                <a:lnTo>
                  <a:pt x="20" y="0"/>
                </a:lnTo>
                <a:lnTo>
                  <a:pt x="25" y="0"/>
                </a:lnTo>
                <a:lnTo>
                  <a:pt x="29" y="0"/>
                </a:lnTo>
                <a:lnTo>
                  <a:pt x="33" y="1"/>
                </a:lnTo>
                <a:lnTo>
                  <a:pt x="37" y="3"/>
                </a:lnTo>
                <a:lnTo>
                  <a:pt x="41" y="5"/>
                </a:lnTo>
                <a:lnTo>
                  <a:pt x="45" y="7"/>
                </a:lnTo>
                <a:lnTo>
                  <a:pt x="47" y="10"/>
                </a:lnTo>
                <a:lnTo>
                  <a:pt x="49" y="14"/>
                </a:lnTo>
                <a:lnTo>
                  <a:pt x="41" y="14"/>
                </a:lnTo>
                <a:lnTo>
                  <a:pt x="47" y="14"/>
                </a:lnTo>
                <a:lnTo>
                  <a:pt x="52" y="15"/>
                </a:lnTo>
                <a:lnTo>
                  <a:pt x="57" y="17"/>
                </a:lnTo>
                <a:lnTo>
                  <a:pt x="59" y="18"/>
                </a:lnTo>
                <a:lnTo>
                  <a:pt x="60" y="19"/>
                </a:lnTo>
                <a:lnTo>
                  <a:pt x="63" y="18"/>
                </a:lnTo>
                <a:lnTo>
                  <a:pt x="64" y="17"/>
                </a:lnTo>
                <a:lnTo>
                  <a:pt x="66" y="15"/>
                </a:lnTo>
                <a:lnTo>
                  <a:pt x="68" y="15"/>
                </a:lnTo>
                <a:lnTo>
                  <a:pt x="73" y="15"/>
                </a:lnTo>
                <a:lnTo>
                  <a:pt x="76" y="17"/>
                </a:lnTo>
                <a:lnTo>
                  <a:pt x="79" y="18"/>
                </a:lnTo>
                <a:lnTo>
                  <a:pt x="82" y="21"/>
                </a:lnTo>
                <a:lnTo>
                  <a:pt x="87" y="26"/>
                </a:lnTo>
                <a:lnTo>
                  <a:pt x="90" y="31"/>
                </a:lnTo>
                <a:lnTo>
                  <a:pt x="94" y="29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92" name="Freeform 191">
            <a:extLst>
              <a:ext uri="{FF2B5EF4-FFF2-40B4-BE49-F238E27FC236}">
                <a16:creationId xmlns:a16="http://schemas.microsoft.com/office/drawing/2014/main" id="{6E3B779C-A938-97E4-C466-B0C6F048A2B0}"/>
              </a:ext>
            </a:extLst>
          </p:cNvPr>
          <p:cNvSpPr>
            <a:spLocks/>
          </p:cNvSpPr>
          <p:nvPr/>
        </p:nvSpPr>
        <p:spPr bwMode="auto">
          <a:xfrm>
            <a:off x="8016250" y="2352521"/>
            <a:ext cx="98425" cy="42863"/>
          </a:xfrm>
          <a:custGeom>
            <a:avLst/>
            <a:gdLst>
              <a:gd name="T0" fmla="*/ 5 w 49"/>
              <a:gd name="T1" fmla="*/ 22 h 23"/>
              <a:gd name="T2" fmla="*/ 3 w 49"/>
              <a:gd name="T3" fmla="*/ 21 h 23"/>
              <a:gd name="T4" fmla="*/ 1 w 49"/>
              <a:gd name="T5" fmla="*/ 19 h 23"/>
              <a:gd name="T6" fmla="*/ 0 w 49"/>
              <a:gd name="T7" fmla="*/ 16 h 23"/>
              <a:gd name="T8" fmla="*/ 0 w 49"/>
              <a:gd name="T9" fmla="*/ 5 h 23"/>
              <a:gd name="T10" fmla="*/ 1 w 49"/>
              <a:gd name="T11" fmla="*/ 4 h 23"/>
              <a:gd name="T12" fmla="*/ 3 w 49"/>
              <a:gd name="T13" fmla="*/ 3 h 23"/>
              <a:gd name="T14" fmla="*/ 4 w 49"/>
              <a:gd name="T15" fmla="*/ 2 h 23"/>
              <a:gd name="T16" fmla="*/ 5 w 49"/>
              <a:gd name="T17" fmla="*/ 0 h 23"/>
              <a:gd name="T18" fmla="*/ 12 w 49"/>
              <a:gd name="T19" fmla="*/ 0 h 23"/>
              <a:gd name="T20" fmla="*/ 13 w 49"/>
              <a:gd name="T21" fmla="*/ 0 h 23"/>
              <a:gd name="T22" fmla="*/ 15 w 49"/>
              <a:gd name="T23" fmla="*/ 2 h 23"/>
              <a:gd name="T24" fmla="*/ 20 w 49"/>
              <a:gd name="T25" fmla="*/ 3 h 23"/>
              <a:gd name="T26" fmla="*/ 24 w 49"/>
              <a:gd name="T27" fmla="*/ 5 h 23"/>
              <a:gd name="T28" fmla="*/ 29 w 49"/>
              <a:gd name="T29" fmla="*/ 6 h 23"/>
              <a:gd name="T30" fmla="*/ 40 w 49"/>
              <a:gd name="T31" fmla="*/ 8 h 23"/>
              <a:gd name="T32" fmla="*/ 44 w 49"/>
              <a:gd name="T33" fmla="*/ 8 h 23"/>
              <a:gd name="T34" fmla="*/ 48 w 49"/>
              <a:gd name="T35" fmla="*/ 8 h 23"/>
              <a:gd name="T36" fmla="*/ 47 w 49"/>
              <a:gd name="T37" fmla="*/ 11 h 23"/>
              <a:gd name="T38" fmla="*/ 46 w 49"/>
              <a:gd name="T39" fmla="*/ 13 h 23"/>
              <a:gd name="T40" fmla="*/ 45 w 49"/>
              <a:gd name="T41" fmla="*/ 15 h 23"/>
              <a:gd name="T42" fmla="*/ 43 w 49"/>
              <a:gd name="T43" fmla="*/ 16 h 23"/>
              <a:gd name="T44" fmla="*/ 40 w 49"/>
              <a:gd name="T45" fmla="*/ 16 h 23"/>
              <a:gd name="T46" fmla="*/ 36 w 49"/>
              <a:gd name="T47" fmla="*/ 16 h 23"/>
              <a:gd name="T48" fmla="*/ 30 w 49"/>
              <a:gd name="T49" fmla="*/ 16 h 23"/>
              <a:gd name="T50" fmla="*/ 25 w 49"/>
              <a:gd name="T51" fmla="*/ 17 h 23"/>
              <a:gd name="T52" fmla="*/ 22 w 49"/>
              <a:gd name="T53" fmla="*/ 19 h 23"/>
              <a:gd name="T54" fmla="*/ 18 w 49"/>
              <a:gd name="T55" fmla="*/ 19 h 23"/>
              <a:gd name="T56" fmla="*/ 11 w 49"/>
              <a:gd name="T57" fmla="*/ 21 h 23"/>
              <a:gd name="T58" fmla="*/ 9 w 49"/>
              <a:gd name="T59" fmla="*/ 22 h 23"/>
              <a:gd name="T60" fmla="*/ 5 w 49"/>
              <a:gd name="T61" fmla="*/ 22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49" h="23">
                <a:moveTo>
                  <a:pt x="5" y="22"/>
                </a:moveTo>
                <a:lnTo>
                  <a:pt x="3" y="21"/>
                </a:lnTo>
                <a:lnTo>
                  <a:pt x="1" y="19"/>
                </a:lnTo>
                <a:lnTo>
                  <a:pt x="0" y="16"/>
                </a:lnTo>
                <a:lnTo>
                  <a:pt x="0" y="5"/>
                </a:lnTo>
                <a:lnTo>
                  <a:pt x="1" y="4"/>
                </a:lnTo>
                <a:lnTo>
                  <a:pt x="3" y="3"/>
                </a:lnTo>
                <a:lnTo>
                  <a:pt x="4" y="2"/>
                </a:lnTo>
                <a:lnTo>
                  <a:pt x="5" y="0"/>
                </a:lnTo>
                <a:lnTo>
                  <a:pt x="12" y="0"/>
                </a:lnTo>
                <a:lnTo>
                  <a:pt x="13" y="0"/>
                </a:lnTo>
                <a:lnTo>
                  <a:pt x="15" y="2"/>
                </a:lnTo>
                <a:lnTo>
                  <a:pt x="20" y="3"/>
                </a:lnTo>
                <a:lnTo>
                  <a:pt x="24" y="5"/>
                </a:lnTo>
                <a:lnTo>
                  <a:pt x="29" y="6"/>
                </a:lnTo>
                <a:lnTo>
                  <a:pt x="40" y="8"/>
                </a:lnTo>
                <a:lnTo>
                  <a:pt x="44" y="8"/>
                </a:lnTo>
                <a:lnTo>
                  <a:pt x="48" y="8"/>
                </a:lnTo>
                <a:lnTo>
                  <a:pt x="47" y="11"/>
                </a:lnTo>
                <a:lnTo>
                  <a:pt x="46" y="13"/>
                </a:lnTo>
                <a:lnTo>
                  <a:pt x="45" y="15"/>
                </a:lnTo>
                <a:lnTo>
                  <a:pt x="43" y="16"/>
                </a:lnTo>
                <a:lnTo>
                  <a:pt x="40" y="16"/>
                </a:lnTo>
                <a:lnTo>
                  <a:pt x="36" y="16"/>
                </a:lnTo>
                <a:lnTo>
                  <a:pt x="30" y="16"/>
                </a:lnTo>
                <a:lnTo>
                  <a:pt x="25" y="17"/>
                </a:lnTo>
                <a:lnTo>
                  <a:pt x="22" y="19"/>
                </a:lnTo>
                <a:lnTo>
                  <a:pt x="18" y="19"/>
                </a:lnTo>
                <a:lnTo>
                  <a:pt x="11" y="21"/>
                </a:lnTo>
                <a:lnTo>
                  <a:pt x="9" y="22"/>
                </a:lnTo>
                <a:lnTo>
                  <a:pt x="5" y="22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93" name="Freeform 192">
            <a:extLst>
              <a:ext uri="{FF2B5EF4-FFF2-40B4-BE49-F238E27FC236}">
                <a16:creationId xmlns:a16="http://schemas.microsoft.com/office/drawing/2014/main" id="{E7E057C9-DEA2-A56F-CCC4-2901FC9D187D}"/>
              </a:ext>
            </a:extLst>
          </p:cNvPr>
          <p:cNvSpPr>
            <a:spLocks/>
          </p:cNvSpPr>
          <p:nvPr/>
        </p:nvSpPr>
        <p:spPr bwMode="auto">
          <a:xfrm>
            <a:off x="8825875" y="2431896"/>
            <a:ext cx="171450" cy="41275"/>
          </a:xfrm>
          <a:custGeom>
            <a:avLst/>
            <a:gdLst>
              <a:gd name="T0" fmla="*/ 67 w 85"/>
              <a:gd name="T1" fmla="*/ 14 h 21"/>
              <a:gd name="T2" fmla="*/ 67 w 85"/>
              <a:gd name="T3" fmla="*/ 17 h 21"/>
              <a:gd name="T4" fmla="*/ 67 w 85"/>
              <a:gd name="T5" fmla="*/ 20 h 21"/>
              <a:gd name="T6" fmla="*/ 36 w 85"/>
              <a:gd name="T7" fmla="*/ 20 h 21"/>
              <a:gd name="T8" fmla="*/ 25 w 85"/>
              <a:gd name="T9" fmla="*/ 20 h 21"/>
              <a:gd name="T10" fmla="*/ 13 w 85"/>
              <a:gd name="T11" fmla="*/ 18 h 21"/>
              <a:gd name="T12" fmla="*/ 7 w 85"/>
              <a:gd name="T13" fmla="*/ 16 h 21"/>
              <a:gd name="T14" fmla="*/ 3 w 85"/>
              <a:gd name="T15" fmla="*/ 14 h 21"/>
              <a:gd name="T16" fmla="*/ 2 w 85"/>
              <a:gd name="T17" fmla="*/ 13 h 21"/>
              <a:gd name="T18" fmla="*/ 0 w 85"/>
              <a:gd name="T19" fmla="*/ 10 h 21"/>
              <a:gd name="T20" fmla="*/ 0 w 85"/>
              <a:gd name="T21" fmla="*/ 8 h 21"/>
              <a:gd name="T22" fmla="*/ 0 w 85"/>
              <a:gd name="T23" fmla="*/ 5 h 21"/>
              <a:gd name="T24" fmla="*/ 0 w 85"/>
              <a:gd name="T25" fmla="*/ 4 h 21"/>
              <a:gd name="T26" fmla="*/ 0 w 85"/>
              <a:gd name="T27" fmla="*/ 3 h 21"/>
              <a:gd name="T28" fmla="*/ 2 w 85"/>
              <a:gd name="T29" fmla="*/ 0 h 21"/>
              <a:gd name="T30" fmla="*/ 6 w 85"/>
              <a:gd name="T31" fmla="*/ 0 h 21"/>
              <a:gd name="T32" fmla="*/ 7 w 85"/>
              <a:gd name="T33" fmla="*/ 0 h 21"/>
              <a:gd name="T34" fmla="*/ 10 w 85"/>
              <a:gd name="T35" fmla="*/ 0 h 21"/>
              <a:gd name="T36" fmla="*/ 13 w 85"/>
              <a:gd name="T37" fmla="*/ 0 h 21"/>
              <a:gd name="T38" fmla="*/ 18 w 85"/>
              <a:gd name="T39" fmla="*/ 3 h 21"/>
              <a:gd name="T40" fmla="*/ 23 w 85"/>
              <a:gd name="T41" fmla="*/ 4 h 21"/>
              <a:gd name="T42" fmla="*/ 25 w 85"/>
              <a:gd name="T43" fmla="*/ 5 h 21"/>
              <a:gd name="T44" fmla="*/ 28 w 85"/>
              <a:gd name="T45" fmla="*/ 5 h 21"/>
              <a:gd name="T46" fmla="*/ 30 w 85"/>
              <a:gd name="T47" fmla="*/ 5 h 21"/>
              <a:gd name="T48" fmla="*/ 31 w 85"/>
              <a:gd name="T49" fmla="*/ 4 h 21"/>
              <a:gd name="T50" fmla="*/ 33 w 85"/>
              <a:gd name="T51" fmla="*/ 3 h 21"/>
              <a:gd name="T52" fmla="*/ 34 w 85"/>
              <a:gd name="T53" fmla="*/ 1 h 21"/>
              <a:gd name="T54" fmla="*/ 36 w 85"/>
              <a:gd name="T55" fmla="*/ 1 h 21"/>
              <a:gd name="T56" fmla="*/ 37 w 85"/>
              <a:gd name="T57" fmla="*/ 1 h 21"/>
              <a:gd name="T58" fmla="*/ 49 w 85"/>
              <a:gd name="T59" fmla="*/ 1 h 21"/>
              <a:gd name="T60" fmla="*/ 55 w 85"/>
              <a:gd name="T61" fmla="*/ 3 h 21"/>
              <a:gd name="T62" fmla="*/ 63 w 85"/>
              <a:gd name="T63" fmla="*/ 3 h 21"/>
              <a:gd name="T64" fmla="*/ 69 w 85"/>
              <a:gd name="T65" fmla="*/ 4 h 21"/>
              <a:gd name="T66" fmla="*/ 76 w 85"/>
              <a:gd name="T67" fmla="*/ 7 h 21"/>
              <a:gd name="T68" fmla="*/ 80 w 85"/>
              <a:gd name="T69" fmla="*/ 10 h 21"/>
              <a:gd name="T70" fmla="*/ 82 w 85"/>
              <a:gd name="T71" fmla="*/ 12 h 21"/>
              <a:gd name="T72" fmla="*/ 84 w 85"/>
              <a:gd name="T73" fmla="*/ 14 h 21"/>
              <a:gd name="T74" fmla="*/ 78 w 85"/>
              <a:gd name="T75" fmla="*/ 16 h 21"/>
              <a:gd name="T76" fmla="*/ 73 w 85"/>
              <a:gd name="T77" fmla="*/ 17 h 21"/>
              <a:gd name="T78" fmla="*/ 72 w 85"/>
              <a:gd name="T79" fmla="*/ 17 h 21"/>
              <a:gd name="T80" fmla="*/ 70 w 85"/>
              <a:gd name="T81" fmla="*/ 17 h 21"/>
              <a:gd name="T82" fmla="*/ 68 w 85"/>
              <a:gd name="T83" fmla="*/ 15 h 21"/>
              <a:gd name="T84" fmla="*/ 67 w 85"/>
              <a:gd name="T85" fmla="*/ 14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85" h="21">
                <a:moveTo>
                  <a:pt x="67" y="14"/>
                </a:moveTo>
                <a:lnTo>
                  <a:pt x="67" y="17"/>
                </a:lnTo>
                <a:lnTo>
                  <a:pt x="67" y="20"/>
                </a:lnTo>
                <a:lnTo>
                  <a:pt x="36" y="20"/>
                </a:lnTo>
                <a:lnTo>
                  <a:pt x="25" y="20"/>
                </a:lnTo>
                <a:lnTo>
                  <a:pt x="13" y="18"/>
                </a:lnTo>
                <a:lnTo>
                  <a:pt x="7" y="16"/>
                </a:lnTo>
                <a:lnTo>
                  <a:pt x="3" y="14"/>
                </a:lnTo>
                <a:lnTo>
                  <a:pt x="2" y="13"/>
                </a:lnTo>
                <a:lnTo>
                  <a:pt x="0" y="10"/>
                </a:lnTo>
                <a:lnTo>
                  <a:pt x="0" y="8"/>
                </a:lnTo>
                <a:lnTo>
                  <a:pt x="0" y="5"/>
                </a:lnTo>
                <a:lnTo>
                  <a:pt x="0" y="4"/>
                </a:lnTo>
                <a:lnTo>
                  <a:pt x="0" y="3"/>
                </a:lnTo>
                <a:lnTo>
                  <a:pt x="2" y="0"/>
                </a:lnTo>
                <a:lnTo>
                  <a:pt x="6" y="0"/>
                </a:lnTo>
                <a:lnTo>
                  <a:pt x="7" y="0"/>
                </a:lnTo>
                <a:lnTo>
                  <a:pt x="10" y="0"/>
                </a:lnTo>
                <a:lnTo>
                  <a:pt x="13" y="0"/>
                </a:lnTo>
                <a:lnTo>
                  <a:pt x="18" y="3"/>
                </a:lnTo>
                <a:lnTo>
                  <a:pt x="23" y="4"/>
                </a:lnTo>
                <a:lnTo>
                  <a:pt x="25" y="5"/>
                </a:lnTo>
                <a:lnTo>
                  <a:pt x="28" y="5"/>
                </a:lnTo>
                <a:lnTo>
                  <a:pt x="30" y="5"/>
                </a:lnTo>
                <a:lnTo>
                  <a:pt x="31" y="4"/>
                </a:lnTo>
                <a:lnTo>
                  <a:pt x="33" y="3"/>
                </a:lnTo>
                <a:lnTo>
                  <a:pt x="34" y="1"/>
                </a:lnTo>
                <a:lnTo>
                  <a:pt x="36" y="1"/>
                </a:lnTo>
                <a:lnTo>
                  <a:pt x="37" y="1"/>
                </a:lnTo>
                <a:lnTo>
                  <a:pt x="49" y="1"/>
                </a:lnTo>
                <a:lnTo>
                  <a:pt x="55" y="3"/>
                </a:lnTo>
                <a:lnTo>
                  <a:pt x="63" y="3"/>
                </a:lnTo>
                <a:lnTo>
                  <a:pt x="69" y="4"/>
                </a:lnTo>
                <a:lnTo>
                  <a:pt x="76" y="7"/>
                </a:lnTo>
                <a:lnTo>
                  <a:pt x="80" y="10"/>
                </a:lnTo>
                <a:lnTo>
                  <a:pt x="82" y="12"/>
                </a:lnTo>
                <a:lnTo>
                  <a:pt x="84" y="14"/>
                </a:lnTo>
                <a:lnTo>
                  <a:pt x="78" y="16"/>
                </a:lnTo>
                <a:lnTo>
                  <a:pt x="73" y="17"/>
                </a:lnTo>
                <a:lnTo>
                  <a:pt x="72" y="17"/>
                </a:lnTo>
                <a:lnTo>
                  <a:pt x="70" y="17"/>
                </a:lnTo>
                <a:lnTo>
                  <a:pt x="68" y="15"/>
                </a:lnTo>
                <a:lnTo>
                  <a:pt x="67" y="14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94" name="Freeform 193">
            <a:extLst>
              <a:ext uri="{FF2B5EF4-FFF2-40B4-BE49-F238E27FC236}">
                <a16:creationId xmlns:a16="http://schemas.microsoft.com/office/drawing/2014/main" id="{7DF6E491-5230-0B48-B2B6-314CBB1FE909}"/>
              </a:ext>
            </a:extLst>
          </p:cNvPr>
          <p:cNvSpPr>
            <a:spLocks/>
          </p:cNvSpPr>
          <p:nvPr/>
        </p:nvSpPr>
        <p:spPr bwMode="auto">
          <a:xfrm>
            <a:off x="9022725" y="2446184"/>
            <a:ext cx="95250" cy="31750"/>
          </a:xfrm>
          <a:custGeom>
            <a:avLst/>
            <a:gdLst>
              <a:gd name="T0" fmla="*/ 39 w 48"/>
              <a:gd name="T1" fmla="*/ 16 h 17"/>
              <a:gd name="T2" fmla="*/ 34 w 48"/>
              <a:gd name="T3" fmla="*/ 16 h 17"/>
              <a:gd name="T4" fmla="*/ 29 w 48"/>
              <a:gd name="T5" fmla="*/ 15 h 17"/>
              <a:gd name="T6" fmla="*/ 16 w 48"/>
              <a:gd name="T7" fmla="*/ 12 h 17"/>
              <a:gd name="T8" fmla="*/ 11 w 48"/>
              <a:gd name="T9" fmla="*/ 10 h 17"/>
              <a:gd name="T10" fmla="*/ 5 w 48"/>
              <a:gd name="T11" fmla="*/ 7 h 17"/>
              <a:gd name="T12" fmla="*/ 3 w 48"/>
              <a:gd name="T13" fmla="*/ 5 h 17"/>
              <a:gd name="T14" fmla="*/ 2 w 48"/>
              <a:gd name="T15" fmla="*/ 3 h 17"/>
              <a:gd name="T16" fmla="*/ 0 w 48"/>
              <a:gd name="T17" fmla="*/ 1 h 17"/>
              <a:gd name="T18" fmla="*/ 0 w 48"/>
              <a:gd name="T19" fmla="*/ 0 h 17"/>
              <a:gd name="T20" fmla="*/ 6 w 48"/>
              <a:gd name="T21" fmla="*/ 0 h 17"/>
              <a:gd name="T22" fmla="*/ 9 w 48"/>
              <a:gd name="T23" fmla="*/ 1 h 17"/>
              <a:gd name="T24" fmla="*/ 12 w 48"/>
              <a:gd name="T25" fmla="*/ 2 h 17"/>
              <a:gd name="T26" fmla="*/ 17 w 48"/>
              <a:gd name="T27" fmla="*/ 3 h 17"/>
              <a:gd name="T28" fmla="*/ 27 w 48"/>
              <a:gd name="T29" fmla="*/ 4 h 17"/>
              <a:gd name="T30" fmla="*/ 37 w 48"/>
              <a:gd name="T31" fmla="*/ 5 h 17"/>
              <a:gd name="T32" fmla="*/ 42 w 48"/>
              <a:gd name="T33" fmla="*/ 6 h 17"/>
              <a:gd name="T34" fmla="*/ 47 w 48"/>
              <a:gd name="T35" fmla="*/ 9 h 17"/>
              <a:gd name="T36" fmla="*/ 44 w 48"/>
              <a:gd name="T37" fmla="*/ 12 h 17"/>
              <a:gd name="T38" fmla="*/ 43 w 48"/>
              <a:gd name="T39" fmla="*/ 14 h 17"/>
              <a:gd name="T40" fmla="*/ 41 w 48"/>
              <a:gd name="T41" fmla="*/ 16 h 17"/>
              <a:gd name="T42" fmla="*/ 39 w 48"/>
              <a:gd name="T43" fmla="*/ 16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8" h="17">
                <a:moveTo>
                  <a:pt x="39" y="16"/>
                </a:moveTo>
                <a:lnTo>
                  <a:pt x="34" y="16"/>
                </a:lnTo>
                <a:lnTo>
                  <a:pt x="29" y="15"/>
                </a:lnTo>
                <a:lnTo>
                  <a:pt x="16" y="12"/>
                </a:lnTo>
                <a:lnTo>
                  <a:pt x="11" y="10"/>
                </a:lnTo>
                <a:lnTo>
                  <a:pt x="5" y="7"/>
                </a:lnTo>
                <a:lnTo>
                  <a:pt x="3" y="5"/>
                </a:lnTo>
                <a:lnTo>
                  <a:pt x="2" y="3"/>
                </a:lnTo>
                <a:lnTo>
                  <a:pt x="0" y="1"/>
                </a:lnTo>
                <a:lnTo>
                  <a:pt x="0" y="0"/>
                </a:lnTo>
                <a:lnTo>
                  <a:pt x="6" y="0"/>
                </a:lnTo>
                <a:lnTo>
                  <a:pt x="9" y="1"/>
                </a:lnTo>
                <a:lnTo>
                  <a:pt x="12" y="2"/>
                </a:lnTo>
                <a:lnTo>
                  <a:pt x="17" y="3"/>
                </a:lnTo>
                <a:lnTo>
                  <a:pt x="27" y="4"/>
                </a:lnTo>
                <a:lnTo>
                  <a:pt x="37" y="5"/>
                </a:lnTo>
                <a:lnTo>
                  <a:pt x="42" y="6"/>
                </a:lnTo>
                <a:lnTo>
                  <a:pt x="47" y="9"/>
                </a:lnTo>
                <a:lnTo>
                  <a:pt x="44" y="12"/>
                </a:lnTo>
                <a:lnTo>
                  <a:pt x="43" y="14"/>
                </a:lnTo>
                <a:lnTo>
                  <a:pt x="41" y="16"/>
                </a:lnTo>
                <a:lnTo>
                  <a:pt x="39" y="16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95" name="Freeform 194">
            <a:extLst>
              <a:ext uri="{FF2B5EF4-FFF2-40B4-BE49-F238E27FC236}">
                <a16:creationId xmlns:a16="http://schemas.microsoft.com/office/drawing/2014/main" id="{57B4FC14-BB12-BCA3-DF80-70BC53B2B2DA}"/>
              </a:ext>
            </a:extLst>
          </p:cNvPr>
          <p:cNvSpPr>
            <a:spLocks/>
          </p:cNvSpPr>
          <p:nvPr/>
        </p:nvSpPr>
        <p:spPr bwMode="auto">
          <a:xfrm>
            <a:off x="9867275" y="2562071"/>
            <a:ext cx="73025" cy="30163"/>
          </a:xfrm>
          <a:custGeom>
            <a:avLst/>
            <a:gdLst>
              <a:gd name="T0" fmla="*/ 17 w 36"/>
              <a:gd name="T1" fmla="*/ 12 h 17"/>
              <a:gd name="T2" fmla="*/ 14 w 36"/>
              <a:gd name="T3" fmla="*/ 12 h 17"/>
              <a:gd name="T4" fmla="*/ 12 w 36"/>
              <a:gd name="T5" fmla="*/ 13 h 17"/>
              <a:gd name="T6" fmla="*/ 10 w 36"/>
              <a:gd name="T7" fmla="*/ 16 h 17"/>
              <a:gd name="T8" fmla="*/ 8 w 36"/>
              <a:gd name="T9" fmla="*/ 16 h 17"/>
              <a:gd name="T10" fmla="*/ 7 w 36"/>
              <a:gd name="T11" fmla="*/ 16 h 17"/>
              <a:gd name="T12" fmla="*/ 4 w 36"/>
              <a:gd name="T13" fmla="*/ 14 h 17"/>
              <a:gd name="T14" fmla="*/ 3 w 36"/>
              <a:gd name="T15" fmla="*/ 14 h 17"/>
              <a:gd name="T16" fmla="*/ 2 w 36"/>
              <a:gd name="T17" fmla="*/ 13 h 17"/>
              <a:gd name="T18" fmla="*/ 1 w 36"/>
              <a:gd name="T19" fmla="*/ 11 h 17"/>
              <a:gd name="T20" fmla="*/ 0 w 36"/>
              <a:gd name="T21" fmla="*/ 8 h 17"/>
              <a:gd name="T22" fmla="*/ 1 w 36"/>
              <a:gd name="T23" fmla="*/ 7 h 17"/>
              <a:gd name="T24" fmla="*/ 2 w 36"/>
              <a:gd name="T25" fmla="*/ 6 h 17"/>
              <a:gd name="T26" fmla="*/ 7 w 36"/>
              <a:gd name="T27" fmla="*/ 3 h 17"/>
              <a:gd name="T28" fmla="*/ 11 w 36"/>
              <a:gd name="T29" fmla="*/ 1 h 17"/>
              <a:gd name="T30" fmla="*/ 14 w 36"/>
              <a:gd name="T31" fmla="*/ 0 h 17"/>
              <a:gd name="T32" fmla="*/ 17 w 36"/>
              <a:gd name="T33" fmla="*/ 1 h 17"/>
              <a:gd name="T34" fmla="*/ 20 w 36"/>
              <a:gd name="T35" fmla="*/ 2 h 17"/>
              <a:gd name="T36" fmla="*/ 25 w 36"/>
              <a:gd name="T37" fmla="*/ 4 h 17"/>
              <a:gd name="T38" fmla="*/ 31 w 36"/>
              <a:gd name="T39" fmla="*/ 8 h 17"/>
              <a:gd name="T40" fmla="*/ 35 w 36"/>
              <a:gd name="T41" fmla="*/ 11 h 17"/>
              <a:gd name="T42" fmla="*/ 29 w 36"/>
              <a:gd name="T43" fmla="*/ 12 h 17"/>
              <a:gd name="T44" fmla="*/ 25 w 36"/>
              <a:gd name="T45" fmla="*/ 12 h 17"/>
              <a:gd name="T46" fmla="*/ 21 w 36"/>
              <a:gd name="T47" fmla="*/ 12 h 17"/>
              <a:gd name="T48" fmla="*/ 17 w 36"/>
              <a:gd name="T49" fmla="*/ 12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6" h="17">
                <a:moveTo>
                  <a:pt x="17" y="12"/>
                </a:moveTo>
                <a:lnTo>
                  <a:pt x="14" y="12"/>
                </a:lnTo>
                <a:lnTo>
                  <a:pt x="12" y="13"/>
                </a:lnTo>
                <a:lnTo>
                  <a:pt x="10" y="16"/>
                </a:lnTo>
                <a:lnTo>
                  <a:pt x="8" y="16"/>
                </a:lnTo>
                <a:lnTo>
                  <a:pt x="7" y="16"/>
                </a:lnTo>
                <a:lnTo>
                  <a:pt x="4" y="14"/>
                </a:lnTo>
                <a:lnTo>
                  <a:pt x="3" y="14"/>
                </a:lnTo>
                <a:lnTo>
                  <a:pt x="2" y="13"/>
                </a:lnTo>
                <a:lnTo>
                  <a:pt x="1" y="11"/>
                </a:lnTo>
                <a:lnTo>
                  <a:pt x="0" y="8"/>
                </a:lnTo>
                <a:lnTo>
                  <a:pt x="1" y="7"/>
                </a:lnTo>
                <a:lnTo>
                  <a:pt x="2" y="6"/>
                </a:lnTo>
                <a:lnTo>
                  <a:pt x="7" y="3"/>
                </a:lnTo>
                <a:lnTo>
                  <a:pt x="11" y="1"/>
                </a:lnTo>
                <a:lnTo>
                  <a:pt x="14" y="0"/>
                </a:lnTo>
                <a:lnTo>
                  <a:pt x="17" y="1"/>
                </a:lnTo>
                <a:lnTo>
                  <a:pt x="20" y="2"/>
                </a:lnTo>
                <a:lnTo>
                  <a:pt x="25" y="4"/>
                </a:lnTo>
                <a:lnTo>
                  <a:pt x="31" y="8"/>
                </a:lnTo>
                <a:lnTo>
                  <a:pt x="35" y="11"/>
                </a:lnTo>
                <a:lnTo>
                  <a:pt x="29" y="12"/>
                </a:lnTo>
                <a:lnTo>
                  <a:pt x="25" y="12"/>
                </a:lnTo>
                <a:lnTo>
                  <a:pt x="21" y="12"/>
                </a:lnTo>
                <a:lnTo>
                  <a:pt x="17" y="12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96" name="Freeform 195">
            <a:extLst>
              <a:ext uri="{FF2B5EF4-FFF2-40B4-BE49-F238E27FC236}">
                <a16:creationId xmlns:a16="http://schemas.microsoft.com/office/drawing/2014/main" id="{4FF9437B-E5FF-EA5B-D2CD-FCE35CDAEF0F}"/>
              </a:ext>
            </a:extLst>
          </p:cNvPr>
          <p:cNvSpPr>
            <a:spLocks/>
          </p:cNvSpPr>
          <p:nvPr/>
        </p:nvSpPr>
        <p:spPr bwMode="auto">
          <a:xfrm>
            <a:off x="9675188" y="3125634"/>
            <a:ext cx="215900" cy="288925"/>
          </a:xfrm>
          <a:custGeom>
            <a:avLst/>
            <a:gdLst>
              <a:gd name="T0" fmla="*/ 0 w 107"/>
              <a:gd name="T1" fmla="*/ 0 h 154"/>
              <a:gd name="T2" fmla="*/ 87 w 107"/>
              <a:gd name="T3" fmla="*/ 94 h 154"/>
              <a:gd name="T4" fmla="*/ 84 w 107"/>
              <a:gd name="T5" fmla="*/ 94 h 154"/>
              <a:gd name="T6" fmla="*/ 80 w 107"/>
              <a:gd name="T7" fmla="*/ 91 h 154"/>
              <a:gd name="T8" fmla="*/ 78 w 107"/>
              <a:gd name="T9" fmla="*/ 90 h 154"/>
              <a:gd name="T10" fmla="*/ 73 w 107"/>
              <a:gd name="T11" fmla="*/ 90 h 154"/>
              <a:gd name="T12" fmla="*/ 71 w 107"/>
              <a:gd name="T13" fmla="*/ 90 h 154"/>
              <a:gd name="T14" fmla="*/ 70 w 107"/>
              <a:gd name="T15" fmla="*/ 91 h 154"/>
              <a:gd name="T16" fmla="*/ 69 w 107"/>
              <a:gd name="T17" fmla="*/ 94 h 154"/>
              <a:gd name="T18" fmla="*/ 69 w 107"/>
              <a:gd name="T19" fmla="*/ 95 h 154"/>
              <a:gd name="T20" fmla="*/ 69 w 107"/>
              <a:gd name="T21" fmla="*/ 99 h 154"/>
              <a:gd name="T22" fmla="*/ 70 w 107"/>
              <a:gd name="T23" fmla="*/ 103 h 154"/>
              <a:gd name="T24" fmla="*/ 70 w 107"/>
              <a:gd name="T25" fmla="*/ 107 h 154"/>
              <a:gd name="T26" fmla="*/ 72 w 107"/>
              <a:gd name="T27" fmla="*/ 110 h 154"/>
              <a:gd name="T28" fmla="*/ 77 w 107"/>
              <a:gd name="T29" fmla="*/ 117 h 154"/>
              <a:gd name="T30" fmla="*/ 83 w 107"/>
              <a:gd name="T31" fmla="*/ 123 h 154"/>
              <a:gd name="T32" fmla="*/ 89 w 107"/>
              <a:gd name="T33" fmla="*/ 130 h 154"/>
              <a:gd name="T34" fmla="*/ 96 w 107"/>
              <a:gd name="T35" fmla="*/ 135 h 154"/>
              <a:gd name="T36" fmla="*/ 106 w 107"/>
              <a:gd name="T37" fmla="*/ 143 h 154"/>
              <a:gd name="T38" fmla="*/ 100 w 107"/>
              <a:gd name="T39" fmla="*/ 143 h 154"/>
              <a:gd name="T40" fmla="*/ 96 w 107"/>
              <a:gd name="T41" fmla="*/ 140 h 154"/>
              <a:gd name="T42" fmla="*/ 93 w 107"/>
              <a:gd name="T43" fmla="*/ 139 h 154"/>
              <a:gd name="T44" fmla="*/ 91 w 107"/>
              <a:gd name="T45" fmla="*/ 139 h 154"/>
              <a:gd name="T46" fmla="*/ 91 w 107"/>
              <a:gd name="T47" fmla="*/ 153 h 154"/>
              <a:gd name="T48" fmla="*/ 87 w 107"/>
              <a:gd name="T49" fmla="*/ 149 h 154"/>
              <a:gd name="T50" fmla="*/ 83 w 107"/>
              <a:gd name="T51" fmla="*/ 144 h 154"/>
              <a:gd name="T52" fmla="*/ 78 w 107"/>
              <a:gd name="T53" fmla="*/ 136 h 154"/>
              <a:gd name="T54" fmla="*/ 72 w 107"/>
              <a:gd name="T55" fmla="*/ 126 h 154"/>
              <a:gd name="T56" fmla="*/ 67 w 107"/>
              <a:gd name="T57" fmla="*/ 117 h 154"/>
              <a:gd name="T58" fmla="*/ 57 w 107"/>
              <a:gd name="T59" fmla="*/ 98 h 154"/>
              <a:gd name="T60" fmla="*/ 52 w 107"/>
              <a:gd name="T61" fmla="*/ 89 h 154"/>
              <a:gd name="T62" fmla="*/ 48 w 107"/>
              <a:gd name="T63" fmla="*/ 80 h 154"/>
              <a:gd name="T64" fmla="*/ 39 w 107"/>
              <a:gd name="T65" fmla="*/ 65 h 154"/>
              <a:gd name="T66" fmla="*/ 35 w 107"/>
              <a:gd name="T67" fmla="*/ 58 h 154"/>
              <a:gd name="T68" fmla="*/ 30 w 107"/>
              <a:gd name="T69" fmla="*/ 52 h 154"/>
              <a:gd name="T70" fmla="*/ 25 w 107"/>
              <a:gd name="T71" fmla="*/ 47 h 154"/>
              <a:gd name="T72" fmla="*/ 21 w 107"/>
              <a:gd name="T73" fmla="*/ 43 h 154"/>
              <a:gd name="T74" fmla="*/ 12 w 107"/>
              <a:gd name="T75" fmla="*/ 37 h 154"/>
              <a:gd name="T76" fmla="*/ 9 w 107"/>
              <a:gd name="T77" fmla="*/ 34 h 154"/>
              <a:gd name="T78" fmla="*/ 7 w 107"/>
              <a:gd name="T79" fmla="*/ 32 h 154"/>
              <a:gd name="T80" fmla="*/ 5 w 107"/>
              <a:gd name="T81" fmla="*/ 31 h 154"/>
              <a:gd name="T82" fmla="*/ 4 w 107"/>
              <a:gd name="T83" fmla="*/ 28 h 154"/>
              <a:gd name="T84" fmla="*/ 3 w 107"/>
              <a:gd name="T85" fmla="*/ 26 h 154"/>
              <a:gd name="T86" fmla="*/ 1 w 107"/>
              <a:gd name="T87" fmla="*/ 23 h 154"/>
              <a:gd name="T88" fmla="*/ 0 w 107"/>
              <a:gd name="T89" fmla="*/ 19 h 154"/>
              <a:gd name="T90" fmla="*/ 0 w 107"/>
              <a:gd name="T91" fmla="*/ 16 h 154"/>
              <a:gd name="T92" fmla="*/ 0 w 107"/>
              <a:gd name="T93" fmla="*/ 7 h 154"/>
              <a:gd name="T94" fmla="*/ 0 w 107"/>
              <a:gd name="T95" fmla="*/ 0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07" h="154">
                <a:moveTo>
                  <a:pt x="0" y="0"/>
                </a:moveTo>
                <a:lnTo>
                  <a:pt x="87" y="94"/>
                </a:lnTo>
                <a:lnTo>
                  <a:pt x="84" y="94"/>
                </a:lnTo>
                <a:lnTo>
                  <a:pt x="80" y="91"/>
                </a:lnTo>
                <a:lnTo>
                  <a:pt x="78" y="90"/>
                </a:lnTo>
                <a:lnTo>
                  <a:pt x="73" y="90"/>
                </a:lnTo>
                <a:lnTo>
                  <a:pt x="71" y="90"/>
                </a:lnTo>
                <a:lnTo>
                  <a:pt x="70" y="91"/>
                </a:lnTo>
                <a:lnTo>
                  <a:pt x="69" y="94"/>
                </a:lnTo>
                <a:lnTo>
                  <a:pt x="69" y="95"/>
                </a:lnTo>
                <a:lnTo>
                  <a:pt x="69" y="99"/>
                </a:lnTo>
                <a:lnTo>
                  <a:pt x="70" y="103"/>
                </a:lnTo>
                <a:lnTo>
                  <a:pt x="70" y="107"/>
                </a:lnTo>
                <a:lnTo>
                  <a:pt x="72" y="110"/>
                </a:lnTo>
                <a:lnTo>
                  <a:pt x="77" y="117"/>
                </a:lnTo>
                <a:lnTo>
                  <a:pt x="83" y="123"/>
                </a:lnTo>
                <a:lnTo>
                  <a:pt x="89" y="130"/>
                </a:lnTo>
                <a:lnTo>
                  <a:pt x="96" y="135"/>
                </a:lnTo>
                <a:lnTo>
                  <a:pt x="106" y="143"/>
                </a:lnTo>
                <a:lnTo>
                  <a:pt x="100" y="143"/>
                </a:lnTo>
                <a:lnTo>
                  <a:pt x="96" y="140"/>
                </a:lnTo>
                <a:lnTo>
                  <a:pt x="93" y="139"/>
                </a:lnTo>
                <a:lnTo>
                  <a:pt x="91" y="139"/>
                </a:lnTo>
                <a:lnTo>
                  <a:pt x="91" y="153"/>
                </a:lnTo>
                <a:lnTo>
                  <a:pt x="87" y="149"/>
                </a:lnTo>
                <a:lnTo>
                  <a:pt x="83" y="144"/>
                </a:lnTo>
                <a:lnTo>
                  <a:pt x="78" y="136"/>
                </a:lnTo>
                <a:lnTo>
                  <a:pt x="72" y="126"/>
                </a:lnTo>
                <a:lnTo>
                  <a:pt x="67" y="117"/>
                </a:lnTo>
                <a:lnTo>
                  <a:pt x="57" y="98"/>
                </a:lnTo>
                <a:lnTo>
                  <a:pt x="52" y="89"/>
                </a:lnTo>
                <a:lnTo>
                  <a:pt x="48" y="80"/>
                </a:lnTo>
                <a:lnTo>
                  <a:pt x="39" y="65"/>
                </a:lnTo>
                <a:lnTo>
                  <a:pt x="35" y="58"/>
                </a:lnTo>
                <a:lnTo>
                  <a:pt x="30" y="52"/>
                </a:lnTo>
                <a:lnTo>
                  <a:pt x="25" y="47"/>
                </a:lnTo>
                <a:lnTo>
                  <a:pt x="21" y="43"/>
                </a:lnTo>
                <a:lnTo>
                  <a:pt x="12" y="37"/>
                </a:lnTo>
                <a:lnTo>
                  <a:pt x="9" y="34"/>
                </a:lnTo>
                <a:lnTo>
                  <a:pt x="7" y="32"/>
                </a:lnTo>
                <a:lnTo>
                  <a:pt x="5" y="31"/>
                </a:lnTo>
                <a:lnTo>
                  <a:pt x="4" y="28"/>
                </a:lnTo>
                <a:lnTo>
                  <a:pt x="3" y="26"/>
                </a:lnTo>
                <a:lnTo>
                  <a:pt x="1" y="23"/>
                </a:lnTo>
                <a:lnTo>
                  <a:pt x="0" y="19"/>
                </a:lnTo>
                <a:lnTo>
                  <a:pt x="0" y="16"/>
                </a:lnTo>
                <a:lnTo>
                  <a:pt x="0" y="7"/>
                </a:lnTo>
                <a:lnTo>
                  <a:pt x="0" y="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97" name="Freeform 196">
            <a:extLst>
              <a:ext uri="{FF2B5EF4-FFF2-40B4-BE49-F238E27FC236}">
                <a16:creationId xmlns:a16="http://schemas.microsoft.com/office/drawing/2014/main" id="{DBEA502B-2AEC-F473-E32B-ED98B84EF876}"/>
              </a:ext>
            </a:extLst>
          </p:cNvPr>
          <p:cNvSpPr>
            <a:spLocks/>
          </p:cNvSpPr>
          <p:nvPr/>
        </p:nvSpPr>
        <p:spPr bwMode="auto">
          <a:xfrm>
            <a:off x="9865688" y="3428846"/>
            <a:ext cx="153988" cy="141288"/>
          </a:xfrm>
          <a:custGeom>
            <a:avLst/>
            <a:gdLst>
              <a:gd name="T0" fmla="*/ 22 w 77"/>
              <a:gd name="T1" fmla="*/ 55 h 75"/>
              <a:gd name="T2" fmla="*/ 17 w 77"/>
              <a:gd name="T3" fmla="*/ 57 h 75"/>
              <a:gd name="T4" fmla="*/ 20 w 77"/>
              <a:gd name="T5" fmla="*/ 62 h 75"/>
              <a:gd name="T6" fmla="*/ 27 w 77"/>
              <a:gd name="T7" fmla="*/ 67 h 75"/>
              <a:gd name="T8" fmla="*/ 32 w 77"/>
              <a:gd name="T9" fmla="*/ 72 h 75"/>
              <a:gd name="T10" fmla="*/ 20 w 77"/>
              <a:gd name="T11" fmla="*/ 74 h 75"/>
              <a:gd name="T12" fmla="*/ 14 w 77"/>
              <a:gd name="T13" fmla="*/ 64 h 75"/>
              <a:gd name="T14" fmla="*/ 10 w 77"/>
              <a:gd name="T15" fmla="*/ 59 h 75"/>
              <a:gd name="T16" fmla="*/ 8 w 77"/>
              <a:gd name="T17" fmla="*/ 55 h 75"/>
              <a:gd name="T18" fmla="*/ 12 w 77"/>
              <a:gd name="T19" fmla="*/ 50 h 75"/>
              <a:gd name="T20" fmla="*/ 11 w 77"/>
              <a:gd name="T21" fmla="*/ 45 h 75"/>
              <a:gd name="T22" fmla="*/ 10 w 77"/>
              <a:gd name="T23" fmla="*/ 40 h 75"/>
              <a:gd name="T24" fmla="*/ 16 w 77"/>
              <a:gd name="T25" fmla="*/ 35 h 75"/>
              <a:gd name="T26" fmla="*/ 13 w 77"/>
              <a:gd name="T27" fmla="*/ 23 h 75"/>
              <a:gd name="T28" fmla="*/ 11 w 77"/>
              <a:gd name="T29" fmla="*/ 13 h 75"/>
              <a:gd name="T30" fmla="*/ 8 w 77"/>
              <a:gd name="T31" fmla="*/ 10 h 75"/>
              <a:gd name="T32" fmla="*/ 3 w 77"/>
              <a:gd name="T33" fmla="*/ 5 h 75"/>
              <a:gd name="T34" fmla="*/ 0 w 77"/>
              <a:gd name="T35" fmla="*/ 1 h 75"/>
              <a:gd name="T36" fmla="*/ 3 w 77"/>
              <a:gd name="T37" fmla="*/ 0 h 75"/>
              <a:gd name="T38" fmla="*/ 7 w 77"/>
              <a:gd name="T39" fmla="*/ 3 h 75"/>
              <a:gd name="T40" fmla="*/ 17 w 77"/>
              <a:gd name="T41" fmla="*/ 8 h 75"/>
              <a:gd name="T42" fmla="*/ 30 w 77"/>
              <a:gd name="T43" fmla="*/ 19 h 75"/>
              <a:gd name="T44" fmla="*/ 40 w 77"/>
              <a:gd name="T45" fmla="*/ 26 h 75"/>
              <a:gd name="T46" fmla="*/ 47 w 77"/>
              <a:gd name="T47" fmla="*/ 27 h 75"/>
              <a:gd name="T48" fmla="*/ 55 w 77"/>
              <a:gd name="T49" fmla="*/ 27 h 75"/>
              <a:gd name="T50" fmla="*/ 64 w 77"/>
              <a:gd name="T51" fmla="*/ 23 h 75"/>
              <a:gd name="T52" fmla="*/ 68 w 77"/>
              <a:gd name="T53" fmla="*/ 32 h 75"/>
              <a:gd name="T54" fmla="*/ 69 w 77"/>
              <a:gd name="T55" fmla="*/ 35 h 75"/>
              <a:gd name="T56" fmla="*/ 76 w 77"/>
              <a:gd name="T57" fmla="*/ 42 h 75"/>
              <a:gd name="T58" fmla="*/ 71 w 77"/>
              <a:gd name="T59" fmla="*/ 46 h 75"/>
              <a:gd name="T60" fmla="*/ 66 w 77"/>
              <a:gd name="T61" fmla="*/ 47 h 75"/>
              <a:gd name="T62" fmla="*/ 56 w 77"/>
              <a:gd name="T63" fmla="*/ 49 h 75"/>
              <a:gd name="T64" fmla="*/ 52 w 77"/>
              <a:gd name="T65" fmla="*/ 63 h 75"/>
              <a:gd name="T66" fmla="*/ 41 w 77"/>
              <a:gd name="T67" fmla="*/ 59 h 75"/>
              <a:gd name="T68" fmla="*/ 31 w 77"/>
              <a:gd name="T69" fmla="*/ 55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77" h="75">
                <a:moveTo>
                  <a:pt x="27" y="55"/>
                </a:moveTo>
                <a:lnTo>
                  <a:pt x="22" y="55"/>
                </a:lnTo>
                <a:lnTo>
                  <a:pt x="20" y="56"/>
                </a:lnTo>
                <a:lnTo>
                  <a:pt x="17" y="57"/>
                </a:lnTo>
                <a:lnTo>
                  <a:pt x="14" y="58"/>
                </a:lnTo>
                <a:lnTo>
                  <a:pt x="20" y="62"/>
                </a:lnTo>
                <a:lnTo>
                  <a:pt x="24" y="64"/>
                </a:lnTo>
                <a:lnTo>
                  <a:pt x="27" y="67"/>
                </a:lnTo>
                <a:lnTo>
                  <a:pt x="31" y="69"/>
                </a:lnTo>
                <a:lnTo>
                  <a:pt x="32" y="72"/>
                </a:lnTo>
                <a:lnTo>
                  <a:pt x="26" y="73"/>
                </a:lnTo>
                <a:lnTo>
                  <a:pt x="20" y="74"/>
                </a:lnTo>
                <a:lnTo>
                  <a:pt x="17" y="69"/>
                </a:lnTo>
                <a:lnTo>
                  <a:pt x="14" y="64"/>
                </a:lnTo>
                <a:lnTo>
                  <a:pt x="12" y="61"/>
                </a:lnTo>
                <a:lnTo>
                  <a:pt x="10" y="59"/>
                </a:lnTo>
                <a:lnTo>
                  <a:pt x="7" y="58"/>
                </a:lnTo>
                <a:lnTo>
                  <a:pt x="8" y="55"/>
                </a:lnTo>
                <a:lnTo>
                  <a:pt x="10" y="53"/>
                </a:lnTo>
                <a:lnTo>
                  <a:pt x="12" y="50"/>
                </a:lnTo>
                <a:lnTo>
                  <a:pt x="13" y="50"/>
                </a:lnTo>
                <a:lnTo>
                  <a:pt x="11" y="45"/>
                </a:lnTo>
                <a:lnTo>
                  <a:pt x="11" y="43"/>
                </a:lnTo>
                <a:lnTo>
                  <a:pt x="10" y="40"/>
                </a:lnTo>
                <a:lnTo>
                  <a:pt x="17" y="40"/>
                </a:lnTo>
                <a:lnTo>
                  <a:pt x="16" y="35"/>
                </a:lnTo>
                <a:lnTo>
                  <a:pt x="14" y="30"/>
                </a:lnTo>
                <a:lnTo>
                  <a:pt x="13" y="23"/>
                </a:lnTo>
                <a:lnTo>
                  <a:pt x="12" y="16"/>
                </a:lnTo>
                <a:lnTo>
                  <a:pt x="11" y="13"/>
                </a:lnTo>
                <a:lnTo>
                  <a:pt x="10" y="12"/>
                </a:lnTo>
                <a:lnTo>
                  <a:pt x="8" y="10"/>
                </a:lnTo>
                <a:lnTo>
                  <a:pt x="5" y="8"/>
                </a:lnTo>
                <a:lnTo>
                  <a:pt x="3" y="5"/>
                </a:lnTo>
                <a:lnTo>
                  <a:pt x="0" y="3"/>
                </a:lnTo>
                <a:lnTo>
                  <a:pt x="0" y="1"/>
                </a:lnTo>
                <a:lnTo>
                  <a:pt x="0" y="0"/>
                </a:lnTo>
                <a:lnTo>
                  <a:pt x="3" y="0"/>
                </a:lnTo>
                <a:lnTo>
                  <a:pt x="4" y="0"/>
                </a:lnTo>
                <a:lnTo>
                  <a:pt x="7" y="3"/>
                </a:lnTo>
                <a:lnTo>
                  <a:pt x="10" y="3"/>
                </a:lnTo>
                <a:lnTo>
                  <a:pt x="17" y="8"/>
                </a:lnTo>
                <a:lnTo>
                  <a:pt x="23" y="13"/>
                </a:lnTo>
                <a:lnTo>
                  <a:pt x="30" y="19"/>
                </a:lnTo>
                <a:lnTo>
                  <a:pt x="36" y="23"/>
                </a:lnTo>
                <a:lnTo>
                  <a:pt x="40" y="26"/>
                </a:lnTo>
                <a:lnTo>
                  <a:pt x="43" y="26"/>
                </a:lnTo>
                <a:lnTo>
                  <a:pt x="47" y="27"/>
                </a:lnTo>
                <a:lnTo>
                  <a:pt x="49" y="28"/>
                </a:lnTo>
                <a:lnTo>
                  <a:pt x="55" y="27"/>
                </a:lnTo>
                <a:lnTo>
                  <a:pt x="59" y="26"/>
                </a:lnTo>
                <a:lnTo>
                  <a:pt x="64" y="23"/>
                </a:lnTo>
                <a:lnTo>
                  <a:pt x="68" y="22"/>
                </a:lnTo>
                <a:lnTo>
                  <a:pt x="68" y="32"/>
                </a:lnTo>
                <a:lnTo>
                  <a:pt x="68" y="34"/>
                </a:lnTo>
                <a:lnTo>
                  <a:pt x="69" y="35"/>
                </a:lnTo>
                <a:lnTo>
                  <a:pt x="71" y="37"/>
                </a:lnTo>
                <a:lnTo>
                  <a:pt x="76" y="42"/>
                </a:lnTo>
                <a:lnTo>
                  <a:pt x="74" y="44"/>
                </a:lnTo>
                <a:lnTo>
                  <a:pt x="71" y="46"/>
                </a:lnTo>
                <a:lnTo>
                  <a:pt x="69" y="47"/>
                </a:lnTo>
                <a:lnTo>
                  <a:pt x="66" y="47"/>
                </a:lnTo>
                <a:lnTo>
                  <a:pt x="62" y="48"/>
                </a:lnTo>
                <a:lnTo>
                  <a:pt x="56" y="49"/>
                </a:lnTo>
                <a:lnTo>
                  <a:pt x="56" y="64"/>
                </a:lnTo>
                <a:lnTo>
                  <a:pt x="52" y="63"/>
                </a:lnTo>
                <a:lnTo>
                  <a:pt x="48" y="63"/>
                </a:lnTo>
                <a:lnTo>
                  <a:pt x="41" y="59"/>
                </a:lnTo>
                <a:lnTo>
                  <a:pt x="34" y="56"/>
                </a:lnTo>
                <a:lnTo>
                  <a:pt x="31" y="55"/>
                </a:lnTo>
                <a:lnTo>
                  <a:pt x="27" y="55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98" name="Freeform 197">
            <a:extLst>
              <a:ext uri="{FF2B5EF4-FFF2-40B4-BE49-F238E27FC236}">
                <a16:creationId xmlns:a16="http://schemas.microsoft.com/office/drawing/2014/main" id="{7BFA760F-56BD-FDD9-6AD4-0738C627781E}"/>
              </a:ext>
            </a:extLst>
          </p:cNvPr>
          <p:cNvSpPr>
            <a:spLocks/>
          </p:cNvSpPr>
          <p:nvPr/>
        </p:nvSpPr>
        <p:spPr bwMode="auto">
          <a:xfrm>
            <a:off x="9778375" y="3574896"/>
            <a:ext cx="252413" cy="290513"/>
          </a:xfrm>
          <a:custGeom>
            <a:avLst/>
            <a:gdLst>
              <a:gd name="T0" fmla="*/ 70 w 125"/>
              <a:gd name="T1" fmla="*/ 7 h 155"/>
              <a:gd name="T2" fmla="*/ 78 w 125"/>
              <a:gd name="T3" fmla="*/ 0 h 155"/>
              <a:gd name="T4" fmla="*/ 94 w 125"/>
              <a:gd name="T5" fmla="*/ 16 h 155"/>
              <a:gd name="T6" fmla="*/ 106 w 125"/>
              <a:gd name="T7" fmla="*/ 35 h 155"/>
              <a:gd name="T8" fmla="*/ 110 w 125"/>
              <a:gd name="T9" fmla="*/ 47 h 155"/>
              <a:gd name="T10" fmla="*/ 109 w 125"/>
              <a:gd name="T11" fmla="*/ 58 h 155"/>
              <a:gd name="T12" fmla="*/ 120 w 125"/>
              <a:gd name="T13" fmla="*/ 96 h 155"/>
              <a:gd name="T14" fmla="*/ 122 w 125"/>
              <a:gd name="T15" fmla="*/ 115 h 155"/>
              <a:gd name="T16" fmla="*/ 117 w 125"/>
              <a:gd name="T17" fmla="*/ 119 h 155"/>
              <a:gd name="T18" fmla="*/ 114 w 125"/>
              <a:gd name="T19" fmla="*/ 116 h 155"/>
              <a:gd name="T20" fmla="*/ 117 w 125"/>
              <a:gd name="T21" fmla="*/ 111 h 155"/>
              <a:gd name="T22" fmla="*/ 110 w 125"/>
              <a:gd name="T23" fmla="*/ 115 h 155"/>
              <a:gd name="T24" fmla="*/ 106 w 125"/>
              <a:gd name="T25" fmla="*/ 124 h 155"/>
              <a:gd name="T26" fmla="*/ 97 w 125"/>
              <a:gd name="T27" fmla="*/ 125 h 155"/>
              <a:gd name="T28" fmla="*/ 93 w 125"/>
              <a:gd name="T29" fmla="*/ 127 h 155"/>
              <a:gd name="T30" fmla="*/ 84 w 125"/>
              <a:gd name="T31" fmla="*/ 127 h 155"/>
              <a:gd name="T32" fmla="*/ 76 w 125"/>
              <a:gd name="T33" fmla="*/ 124 h 155"/>
              <a:gd name="T34" fmla="*/ 75 w 125"/>
              <a:gd name="T35" fmla="*/ 129 h 155"/>
              <a:gd name="T36" fmla="*/ 79 w 125"/>
              <a:gd name="T37" fmla="*/ 141 h 155"/>
              <a:gd name="T38" fmla="*/ 74 w 125"/>
              <a:gd name="T39" fmla="*/ 154 h 155"/>
              <a:gd name="T40" fmla="*/ 65 w 125"/>
              <a:gd name="T41" fmla="*/ 147 h 155"/>
              <a:gd name="T42" fmla="*/ 60 w 125"/>
              <a:gd name="T43" fmla="*/ 136 h 155"/>
              <a:gd name="T44" fmla="*/ 49 w 125"/>
              <a:gd name="T45" fmla="*/ 128 h 155"/>
              <a:gd name="T46" fmla="*/ 34 w 125"/>
              <a:gd name="T47" fmla="*/ 131 h 155"/>
              <a:gd name="T48" fmla="*/ 18 w 125"/>
              <a:gd name="T49" fmla="*/ 134 h 155"/>
              <a:gd name="T50" fmla="*/ 12 w 125"/>
              <a:gd name="T51" fmla="*/ 141 h 155"/>
              <a:gd name="T52" fmla="*/ 1 w 125"/>
              <a:gd name="T53" fmla="*/ 137 h 155"/>
              <a:gd name="T54" fmla="*/ 0 w 125"/>
              <a:gd name="T55" fmla="*/ 133 h 155"/>
              <a:gd name="T56" fmla="*/ 7 w 125"/>
              <a:gd name="T57" fmla="*/ 128 h 155"/>
              <a:gd name="T58" fmla="*/ 15 w 125"/>
              <a:gd name="T59" fmla="*/ 116 h 155"/>
              <a:gd name="T60" fmla="*/ 20 w 125"/>
              <a:gd name="T61" fmla="*/ 110 h 155"/>
              <a:gd name="T62" fmla="*/ 27 w 125"/>
              <a:gd name="T63" fmla="*/ 109 h 155"/>
              <a:gd name="T64" fmla="*/ 37 w 125"/>
              <a:gd name="T65" fmla="*/ 105 h 155"/>
              <a:gd name="T66" fmla="*/ 49 w 125"/>
              <a:gd name="T67" fmla="*/ 107 h 155"/>
              <a:gd name="T68" fmla="*/ 55 w 125"/>
              <a:gd name="T69" fmla="*/ 111 h 155"/>
              <a:gd name="T70" fmla="*/ 57 w 125"/>
              <a:gd name="T71" fmla="*/ 106 h 155"/>
              <a:gd name="T72" fmla="*/ 55 w 125"/>
              <a:gd name="T73" fmla="*/ 98 h 155"/>
              <a:gd name="T74" fmla="*/ 55 w 125"/>
              <a:gd name="T75" fmla="*/ 93 h 155"/>
              <a:gd name="T76" fmla="*/ 61 w 125"/>
              <a:gd name="T77" fmla="*/ 87 h 155"/>
              <a:gd name="T78" fmla="*/ 62 w 125"/>
              <a:gd name="T79" fmla="*/ 82 h 155"/>
              <a:gd name="T80" fmla="*/ 61 w 125"/>
              <a:gd name="T81" fmla="*/ 76 h 155"/>
              <a:gd name="T82" fmla="*/ 63 w 125"/>
              <a:gd name="T83" fmla="*/ 83 h 155"/>
              <a:gd name="T84" fmla="*/ 68 w 125"/>
              <a:gd name="T85" fmla="*/ 84 h 155"/>
              <a:gd name="T86" fmla="*/ 76 w 125"/>
              <a:gd name="T87" fmla="*/ 80 h 155"/>
              <a:gd name="T88" fmla="*/ 82 w 125"/>
              <a:gd name="T89" fmla="*/ 71 h 155"/>
              <a:gd name="T90" fmla="*/ 84 w 125"/>
              <a:gd name="T91" fmla="*/ 64 h 155"/>
              <a:gd name="T92" fmla="*/ 86 w 125"/>
              <a:gd name="T93" fmla="*/ 51 h 155"/>
              <a:gd name="T94" fmla="*/ 83 w 125"/>
              <a:gd name="T95" fmla="*/ 41 h 155"/>
              <a:gd name="T96" fmla="*/ 75 w 125"/>
              <a:gd name="T97" fmla="*/ 28 h 155"/>
              <a:gd name="T98" fmla="*/ 70 w 125"/>
              <a:gd name="T99" fmla="*/ 16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25" h="155">
                <a:moveTo>
                  <a:pt x="69" y="12"/>
                </a:moveTo>
                <a:lnTo>
                  <a:pt x="69" y="9"/>
                </a:lnTo>
                <a:lnTo>
                  <a:pt x="70" y="7"/>
                </a:lnTo>
                <a:lnTo>
                  <a:pt x="72" y="4"/>
                </a:lnTo>
                <a:lnTo>
                  <a:pt x="76" y="2"/>
                </a:lnTo>
                <a:lnTo>
                  <a:pt x="78" y="0"/>
                </a:lnTo>
                <a:lnTo>
                  <a:pt x="82" y="4"/>
                </a:lnTo>
                <a:lnTo>
                  <a:pt x="88" y="10"/>
                </a:lnTo>
                <a:lnTo>
                  <a:pt x="94" y="16"/>
                </a:lnTo>
                <a:lnTo>
                  <a:pt x="99" y="24"/>
                </a:lnTo>
                <a:lnTo>
                  <a:pt x="104" y="31"/>
                </a:lnTo>
                <a:lnTo>
                  <a:pt x="106" y="35"/>
                </a:lnTo>
                <a:lnTo>
                  <a:pt x="108" y="38"/>
                </a:lnTo>
                <a:lnTo>
                  <a:pt x="110" y="43"/>
                </a:lnTo>
                <a:lnTo>
                  <a:pt x="110" y="47"/>
                </a:lnTo>
                <a:lnTo>
                  <a:pt x="110" y="51"/>
                </a:lnTo>
                <a:lnTo>
                  <a:pt x="110" y="55"/>
                </a:lnTo>
                <a:lnTo>
                  <a:pt x="109" y="58"/>
                </a:lnTo>
                <a:lnTo>
                  <a:pt x="109" y="61"/>
                </a:lnTo>
                <a:lnTo>
                  <a:pt x="114" y="82"/>
                </a:lnTo>
                <a:lnTo>
                  <a:pt x="120" y="96"/>
                </a:lnTo>
                <a:lnTo>
                  <a:pt x="124" y="105"/>
                </a:lnTo>
                <a:lnTo>
                  <a:pt x="123" y="110"/>
                </a:lnTo>
                <a:lnTo>
                  <a:pt x="122" y="115"/>
                </a:lnTo>
                <a:lnTo>
                  <a:pt x="121" y="118"/>
                </a:lnTo>
                <a:lnTo>
                  <a:pt x="119" y="119"/>
                </a:lnTo>
                <a:lnTo>
                  <a:pt x="117" y="119"/>
                </a:lnTo>
                <a:lnTo>
                  <a:pt x="115" y="119"/>
                </a:lnTo>
                <a:lnTo>
                  <a:pt x="115" y="118"/>
                </a:lnTo>
                <a:lnTo>
                  <a:pt x="114" y="116"/>
                </a:lnTo>
                <a:lnTo>
                  <a:pt x="115" y="115"/>
                </a:lnTo>
                <a:lnTo>
                  <a:pt x="117" y="112"/>
                </a:lnTo>
                <a:lnTo>
                  <a:pt x="117" y="111"/>
                </a:lnTo>
                <a:lnTo>
                  <a:pt x="114" y="112"/>
                </a:lnTo>
                <a:lnTo>
                  <a:pt x="112" y="114"/>
                </a:lnTo>
                <a:lnTo>
                  <a:pt x="110" y="115"/>
                </a:lnTo>
                <a:lnTo>
                  <a:pt x="106" y="115"/>
                </a:lnTo>
                <a:lnTo>
                  <a:pt x="106" y="121"/>
                </a:lnTo>
                <a:lnTo>
                  <a:pt x="106" y="124"/>
                </a:lnTo>
                <a:lnTo>
                  <a:pt x="104" y="122"/>
                </a:lnTo>
                <a:lnTo>
                  <a:pt x="103" y="118"/>
                </a:lnTo>
                <a:lnTo>
                  <a:pt x="97" y="125"/>
                </a:lnTo>
                <a:lnTo>
                  <a:pt x="96" y="126"/>
                </a:lnTo>
                <a:lnTo>
                  <a:pt x="95" y="127"/>
                </a:lnTo>
                <a:lnTo>
                  <a:pt x="93" y="127"/>
                </a:lnTo>
                <a:lnTo>
                  <a:pt x="90" y="128"/>
                </a:lnTo>
                <a:lnTo>
                  <a:pt x="87" y="127"/>
                </a:lnTo>
                <a:lnTo>
                  <a:pt x="84" y="127"/>
                </a:lnTo>
                <a:lnTo>
                  <a:pt x="79" y="125"/>
                </a:lnTo>
                <a:lnTo>
                  <a:pt x="77" y="124"/>
                </a:lnTo>
                <a:lnTo>
                  <a:pt x="76" y="124"/>
                </a:lnTo>
                <a:lnTo>
                  <a:pt x="74" y="125"/>
                </a:lnTo>
                <a:lnTo>
                  <a:pt x="74" y="128"/>
                </a:lnTo>
                <a:lnTo>
                  <a:pt x="75" y="129"/>
                </a:lnTo>
                <a:lnTo>
                  <a:pt x="78" y="132"/>
                </a:lnTo>
                <a:lnTo>
                  <a:pt x="82" y="136"/>
                </a:lnTo>
                <a:lnTo>
                  <a:pt x="79" y="141"/>
                </a:lnTo>
                <a:lnTo>
                  <a:pt x="78" y="145"/>
                </a:lnTo>
                <a:lnTo>
                  <a:pt x="76" y="149"/>
                </a:lnTo>
                <a:lnTo>
                  <a:pt x="74" y="154"/>
                </a:lnTo>
                <a:lnTo>
                  <a:pt x="70" y="151"/>
                </a:lnTo>
                <a:lnTo>
                  <a:pt x="68" y="150"/>
                </a:lnTo>
                <a:lnTo>
                  <a:pt x="65" y="147"/>
                </a:lnTo>
                <a:lnTo>
                  <a:pt x="63" y="143"/>
                </a:lnTo>
                <a:lnTo>
                  <a:pt x="61" y="140"/>
                </a:lnTo>
                <a:lnTo>
                  <a:pt x="60" y="136"/>
                </a:lnTo>
                <a:lnTo>
                  <a:pt x="59" y="131"/>
                </a:lnTo>
                <a:lnTo>
                  <a:pt x="59" y="128"/>
                </a:lnTo>
                <a:lnTo>
                  <a:pt x="49" y="128"/>
                </a:lnTo>
                <a:lnTo>
                  <a:pt x="45" y="128"/>
                </a:lnTo>
                <a:lnTo>
                  <a:pt x="41" y="128"/>
                </a:lnTo>
                <a:lnTo>
                  <a:pt x="34" y="131"/>
                </a:lnTo>
                <a:lnTo>
                  <a:pt x="27" y="134"/>
                </a:lnTo>
                <a:lnTo>
                  <a:pt x="23" y="134"/>
                </a:lnTo>
                <a:lnTo>
                  <a:pt x="18" y="134"/>
                </a:lnTo>
                <a:lnTo>
                  <a:pt x="18" y="141"/>
                </a:lnTo>
                <a:lnTo>
                  <a:pt x="15" y="141"/>
                </a:lnTo>
                <a:lnTo>
                  <a:pt x="12" y="141"/>
                </a:lnTo>
                <a:lnTo>
                  <a:pt x="6" y="140"/>
                </a:lnTo>
                <a:lnTo>
                  <a:pt x="3" y="138"/>
                </a:lnTo>
                <a:lnTo>
                  <a:pt x="1" y="137"/>
                </a:lnTo>
                <a:lnTo>
                  <a:pt x="0" y="136"/>
                </a:lnTo>
                <a:lnTo>
                  <a:pt x="0" y="134"/>
                </a:lnTo>
                <a:lnTo>
                  <a:pt x="0" y="133"/>
                </a:lnTo>
                <a:lnTo>
                  <a:pt x="1" y="132"/>
                </a:lnTo>
                <a:lnTo>
                  <a:pt x="4" y="131"/>
                </a:lnTo>
                <a:lnTo>
                  <a:pt x="7" y="128"/>
                </a:lnTo>
                <a:lnTo>
                  <a:pt x="10" y="125"/>
                </a:lnTo>
                <a:lnTo>
                  <a:pt x="13" y="120"/>
                </a:lnTo>
                <a:lnTo>
                  <a:pt x="15" y="116"/>
                </a:lnTo>
                <a:lnTo>
                  <a:pt x="16" y="115"/>
                </a:lnTo>
                <a:lnTo>
                  <a:pt x="18" y="113"/>
                </a:lnTo>
                <a:lnTo>
                  <a:pt x="20" y="110"/>
                </a:lnTo>
                <a:lnTo>
                  <a:pt x="23" y="109"/>
                </a:lnTo>
                <a:lnTo>
                  <a:pt x="24" y="109"/>
                </a:lnTo>
                <a:lnTo>
                  <a:pt x="27" y="109"/>
                </a:lnTo>
                <a:lnTo>
                  <a:pt x="29" y="109"/>
                </a:lnTo>
                <a:lnTo>
                  <a:pt x="34" y="107"/>
                </a:lnTo>
                <a:lnTo>
                  <a:pt x="37" y="105"/>
                </a:lnTo>
                <a:lnTo>
                  <a:pt x="42" y="105"/>
                </a:lnTo>
                <a:lnTo>
                  <a:pt x="46" y="105"/>
                </a:lnTo>
                <a:lnTo>
                  <a:pt x="49" y="107"/>
                </a:lnTo>
                <a:lnTo>
                  <a:pt x="51" y="110"/>
                </a:lnTo>
                <a:lnTo>
                  <a:pt x="52" y="113"/>
                </a:lnTo>
                <a:lnTo>
                  <a:pt x="55" y="111"/>
                </a:lnTo>
                <a:lnTo>
                  <a:pt x="57" y="109"/>
                </a:lnTo>
                <a:lnTo>
                  <a:pt x="57" y="107"/>
                </a:lnTo>
                <a:lnTo>
                  <a:pt x="57" y="106"/>
                </a:lnTo>
                <a:lnTo>
                  <a:pt x="56" y="105"/>
                </a:lnTo>
                <a:lnTo>
                  <a:pt x="55" y="100"/>
                </a:lnTo>
                <a:lnTo>
                  <a:pt x="55" y="98"/>
                </a:lnTo>
                <a:lnTo>
                  <a:pt x="54" y="96"/>
                </a:lnTo>
                <a:lnTo>
                  <a:pt x="55" y="95"/>
                </a:lnTo>
                <a:lnTo>
                  <a:pt x="55" y="93"/>
                </a:lnTo>
                <a:lnTo>
                  <a:pt x="56" y="92"/>
                </a:lnTo>
                <a:lnTo>
                  <a:pt x="58" y="89"/>
                </a:lnTo>
                <a:lnTo>
                  <a:pt x="61" y="87"/>
                </a:lnTo>
                <a:lnTo>
                  <a:pt x="62" y="85"/>
                </a:lnTo>
                <a:lnTo>
                  <a:pt x="63" y="83"/>
                </a:lnTo>
                <a:lnTo>
                  <a:pt x="62" y="82"/>
                </a:lnTo>
                <a:lnTo>
                  <a:pt x="62" y="80"/>
                </a:lnTo>
                <a:lnTo>
                  <a:pt x="61" y="78"/>
                </a:lnTo>
                <a:lnTo>
                  <a:pt x="61" y="76"/>
                </a:lnTo>
                <a:lnTo>
                  <a:pt x="62" y="78"/>
                </a:lnTo>
                <a:lnTo>
                  <a:pt x="63" y="80"/>
                </a:lnTo>
                <a:lnTo>
                  <a:pt x="63" y="83"/>
                </a:lnTo>
                <a:lnTo>
                  <a:pt x="63" y="85"/>
                </a:lnTo>
                <a:lnTo>
                  <a:pt x="65" y="84"/>
                </a:lnTo>
                <a:lnTo>
                  <a:pt x="68" y="84"/>
                </a:lnTo>
                <a:lnTo>
                  <a:pt x="72" y="83"/>
                </a:lnTo>
                <a:lnTo>
                  <a:pt x="74" y="82"/>
                </a:lnTo>
                <a:lnTo>
                  <a:pt x="76" y="80"/>
                </a:lnTo>
                <a:lnTo>
                  <a:pt x="78" y="79"/>
                </a:lnTo>
                <a:lnTo>
                  <a:pt x="81" y="74"/>
                </a:lnTo>
                <a:lnTo>
                  <a:pt x="82" y="71"/>
                </a:lnTo>
                <a:lnTo>
                  <a:pt x="82" y="69"/>
                </a:lnTo>
                <a:lnTo>
                  <a:pt x="83" y="66"/>
                </a:lnTo>
                <a:lnTo>
                  <a:pt x="84" y="64"/>
                </a:lnTo>
                <a:lnTo>
                  <a:pt x="84" y="60"/>
                </a:lnTo>
                <a:lnTo>
                  <a:pt x="86" y="57"/>
                </a:lnTo>
                <a:lnTo>
                  <a:pt x="86" y="51"/>
                </a:lnTo>
                <a:lnTo>
                  <a:pt x="84" y="44"/>
                </a:lnTo>
                <a:lnTo>
                  <a:pt x="84" y="43"/>
                </a:lnTo>
                <a:lnTo>
                  <a:pt x="83" y="41"/>
                </a:lnTo>
                <a:lnTo>
                  <a:pt x="82" y="38"/>
                </a:lnTo>
                <a:lnTo>
                  <a:pt x="79" y="34"/>
                </a:lnTo>
                <a:lnTo>
                  <a:pt x="75" y="28"/>
                </a:lnTo>
                <a:lnTo>
                  <a:pt x="73" y="25"/>
                </a:lnTo>
                <a:lnTo>
                  <a:pt x="72" y="20"/>
                </a:lnTo>
                <a:lnTo>
                  <a:pt x="70" y="16"/>
                </a:lnTo>
                <a:lnTo>
                  <a:pt x="69" y="13"/>
                </a:lnTo>
                <a:lnTo>
                  <a:pt x="69" y="12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99" name="Freeform 198">
            <a:extLst>
              <a:ext uri="{FF2B5EF4-FFF2-40B4-BE49-F238E27FC236}">
                <a16:creationId xmlns:a16="http://schemas.microsoft.com/office/drawing/2014/main" id="{08D899F6-E243-7458-E105-6BED048375C0}"/>
              </a:ext>
            </a:extLst>
          </p:cNvPr>
          <p:cNvSpPr>
            <a:spLocks/>
          </p:cNvSpPr>
          <p:nvPr/>
        </p:nvSpPr>
        <p:spPr bwMode="auto">
          <a:xfrm>
            <a:off x="9832350" y="3827309"/>
            <a:ext cx="61913" cy="55563"/>
          </a:xfrm>
          <a:custGeom>
            <a:avLst/>
            <a:gdLst>
              <a:gd name="T0" fmla="*/ 14 w 31"/>
              <a:gd name="T1" fmla="*/ 6 h 29"/>
              <a:gd name="T2" fmla="*/ 15 w 31"/>
              <a:gd name="T3" fmla="*/ 6 h 29"/>
              <a:gd name="T4" fmla="*/ 15 w 31"/>
              <a:gd name="T5" fmla="*/ 3 h 29"/>
              <a:gd name="T6" fmla="*/ 15 w 31"/>
              <a:gd name="T7" fmla="*/ 0 h 29"/>
              <a:gd name="T8" fmla="*/ 17 w 31"/>
              <a:gd name="T9" fmla="*/ 0 h 29"/>
              <a:gd name="T10" fmla="*/ 20 w 31"/>
              <a:gd name="T11" fmla="*/ 1 h 29"/>
              <a:gd name="T12" fmla="*/ 21 w 31"/>
              <a:gd name="T13" fmla="*/ 2 h 29"/>
              <a:gd name="T14" fmla="*/ 24 w 31"/>
              <a:gd name="T15" fmla="*/ 3 h 29"/>
              <a:gd name="T16" fmla="*/ 27 w 31"/>
              <a:gd name="T17" fmla="*/ 6 h 29"/>
              <a:gd name="T18" fmla="*/ 30 w 31"/>
              <a:gd name="T19" fmla="*/ 9 h 29"/>
              <a:gd name="T20" fmla="*/ 28 w 31"/>
              <a:gd name="T21" fmla="*/ 12 h 29"/>
              <a:gd name="T22" fmla="*/ 26 w 31"/>
              <a:gd name="T23" fmla="*/ 14 h 29"/>
              <a:gd name="T24" fmla="*/ 24 w 31"/>
              <a:gd name="T25" fmla="*/ 15 h 29"/>
              <a:gd name="T26" fmla="*/ 23 w 31"/>
              <a:gd name="T27" fmla="*/ 15 h 29"/>
              <a:gd name="T28" fmla="*/ 18 w 31"/>
              <a:gd name="T29" fmla="*/ 16 h 29"/>
              <a:gd name="T30" fmla="*/ 14 w 31"/>
              <a:gd name="T31" fmla="*/ 17 h 29"/>
              <a:gd name="T32" fmla="*/ 14 w 31"/>
              <a:gd name="T33" fmla="*/ 21 h 29"/>
              <a:gd name="T34" fmla="*/ 12 w 31"/>
              <a:gd name="T35" fmla="*/ 24 h 29"/>
              <a:gd name="T36" fmla="*/ 12 w 31"/>
              <a:gd name="T37" fmla="*/ 26 h 29"/>
              <a:gd name="T38" fmla="*/ 11 w 31"/>
              <a:gd name="T39" fmla="*/ 28 h 29"/>
              <a:gd name="T40" fmla="*/ 10 w 31"/>
              <a:gd name="T41" fmla="*/ 28 h 29"/>
              <a:gd name="T42" fmla="*/ 9 w 31"/>
              <a:gd name="T43" fmla="*/ 28 h 29"/>
              <a:gd name="T44" fmla="*/ 7 w 31"/>
              <a:gd name="T45" fmla="*/ 25 h 29"/>
              <a:gd name="T46" fmla="*/ 3 w 31"/>
              <a:gd name="T47" fmla="*/ 21 h 29"/>
              <a:gd name="T48" fmla="*/ 1 w 31"/>
              <a:gd name="T49" fmla="*/ 15 h 29"/>
              <a:gd name="T50" fmla="*/ 1 w 31"/>
              <a:gd name="T51" fmla="*/ 12 h 29"/>
              <a:gd name="T52" fmla="*/ 0 w 31"/>
              <a:gd name="T53" fmla="*/ 11 h 29"/>
              <a:gd name="T54" fmla="*/ 2 w 31"/>
              <a:gd name="T55" fmla="*/ 10 h 29"/>
              <a:gd name="T56" fmla="*/ 3 w 31"/>
              <a:gd name="T57" fmla="*/ 9 h 29"/>
              <a:gd name="T58" fmla="*/ 3 w 31"/>
              <a:gd name="T59" fmla="*/ 7 h 29"/>
              <a:gd name="T60" fmla="*/ 3 w 31"/>
              <a:gd name="T61" fmla="*/ 6 h 29"/>
              <a:gd name="T62" fmla="*/ 9 w 31"/>
              <a:gd name="T63" fmla="*/ 6 h 29"/>
              <a:gd name="T64" fmla="*/ 12 w 31"/>
              <a:gd name="T65" fmla="*/ 6 h 29"/>
              <a:gd name="T66" fmla="*/ 14 w 31"/>
              <a:gd name="T67" fmla="*/ 6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1" h="29">
                <a:moveTo>
                  <a:pt x="14" y="6"/>
                </a:moveTo>
                <a:lnTo>
                  <a:pt x="15" y="6"/>
                </a:lnTo>
                <a:lnTo>
                  <a:pt x="15" y="3"/>
                </a:lnTo>
                <a:lnTo>
                  <a:pt x="15" y="0"/>
                </a:lnTo>
                <a:lnTo>
                  <a:pt x="17" y="0"/>
                </a:lnTo>
                <a:lnTo>
                  <a:pt x="20" y="1"/>
                </a:lnTo>
                <a:lnTo>
                  <a:pt x="21" y="2"/>
                </a:lnTo>
                <a:lnTo>
                  <a:pt x="24" y="3"/>
                </a:lnTo>
                <a:lnTo>
                  <a:pt x="27" y="6"/>
                </a:lnTo>
                <a:lnTo>
                  <a:pt x="30" y="9"/>
                </a:lnTo>
                <a:lnTo>
                  <a:pt x="28" y="12"/>
                </a:lnTo>
                <a:lnTo>
                  <a:pt x="26" y="14"/>
                </a:lnTo>
                <a:lnTo>
                  <a:pt x="24" y="15"/>
                </a:lnTo>
                <a:lnTo>
                  <a:pt x="23" y="15"/>
                </a:lnTo>
                <a:lnTo>
                  <a:pt x="18" y="16"/>
                </a:lnTo>
                <a:lnTo>
                  <a:pt x="14" y="17"/>
                </a:lnTo>
                <a:lnTo>
                  <a:pt x="14" y="21"/>
                </a:lnTo>
                <a:lnTo>
                  <a:pt x="12" y="24"/>
                </a:lnTo>
                <a:lnTo>
                  <a:pt x="12" y="26"/>
                </a:lnTo>
                <a:lnTo>
                  <a:pt x="11" y="28"/>
                </a:lnTo>
                <a:lnTo>
                  <a:pt x="10" y="28"/>
                </a:lnTo>
                <a:lnTo>
                  <a:pt x="9" y="28"/>
                </a:lnTo>
                <a:lnTo>
                  <a:pt x="7" y="25"/>
                </a:lnTo>
                <a:lnTo>
                  <a:pt x="3" y="21"/>
                </a:lnTo>
                <a:lnTo>
                  <a:pt x="1" y="15"/>
                </a:lnTo>
                <a:lnTo>
                  <a:pt x="1" y="12"/>
                </a:lnTo>
                <a:lnTo>
                  <a:pt x="0" y="11"/>
                </a:lnTo>
                <a:lnTo>
                  <a:pt x="2" y="10"/>
                </a:lnTo>
                <a:lnTo>
                  <a:pt x="3" y="9"/>
                </a:lnTo>
                <a:lnTo>
                  <a:pt x="3" y="7"/>
                </a:lnTo>
                <a:lnTo>
                  <a:pt x="3" y="6"/>
                </a:lnTo>
                <a:lnTo>
                  <a:pt x="9" y="6"/>
                </a:lnTo>
                <a:lnTo>
                  <a:pt x="12" y="6"/>
                </a:lnTo>
                <a:lnTo>
                  <a:pt x="14" y="6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00" name="Freeform 199">
            <a:extLst>
              <a:ext uri="{FF2B5EF4-FFF2-40B4-BE49-F238E27FC236}">
                <a16:creationId xmlns:a16="http://schemas.microsoft.com/office/drawing/2014/main" id="{64623FC3-303D-37F3-625E-876D4B3C97C4}"/>
              </a:ext>
            </a:extLst>
          </p:cNvPr>
          <p:cNvSpPr>
            <a:spLocks/>
          </p:cNvSpPr>
          <p:nvPr/>
        </p:nvSpPr>
        <p:spPr bwMode="auto">
          <a:xfrm>
            <a:off x="9760913" y="3840009"/>
            <a:ext cx="73025" cy="100013"/>
          </a:xfrm>
          <a:custGeom>
            <a:avLst/>
            <a:gdLst>
              <a:gd name="T0" fmla="*/ 10 w 37"/>
              <a:gd name="T1" fmla="*/ 25 h 54"/>
              <a:gd name="T2" fmla="*/ 7 w 37"/>
              <a:gd name="T3" fmla="*/ 22 h 54"/>
              <a:gd name="T4" fmla="*/ 3 w 37"/>
              <a:gd name="T5" fmla="*/ 19 h 54"/>
              <a:gd name="T6" fmla="*/ 3 w 37"/>
              <a:gd name="T7" fmla="*/ 17 h 54"/>
              <a:gd name="T8" fmla="*/ 2 w 37"/>
              <a:gd name="T9" fmla="*/ 16 h 54"/>
              <a:gd name="T10" fmla="*/ 1 w 37"/>
              <a:gd name="T11" fmla="*/ 13 h 54"/>
              <a:gd name="T12" fmla="*/ 0 w 37"/>
              <a:gd name="T13" fmla="*/ 12 h 54"/>
              <a:gd name="T14" fmla="*/ 1 w 37"/>
              <a:gd name="T15" fmla="*/ 9 h 54"/>
              <a:gd name="T16" fmla="*/ 2 w 37"/>
              <a:gd name="T17" fmla="*/ 9 h 54"/>
              <a:gd name="T18" fmla="*/ 5 w 37"/>
              <a:gd name="T19" fmla="*/ 5 h 54"/>
              <a:gd name="T20" fmla="*/ 10 w 37"/>
              <a:gd name="T21" fmla="*/ 1 h 54"/>
              <a:gd name="T22" fmla="*/ 11 w 37"/>
              <a:gd name="T23" fmla="*/ 0 h 54"/>
              <a:gd name="T24" fmla="*/ 13 w 37"/>
              <a:gd name="T25" fmla="*/ 0 h 54"/>
              <a:gd name="T26" fmla="*/ 14 w 37"/>
              <a:gd name="T27" fmla="*/ 1 h 54"/>
              <a:gd name="T28" fmla="*/ 15 w 37"/>
              <a:gd name="T29" fmla="*/ 3 h 54"/>
              <a:gd name="T30" fmla="*/ 17 w 37"/>
              <a:gd name="T31" fmla="*/ 4 h 54"/>
              <a:gd name="T32" fmla="*/ 18 w 37"/>
              <a:gd name="T33" fmla="*/ 5 h 54"/>
              <a:gd name="T34" fmla="*/ 21 w 37"/>
              <a:gd name="T35" fmla="*/ 6 h 54"/>
              <a:gd name="T36" fmla="*/ 26 w 37"/>
              <a:gd name="T37" fmla="*/ 7 h 54"/>
              <a:gd name="T38" fmla="*/ 26 w 37"/>
              <a:gd name="T39" fmla="*/ 9 h 54"/>
              <a:gd name="T40" fmla="*/ 28 w 37"/>
              <a:gd name="T41" fmla="*/ 12 h 54"/>
              <a:gd name="T42" fmla="*/ 30 w 37"/>
              <a:gd name="T43" fmla="*/ 16 h 54"/>
              <a:gd name="T44" fmla="*/ 33 w 37"/>
              <a:gd name="T45" fmla="*/ 19 h 54"/>
              <a:gd name="T46" fmla="*/ 36 w 37"/>
              <a:gd name="T47" fmla="*/ 21 h 54"/>
              <a:gd name="T48" fmla="*/ 35 w 37"/>
              <a:gd name="T49" fmla="*/ 23 h 54"/>
              <a:gd name="T50" fmla="*/ 34 w 37"/>
              <a:gd name="T51" fmla="*/ 26 h 54"/>
              <a:gd name="T52" fmla="*/ 32 w 37"/>
              <a:gd name="T53" fmla="*/ 28 h 54"/>
              <a:gd name="T54" fmla="*/ 32 w 37"/>
              <a:gd name="T55" fmla="*/ 30 h 54"/>
              <a:gd name="T56" fmla="*/ 32 w 37"/>
              <a:gd name="T57" fmla="*/ 33 h 54"/>
              <a:gd name="T58" fmla="*/ 33 w 37"/>
              <a:gd name="T59" fmla="*/ 35 h 54"/>
              <a:gd name="T60" fmla="*/ 34 w 37"/>
              <a:gd name="T61" fmla="*/ 38 h 54"/>
              <a:gd name="T62" fmla="*/ 36 w 37"/>
              <a:gd name="T63" fmla="*/ 40 h 54"/>
              <a:gd name="T64" fmla="*/ 36 w 37"/>
              <a:gd name="T65" fmla="*/ 43 h 54"/>
              <a:gd name="T66" fmla="*/ 36 w 37"/>
              <a:gd name="T67" fmla="*/ 44 h 54"/>
              <a:gd name="T68" fmla="*/ 36 w 37"/>
              <a:gd name="T69" fmla="*/ 47 h 54"/>
              <a:gd name="T70" fmla="*/ 35 w 37"/>
              <a:gd name="T71" fmla="*/ 49 h 54"/>
              <a:gd name="T72" fmla="*/ 35 w 37"/>
              <a:gd name="T73" fmla="*/ 53 h 54"/>
              <a:gd name="T74" fmla="*/ 32 w 37"/>
              <a:gd name="T75" fmla="*/ 53 h 54"/>
              <a:gd name="T76" fmla="*/ 29 w 37"/>
              <a:gd name="T77" fmla="*/ 52 h 54"/>
              <a:gd name="T78" fmla="*/ 24 w 37"/>
              <a:gd name="T79" fmla="*/ 48 h 54"/>
              <a:gd name="T80" fmla="*/ 21 w 37"/>
              <a:gd name="T81" fmla="*/ 46 h 54"/>
              <a:gd name="T82" fmla="*/ 18 w 37"/>
              <a:gd name="T83" fmla="*/ 43 h 54"/>
              <a:gd name="T84" fmla="*/ 16 w 37"/>
              <a:gd name="T85" fmla="*/ 40 h 54"/>
              <a:gd name="T86" fmla="*/ 16 w 37"/>
              <a:gd name="T87" fmla="*/ 38 h 54"/>
              <a:gd name="T88" fmla="*/ 16 w 37"/>
              <a:gd name="T89" fmla="*/ 33 h 54"/>
              <a:gd name="T90" fmla="*/ 15 w 37"/>
              <a:gd name="T91" fmla="*/ 30 h 54"/>
              <a:gd name="T92" fmla="*/ 14 w 37"/>
              <a:gd name="T93" fmla="*/ 28 h 54"/>
              <a:gd name="T94" fmla="*/ 10 w 37"/>
              <a:gd name="T95" fmla="*/ 25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7" h="54">
                <a:moveTo>
                  <a:pt x="10" y="25"/>
                </a:moveTo>
                <a:lnTo>
                  <a:pt x="7" y="22"/>
                </a:lnTo>
                <a:lnTo>
                  <a:pt x="3" y="19"/>
                </a:lnTo>
                <a:lnTo>
                  <a:pt x="3" y="17"/>
                </a:lnTo>
                <a:lnTo>
                  <a:pt x="2" y="16"/>
                </a:lnTo>
                <a:lnTo>
                  <a:pt x="1" y="13"/>
                </a:lnTo>
                <a:lnTo>
                  <a:pt x="0" y="12"/>
                </a:lnTo>
                <a:lnTo>
                  <a:pt x="1" y="9"/>
                </a:lnTo>
                <a:lnTo>
                  <a:pt x="2" y="9"/>
                </a:lnTo>
                <a:lnTo>
                  <a:pt x="5" y="5"/>
                </a:lnTo>
                <a:lnTo>
                  <a:pt x="10" y="1"/>
                </a:lnTo>
                <a:lnTo>
                  <a:pt x="11" y="0"/>
                </a:lnTo>
                <a:lnTo>
                  <a:pt x="13" y="0"/>
                </a:lnTo>
                <a:lnTo>
                  <a:pt x="14" y="1"/>
                </a:lnTo>
                <a:lnTo>
                  <a:pt x="15" y="3"/>
                </a:lnTo>
                <a:lnTo>
                  <a:pt x="17" y="4"/>
                </a:lnTo>
                <a:lnTo>
                  <a:pt x="18" y="5"/>
                </a:lnTo>
                <a:lnTo>
                  <a:pt x="21" y="6"/>
                </a:lnTo>
                <a:lnTo>
                  <a:pt x="26" y="7"/>
                </a:lnTo>
                <a:lnTo>
                  <a:pt x="26" y="9"/>
                </a:lnTo>
                <a:lnTo>
                  <a:pt x="28" y="12"/>
                </a:lnTo>
                <a:lnTo>
                  <a:pt x="30" y="16"/>
                </a:lnTo>
                <a:lnTo>
                  <a:pt x="33" y="19"/>
                </a:lnTo>
                <a:lnTo>
                  <a:pt x="36" y="21"/>
                </a:lnTo>
                <a:lnTo>
                  <a:pt x="35" y="23"/>
                </a:lnTo>
                <a:lnTo>
                  <a:pt x="34" y="26"/>
                </a:lnTo>
                <a:lnTo>
                  <a:pt x="32" y="28"/>
                </a:lnTo>
                <a:lnTo>
                  <a:pt x="32" y="30"/>
                </a:lnTo>
                <a:lnTo>
                  <a:pt x="32" y="33"/>
                </a:lnTo>
                <a:lnTo>
                  <a:pt x="33" y="35"/>
                </a:lnTo>
                <a:lnTo>
                  <a:pt x="34" y="38"/>
                </a:lnTo>
                <a:lnTo>
                  <a:pt x="36" y="40"/>
                </a:lnTo>
                <a:lnTo>
                  <a:pt x="36" y="43"/>
                </a:lnTo>
                <a:lnTo>
                  <a:pt x="36" y="44"/>
                </a:lnTo>
                <a:lnTo>
                  <a:pt x="36" y="47"/>
                </a:lnTo>
                <a:lnTo>
                  <a:pt x="35" y="49"/>
                </a:lnTo>
                <a:lnTo>
                  <a:pt x="35" y="53"/>
                </a:lnTo>
                <a:lnTo>
                  <a:pt x="32" y="53"/>
                </a:lnTo>
                <a:lnTo>
                  <a:pt x="29" y="52"/>
                </a:lnTo>
                <a:lnTo>
                  <a:pt x="24" y="48"/>
                </a:lnTo>
                <a:lnTo>
                  <a:pt x="21" y="46"/>
                </a:lnTo>
                <a:lnTo>
                  <a:pt x="18" y="43"/>
                </a:lnTo>
                <a:lnTo>
                  <a:pt x="16" y="40"/>
                </a:lnTo>
                <a:lnTo>
                  <a:pt x="16" y="38"/>
                </a:lnTo>
                <a:lnTo>
                  <a:pt x="16" y="33"/>
                </a:lnTo>
                <a:lnTo>
                  <a:pt x="15" y="30"/>
                </a:lnTo>
                <a:lnTo>
                  <a:pt x="14" y="28"/>
                </a:lnTo>
                <a:lnTo>
                  <a:pt x="10" y="25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01" name="Freeform 200">
            <a:extLst>
              <a:ext uri="{FF2B5EF4-FFF2-40B4-BE49-F238E27FC236}">
                <a16:creationId xmlns:a16="http://schemas.microsoft.com/office/drawing/2014/main" id="{A2FEF9B5-24C1-F58B-A4C2-DAFA81CDFD29}"/>
              </a:ext>
            </a:extLst>
          </p:cNvPr>
          <p:cNvSpPr>
            <a:spLocks/>
          </p:cNvSpPr>
          <p:nvPr/>
        </p:nvSpPr>
        <p:spPr bwMode="auto">
          <a:xfrm>
            <a:off x="9581525" y="4147984"/>
            <a:ext cx="52388" cy="112713"/>
          </a:xfrm>
          <a:custGeom>
            <a:avLst/>
            <a:gdLst>
              <a:gd name="T0" fmla="*/ 24 w 25"/>
              <a:gd name="T1" fmla="*/ 0 h 60"/>
              <a:gd name="T2" fmla="*/ 24 w 25"/>
              <a:gd name="T3" fmla="*/ 9 h 60"/>
              <a:gd name="T4" fmla="*/ 24 w 25"/>
              <a:gd name="T5" fmla="*/ 13 h 60"/>
              <a:gd name="T6" fmla="*/ 23 w 25"/>
              <a:gd name="T7" fmla="*/ 24 h 60"/>
              <a:gd name="T8" fmla="*/ 22 w 25"/>
              <a:gd name="T9" fmla="*/ 36 h 60"/>
              <a:gd name="T10" fmla="*/ 19 w 25"/>
              <a:gd name="T11" fmla="*/ 47 h 60"/>
              <a:gd name="T12" fmla="*/ 16 w 25"/>
              <a:gd name="T13" fmla="*/ 59 h 60"/>
              <a:gd name="T14" fmla="*/ 12 w 25"/>
              <a:gd name="T15" fmla="*/ 53 h 60"/>
              <a:gd name="T16" fmla="*/ 6 w 25"/>
              <a:gd name="T17" fmla="*/ 46 h 60"/>
              <a:gd name="T18" fmla="*/ 4 w 25"/>
              <a:gd name="T19" fmla="*/ 44 h 60"/>
              <a:gd name="T20" fmla="*/ 1 w 25"/>
              <a:gd name="T21" fmla="*/ 40 h 60"/>
              <a:gd name="T22" fmla="*/ 0 w 25"/>
              <a:gd name="T23" fmla="*/ 37 h 60"/>
              <a:gd name="T24" fmla="*/ 0 w 25"/>
              <a:gd name="T25" fmla="*/ 34 h 60"/>
              <a:gd name="T26" fmla="*/ 0 w 25"/>
              <a:gd name="T27" fmla="*/ 27 h 60"/>
              <a:gd name="T28" fmla="*/ 1 w 25"/>
              <a:gd name="T29" fmla="*/ 21 h 60"/>
              <a:gd name="T30" fmla="*/ 4 w 25"/>
              <a:gd name="T31" fmla="*/ 15 h 60"/>
              <a:gd name="T32" fmla="*/ 6 w 25"/>
              <a:gd name="T33" fmla="*/ 10 h 60"/>
              <a:gd name="T34" fmla="*/ 9 w 25"/>
              <a:gd name="T35" fmla="*/ 6 h 60"/>
              <a:gd name="T36" fmla="*/ 11 w 25"/>
              <a:gd name="T37" fmla="*/ 4 h 60"/>
              <a:gd name="T38" fmla="*/ 13 w 25"/>
              <a:gd name="T39" fmla="*/ 2 h 60"/>
              <a:gd name="T40" fmla="*/ 18 w 25"/>
              <a:gd name="T41" fmla="*/ 0 h 60"/>
              <a:gd name="T42" fmla="*/ 24 w 25"/>
              <a:gd name="T43" fmla="*/ 0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5" h="60">
                <a:moveTo>
                  <a:pt x="24" y="0"/>
                </a:moveTo>
                <a:lnTo>
                  <a:pt x="24" y="9"/>
                </a:lnTo>
                <a:lnTo>
                  <a:pt x="24" y="13"/>
                </a:lnTo>
                <a:lnTo>
                  <a:pt x="23" y="24"/>
                </a:lnTo>
                <a:lnTo>
                  <a:pt x="22" y="36"/>
                </a:lnTo>
                <a:lnTo>
                  <a:pt x="19" y="47"/>
                </a:lnTo>
                <a:lnTo>
                  <a:pt x="16" y="59"/>
                </a:lnTo>
                <a:lnTo>
                  <a:pt x="12" y="53"/>
                </a:lnTo>
                <a:lnTo>
                  <a:pt x="6" y="46"/>
                </a:lnTo>
                <a:lnTo>
                  <a:pt x="4" y="44"/>
                </a:lnTo>
                <a:lnTo>
                  <a:pt x="1" y="40"/>
                </a:lnTo>
                <a:lnTo>
                  <a:pt x="0" y="37"/>
                </a:lnTo>
                <a:lnTo>
                  <a:pt x="0" y="34"/>
                </a:lnTo>
                <a:lnTo>
                  <a:pt x="0" y="27"/>
                </a:lnTo>
                <a:lnTo>
                  <a:pt x="1" y="21"/>
                </a:lnTo>
                <a:lnTo>
                  <a:pt x="4" y="15"/>
                </a:lnTo>
                <a:lnTo>
                  <a:pt x="6" y="10"/>
                </a:lnTo>
                <a:lnTo>
                  <a:pt x="9" y="6"/>
                </a:lnTo>
                <a:lnTo>
                  <a:pt x="11" y="4"/>
                </a:lnTo>
                <a:lnTo>
                  <a:pt x="13" y="2"/>
                </a:lnTo>
                <a:lnTo>
                  <a:pt x="18" y="0"/>
                </a:lnTo>
                <a:lnTo>
                  <a:pt x="24" y="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02" name="Freeform 201">
            <a:extLst>
              <a:ext uri="{FF2B5EF4-FFF2-40B4-BE49-F238E27FC236}">
                <a16:creationId xmlns:a16="http://schemas.microsoft.com/office/drawing/2014/main" id="{814BA10B-5FB6-EFB1-BFA7-1BE67D6CC177}"/>
              </a:ext>
            </a:extLst>
          </p:cNvPr>
          <p:cNvSpPr>
            <a:spLocks/>
          </p:cNvSpPr>
          <p:nvPr/>
        </p:nvSpPr>
        <p:spPr bwMode="auto">
          <a:xfrm>
            <a:off x="9283075" y="4332134"/>
            <a:ext cx="65088" cy="69850"/>
          </a:xfrm>
          <a:custGeom>
            <a:avLst/>
            <a:gdLst>
              <a:gd name="T0" fmla="*/ 16 w 32"/>
              <a:gd name="T1" fmla="*/ 37 h 38"/>
              <a:gd name="T2" fmla="*/ 13 w 32"/>
              <a:gd name="T3" fmla="*/ 36 h 38"/>
              <a:gd name="T4" fmla="*/ 10 w 32"/>
              <a:gd name="T5" fmla="*/ 34 h 38"/>
              <a:gd name="T6" fmla="*/ 7 w 32"/>
              <a:gd name="T7" fmla="*/ 33 h 38"/>
              <a:gd name="T8" fmla="*/ 5 w 32"/>
              <a:gd name="T9" fmla="*/ 31 h 38"/>
              <a:gd name="T10" fmla="*/ 3 w 32"/>
              <a:gd name="T11" fmla="*/ 28 h 38"/>
              <a:gd name="T12" fmla="*/ 1 w 32"/>
              <a:gd name="T13" fmla="*/ 25 h 38"/>
              <a:gd name="T14" fmla="*/ 0 w 32"/>
              <a:gd name="T15" fmla="*/ 22 h 38"/>
              <a:gd name="T16" fmla="*/ 0 w 32"/>
              <a:gd name="T17" fmla="*/ 18 h 38"/>
              <a:gd name="T18" fmla="*/ 0 w 32"/>
              <a:gd name="T19" fmla="*/ 15 h 38"/>
              <a:gd name="T20" fmla="*/ 1 w 32"/>
              <a:gd name="T21" fmla="*/ 14 h 38"/>
              <a:gd name="T22" fmla="*/ 3 w 32"/>
              <a:gd name="T23" fmla="*/ 10 h 38"/>
              <a:gd name="T24" fmla="*/ 7 w 32"/>
              <a:gd name="T25" fmla="*/ 7 h 38"/>
              <a:gd name="T26" fmla="*/ 12 w 32"/>
              <a:gd name="T27" fmla="*/ 4 h 38"/>
              <a:gd name="T28" fmla="*/ 17 w 32"/>
              <a:gd name="T29" fmla="*/ 2 h 38"/>
              <a:gd name="T30" fmla="*/ 22 w 32"/>
              <a:gd name="T31" fmla="*/ 0 h 38"/>
              <a:gd name="T32" fmla="*/ 31 w 32"/>
              <a:gd name="T33" fmla="*/ 0 h 38"/>
              <a:gd name="T34" fmla="*/ 31 w 32"/>
              <a:gd name="T35" fmla="*/ 3 h 38"/>
              <a:gd name="T36" fmla="*/ 30 w 32"/>
              <a:gd name="T37" fmla="*/ 8 h 38"/>
              <a:gd name="T38" fmla="*/ 29 w 32"/>
              <a:gd name="T39" fmla="*/ 14 h 38"/>
              <a:gd name="T40" fmla="*/ 27 w 32"/>
              <a:gd name="T41" fmla="*/ 20 h 38"/>
              <a:gd name="T42" fmla="*/ 24 w 32"/>
              <a:gd name="T43" fmla="*/ 27 h 38"/>
              <a:gd name="T44" fmla="*/ 22 w 32"/>
              <a:gd name="T45" fmla="*/ 32 h 38"/>
              <a:gd name="T46" fmla="*/ 20 w 32"/>
              <a:gd name="T47" fmla="*/ 33 h 38"/>
              <a:gd name="T48" fmla="*/ 19 w 32"/>
              <a:gd name="T49" fmla="*/ 36 h 38"/>
              <a:gd name="T50" fmla="*/ 17 w 32"/>
              <a:gd name="T51" fmla="*/ 37 h 38"/>
              <a:gd name="T52" fmla="*/ 16 w 32"/>
              <a:gd name="T53" fmla="*/ 37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32" h="38">
                <a:moveTo>
                  <a:pt x="16" y="37"/>
                </a:moveTo>
                <a:lnTo>
                  <a:pt x="13" y="36"/>
                </a:lnTo>
                <a:lnTo>
                  <a:pt x="10" y="34"/>
                </a:lnTo>
                <a:lnTo>
                  <a:pt x="7" y="33"/>
                </a:lnTo>
                <a:lnTo>
                  <a:pt x="5" y="31"/>
                </a:lnTo>
                <a:lnTo>
                  <a:pt x="3" y="28"/>
                </a:lnTo>
                <a:lnTo>
                  <a:pt x="1" y="25"/>
                </a:lnTo>
                <a:lnTo>
                  <a:pt x="0" y="22"/>
                </a:lnTo>
                <a:lnTo>
                  <a:pt x="0" y="18"/>
                </a:lnTo>
                <a:lnTo>
                  <a:pt x="0" y="15"/>
                </a:lnTo>
                <a:lnTo>
                  <a:pt x="1" y="14"/>
                </a:lnTo>
                <a:lnTo>
                  <a:pt x="3" y="10"/>
                </a:lnTo>
                <a:lnTo>
                  <a:pt x="7" y="7"/>
                </a:lnTo>
                <a:lnTo>
                  <a:pt x="12" y="4"/>
                </a:lnTo>
                <a:lnTo>
                  <a:pt x="17" y="2"/>
                </a:lnTo>
                <a:lnTo>
                  <a:pt x="22" y="0"/>
                </a:lnTo>
                <a:lnTo>
                  <a:pt x="31" y="0"/>
                </a:lnTo>
                <a:lnTo>
                  <a:pt x="31" y="3"/>
                </a:lnTo>
                <a:lnTo>
                  <a:pt x="30" y="8"/>
                </a:lnTo>
                <a:lnTo>
                  <a:pt x="29" y="14"/>
                </a:lnTo>
                <a:lnTo>
                  <a:pt x="27" y="20"/>
                </a:lnTo>
                <a:lnTo>
                  <a:pt x="24" y="27"/>
                </a:lnTo>
                <a:lnTo>
                  <a:pt x="22" y="32"/>
                </a:lnTo>
                <a:lnTo>
                  <a:pt x="20" y="33"/>
                </a:lnTo>
                <a:lnTo>
                  <a:pt x="19" y="36"/>
                </a:lnTo>
                <a:lnTo>
                  <a:pt x="17" y="37"/>
                </a:lnTo>
                <a:lnTo>
                  <a:pt x="16" y="37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03" name="Freeform 202">
            <a:extLst>
              <a:ext uri="{FF2B5EF4-FFF2-40B4-BE49-F238E27FC236}">
                <a16:creationId xmlns:a16="http://schemas.microsoft.com/office/drawing/2014/main" id="{D89F8F9D-BE82-3DFD-F6F6-B1DE4443AF73}"/>
              </a:ext>
            </a:extLst>
          </p:cNvPr>
          <p:cNvSpPr>
            <a:spLocks/>
          </p:cNvSpPr>
          <p:nvPr/>
        </p:nvSpPr>
        <p:spPr bwMode="auto">
          <a:xfrm>
            <a:off x="6787525" y="3787621"/>
            <a:ext cx="80963" cy="33338"/>
          </a:xfrm>
          <a:custGeom>
            <a:avLst/>
            <a:gdLst>
              <a:gd name="T0" fmla="*/ 17 w 40"/>
              <a:gd name="T1" fmla="*/ 4 h 17"/>
              <a:gd name="T2" fmla="*/ 13 w 40"/>
              <a:gd name="T3" fmla="*/ 2 h 17"/>
              <a:gd name="T4" fmla="*/ 8 w 40"/>
              <a:gd name="T5" fmla="*/ 1 h 17"/>
              <a:gd name="T6" fmla="*/ 4 w 40"/>
              <a:gd name="T7" fmla="*/ 0 h 17"/>
              <a:gd name="T8" fmla="*/ 3 w 40"/>
              <a:gd name="T9" fmla="*/ 0 h 17"/>
              <a:gd name="T10" fmla="*/ 0 w 40"/>
              <a:gd name="T11" fmla="*/ 0 h 17"/>
              <a:gd name="T12" fmla="*/ 1 w 40"/>
              <a:gd name="T13" fmla="*/ 2 h 17"/>
              <a:gd name="T14" fmla="*/ 3 w 40"/>
              <a:gd name="T15" fmla="*/ 4 h 17"/>
              <a:gd name="T16" fmla="*/ 8 w 40"/>
              <a:gd name="T17" fmla="*/ 8 h 17"/>
              <a:gd name="T18" fmla="*/ 14 w 40"/>
              <a:gd name="T19" fmla="*/ 11 h 17"/>
              <a:gd name="T20" fmla="*/ 19 w 40"/>
              <a:gd name="T21" fmla="*/ 13 h 17"/>
              <a:gd name="T22" fmla="*/ 25 w 40"/>
              <a:gd name="T23" fmla="*/ 16 h 17"/>
              <a:gd name="T24" fmla="*/ 31 w 40"/>
              <a:gd name="T25" fmla="*/ 13 h 17"/>
              <a:gd name="T26" fmla="*/ 35 w 40"/>
              <a:gd name="T27" fmla="*/ 13 h 17"/>
              <a:gd name="T28" fmla="*/ 37 w 40"/>
              <a:gd name="T29" fmla="*/ 11 h 17"/>
              <a:gd name="T30" fmla="*/ 39 w 40"/>
              <a:gd name="T31" fmla="*/ 10 h 17"/>
              <a:gd name="T32" fmla="*/ 37 w 40"/>
              <a:gd name="T33" fmla="*/ 8 h 17"/>
              <a:gd name="T34" fmla="*/ 36 w 40"/>
              <a:gd name="T35" fmla="*/ 4 h 17"/>
              <a:gd name="T36" fmla="*/ 34 w 40"/>
              <a:gd name="T37" fmla="*/ 2 h 17"/>
              <a:gd name="T38" fmla="*/ 31 w 40"/>
              <a:gd name="T39" fmla="*/ 1 h 17"/>
              <a:gd name="T40" fmla="*/ 28 w 40"/>
              <a:gd name="T41" fmla="*/ 1 h 17"/>
              <a:gd name="T42" fmla="*/ 23 w 40"/>
              <a:gd name="T43" fmla="*/ 2 h 17"/>
              <a:gd name="T44" fmla="*/ 17 w 40"/>
              <a:gd name="T45" fmla="*/ 4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40" h="17">
                <a:moveTo>
                  <a:pt x="17" y="4"/>
                </a:moveTo>
                <a:lnTo>
                  <a:pt x="13" y="2"/>
                </a:lnTo>
                <a:lnTo>
                  <a:pt x="8" y="1"/>
                </a:lnTo>
                <a:lnTo>
                  <a:pt x="4" y="0"/>
                </a:lnTo>
                <a:lnTo>
                  <a:pt x="3" y="0"/>
                </a:lnTo>
                <a:lnTo>
                  <a:pt x="0" y="0"/>
                </a:lnTo>
                <a:lnTo>
                  <a:pt x="1" y="2"/>
                </a:lnTo>
                <a:lnTo>
                  <a:pt x="3" y="4"/>
                </a:lnTo>
                <a:lnTo>
                  <a:pt x="8" y="8"/>
                </a:lnTo>
                <a:lnTo>
                  <a:pt x="14" y="11"/>
                </a:lnTo>
                <a:lnTo>
                  <a:pt x="19" y="13"/>
                </a:lnTo>
                <a:lnTo>
                  <a:pt x="25" y="16"/>
                </a:lnTo>
                <a:lnTo>
                  <a:pt x="31" y="13"/>
                </a:lnTo>
                <a:lnTo>
                  <a:pt x="35" y="13"/>
                </a:lnTo>
                <a:lnTo>
                  <a:pt x="37" y="11"/>
                </a:lnTo>
                <a:lnTo>
                  <a:pt x="39" y="10"/>
                </a:lnTo>
                <a:lnTo>
                  <a:pt x="37" y="8"/>
                </a:lnTo>
                <a:lnTo>
                  <a:pt x="36" y="4"/>
                </a:lnTo>
                <a:lnTo>
                  <a:pt x="34" y="2"/>
                </a:lnTo>
                <a:lnTo>
                  <a:pt x="31" y="1"/>
                </a:lnTo>
                <a:lnTo>
                  <a:pt x="28" y="1"/>
                </a:lnTo>
                <a:lnTo>
                  <a:pt x="23" y="2"/>
                </a:lnTo>
                <a:lnTo>
                  <a:pt x="17" y="4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04" name="Freeform 203">
            <a:extLst>
              <a:ext uri="{FF2B5EF4-FFF2-40B4-BE49-F238E27FC236}">
                <a16:creationId xmlns:a16="http://schemas.microsoft.com/office/drawing/2014/main" id="{B26A092B-74D1-142F-C853-7B64AC334D42}"/>
              </a:ext>
            </a:extLst>
          </p:cNvPr>
          <p:cNvSpPr>
            <a:spLocks/>
          </p:cNvSpPr>
          <p:nvPr/>
        </p:nvSpPr>
        <p:spPr bwMode="auto">
          <a:xfrm>
            <a:off x="6203325" y="3627284"/>
            <a:ext cx="34925" cy="31750"/>
          </a:xfrm>
          <a:custGeom>
            <a:avLst/>
            <a:gdLst>
              <a:gd name="T0" fmla="*/ 14 w 17"/>
              <a:gd name="T1" fmla="*/ 9 h 17"/>
              <a:gd name="T2" fmla="*/ 12 w 17"/>
              <a:gd name="T3" fmla="*/ 4 h 17"/>
              <a:gd name="T4" fmla="*/ 10 w 17"/>
              <a:gd name="T5" fmla="*/ 2 h 17"/>
              <a:gd name="T6" fmla="*/ 8 w 17"/>
              <a:gd name="T7" fmla="*/ 0 h 17"/>
              <a:gd name="T8" fmla="*/ 6 w 17"/>
              <a:gd name="T9" fmla="*/ 0 h 17"/>
              <a:gd name="T10" fmla="*/ 4 w 17"/>
              <a:gd name="T11" fmla="*/ 0 h 17"/>
              <a:gd name="T12" fmla="*/ 3 w 17"/>
              <a:gd name="T13" fmla="*/ 2 h 17"/>
              <a:gd name="T14" fmla="*/ 1 w 17"/>
              <a:gd name="T15" fmla="*/ 4 h 17"/>
              <a:gd name="T16" fmla="*/ 0 w 17"/>
              <a:gd name="T17" fmla="*/ 10 h 17"/>
              <a:gd name="T18" fmla="*/ 0 w 17"/>
              <a:gd name="T19" fmla="*/ 16 h 17"/>
              <a:gd name="T20" fmla="*/ 16 w 17"/>
              <a:gd name="T21" fmla="*/ 16 h 17"/>
              <a:gd name="T22" fmla="*/ 14 w 17"/>
              <a:gd name="T23" fmla="*/ 10 h 17"/>
              <a:gd name="T24" fmla="*/ 12 w 17"/>
              <a:gd name="T25" fmla="*/ 6 h 17"/>
              <a:gd name="T26" fmla="*/ 9 w 17"/>
              <a:gd name="T27" fmla="*/ 3 h 17"/>
              <a:gd name="T28" fmla="*/ 14 w 17"/>
              <a:gd name="T29" fmla="*/ 9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7" h="17">
                <a:moveTo>
                  <a:pt x="14" y="9"/>
                </a:moveTo>
                <a:lnTo>
                  <a:pt x="12" y="4"/>
                </a:lnTo>
                <a:lnTo>
                  <a:pt x="10" y="2"/>
                </a:lnTo>
                <a:lnTo>
                  <a:pt x="8" y="0"/>
                </a:lnTo>
                <a:lnTo>
                  <a:pt x="6" y="0"/>
                </a:lnTo>
                <a:lnTo>
                  <a:pt x="4" y="0"/>
                </a:lnTo>
                <a:lnTo>
                  <a:pt x="3" y="2"/>
                </a:lnTo>
                <a:lnTo>
                  <a:pt x="1" y="4"/>
                </a:lnTo>
                <a:lnTo>
                  <a:pt x="0" y="10"/>
                </a:lnTo>
                <a:lnTo>
                  <a:pt x="0" y="16"/>
                </a:lnTo>
                <a:lnTo>
                  <a:pt x="16" y="16"/>
                </a:lnTo>
                <a:lnTo>
                  <a:pt x="14" y="10"/>
                </a:lnTo>
                <a:lnTo>
                  <a:pt x="12" y="6"/>
                </a:lnTo>
                <a:lnTo>
                  <a:pt x="9" y="3"/>
                </a:lnTo>
                <a:lnTo>
                  <a:pt x="14" y="9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05" name="Freeform 204">
            <a:extLst>
              <a:ext uri="{FF2B5EF4-FFF2-40B4-BE49-F238E27FC236}">
                <a16:creationId xmlns:a16="http://schemas.microsoft.com/office/drawing/2014/main" id="{3325A377-7575-FD72-F25E-B5FC7F515B8D}"/>
              </a:ext>
            </a:extLst>
          </p:cNvPr>
          <p:cNvSpPr>
            <a:spLocks/>
          </p:cNvSpPr>
          <p:nvPr/>
        </p:nvSpPr>
        <p:spPr bwMode="auto">
          <a:xfrm>
            <a:off x="5635000" y="2723996"/>
            <a:ext cx="231775" cy="109538"/>
          </a:xfrm>
          <a:custGeom>
            <a:avLst/>
            <a:gdLst>
              <a:gd name="T0" fmla="*/ 2 w 115"/>
              <a:gd name="T1" fmla="*/ 13 h 58"/>
              <a:gd name="T2" fmla="*/ 8 w 115"/>
              <a:gd name="T3" fmla="*/ 6 h 58"/>
              <a:gd name="T4" fmla="*/ 10 w 115"/>
              <a:gd name="T5" fmla="*/ 3 h 58"/>
              <a:gd name="T6" fmla="*/ 14 w 115"/>
              <a:gd name="T7" fmla="*/ 0 h 58"/>
              <a:gd name="T8" fmla="*/ 19 w 115"/>
              <a:gd name="T9" fmla="*/ 0 h 58"/>
              <a:gd name="T10" fmla="*/ 23 w 115"/>
              <a:gd name="T11" fmla="*/ 3 h 58"/>
              <a:gd name="T12" fmla="*/ 30 w 115"/>
              <a:gd name="T13" fmla="*/ 6 h 58"/>
              <a:gd name="T14" fmla="*/ 28 w 115"/>
              <a:gd name="T15" fmla="*/ 13 h 58"/>
              <a:gd name="T16" fmla="*/ 28 w 115"/>
              <a:gd name="T17" fmla="*/ 17 h 58"/>
              <a:gd name="T18" fmla="*/ 37 w 115"/>
              <a:gd name="T19" fmla="*/ 13 h 58"/>
              <a:gd name="T20" fmla="*/ 45 w 115"/>
              <a:gd name="T21" fmla="*/ 8 h 58"/>
              <a:gd name="T22" fmla="*/ 50 w 115"/>
              <a:gd name="T23" fmla="*/ 10 h 58"/>
              <a:gd name="T24" fmla="*/ 69 w 115"/>
              <a:gd name="T25" fmla="*/ 5 h 58"/>
              <a:gd name="T26" fmla="*/ 84 w 115"/>
              <a:gd name="T27" fmla="*/ 0 h 58"/>
              <a:gd name="T28" fmla="*/ 90 w 115"/>
              <a:gd name="T29" fmla="*/ 0 h 58"/>
              <a:gd name="T30" fmla="*/ 98 w 115"/>
              <a:gd name="T31" fmla="*/ 4 h 58"/>
              <a:gd name="T32" fmla="*/ 109 w 115"/>
              <a:gd name="T33" fmla="*/ 14 h 58"/>
              <a:gd name="T34" fmla="*/ 114 w 115"/>
              <a:gd name="T35" fmla="*/ 27 h 58"/>
              <a:gd name="T36" fmla="*/ 107 w 115"/>
              <a:gd name="T37" fmla="*/ 28 h 58"/>
              <a:gd name="T38" fmla="*/ 101 w 115"/>
              <a:gd name="T39" fmla="*/ 31 h 58"/>
              <a:gd name="T40" fmla="*/ 91 w 115"/>
              <a:gd name="T41" fmla="*/ 37 h 58"/>
              <a:gd name="T42" fmla="*/ 81 w 115"/>
              <a:gd name="T43" fmla="*/ 44 h 58"/>
              <a:gd name="T44" fmla="*/ 76 w 115"/>
              <a:gd name="T45" fmla="*/ 46 h 58"/>
              <a:gd name="T46" fmla="*/ 69 w 115"/>
              <a:gd name="T47" fmla="*/ 46 h 58"/>
              <a:gd name="T48" fmla="*/ 65 w 115"/>
              <a:gd name="T49" fmla="*/ 46 h 58"/>
              <a:gd name="T50" fmla="*/ 63 w 115"/>
              <a:gd name="T51" fmla="*/ 47 h 58"/>
              <a:gd name="T52" fmla="*/ 63 w 115"/>
              <a:gd name="T53" fmla="*/ 52 h 58"/>
              <a:gd name="T54" fmla="*/ 57 w 115"/>
              <a:gd name="T55" fmla="*/ 56 h 58"/>
              <a:gd name="T56" fmla="*/ 47 w 115"/>
              <a:gd name="T57" fmla="*/ 57 h 58"/>
              <a:gd name="T58" fmla="*/ 31 w 115"/>
              <a:gd name="T59" fmla="*/ 53 h 58"/>
              <a:gd name="T60" fmla="*/ 15 w 115"/>
              <a:gd name="T61" fmla="*/ 49 h 58"/>
              <a:gd name="T62" fmla="*/ 11 w 115"/>
              <a:gd name="T63" fmla="*/ 46 h 58"/>
              <a:gd name="T64" fmla="*/ 21 w 115"/>
              <a:gd name="T65" fmla="*/ 40 h 58"/>
              <a:gd name="T66" fmla="*/ 15 w 115"/>
              <a:gd name="T67" fmla="*/ 36 h 58"/>
              <a:gd name="T68" fmla="*/ 5 w 115"/>
              <a:gd name="T69" fmla="*/ 32 h 58"/>
              <a:gd name="T70" fmla="*/ 2 w 115"/>
              <a:gd name="T71" fmla="*/ 26 h 58"/>
              <a:gd name="T72" fmla="*/ 12 w 115"/>
              <a:gd name="T73" fmla="*/ 20 h 58"/>
              <a:gd name="T74" fmla="*/ 1 w 115"/>
              <a:gd name="T75" fmla="*/ 17 h 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15" h="58">
                <a:moveTo>
                  <a:pt x="0" y="14"/>
                </a:moveTo>
                <a:lnTo>
                  <a:pt x="2" y="13"/>
                </a:lnTo>
                <a:lnTo>
                  <a:pt x="4" y="10"/>
                </a:lnTo>
                <a:lnTo>
                  <a:pt x="8" y="6"/>
                </a:lnTo>
                <a:lnTo>
                  <a:pt x="9" y="4"/>
                </a:lnTo>
                <a:lnTo>
                  <a:pt x="10" y="3"/>
                </a:lnTo>
                <a:lnTo>
                  <a:pt x="12" y="2"/>
                </a:lnTo>
                <a:lnTo>
                  <a:pt x="14" y="0"/>
                </a:lnTo>
                <a:lnTo>
                  <a:pt x="17" y="0"/>
                </a:lnTo>
                <a:lnTo>
                  <a:pt x="19" y="0"/>
                </a:lnTo>
                <a:lnTo>
                  <a:pt x="21" y="1"/>
                </a:lnTo>
                <a:lnTo>
                  <a:pt x="23" y="3"/>
                </a:lnTo>
                <a:lnTo>
                  <a:pt x="26" y="5"/>
                </a:lnTo>
                <a:lnTo>
                  <a:pt x="30" y="6"/>
                </a:lnTo>
                <a:lnTo>
                  <a:pt x="28" y="10"/>
                </a:lnTo>
                <a:lnTo>
                  <a:pt x="28" y="13"/>
                </a:lnTo>
                <a:lnTo>
                  <a:pt x="27" y="17"/>
                </a:lnTo>
                <a:lnTo>
                  <a:pt x="28" y="17"/>
                </a:lnTo>
                <a:lnTo>
                  <a:pt x="31" y="17"/>
                </a:lnTo>
                <a:lnTo>
                  <a:pt x="37" y="13"/>
                </a:lnTo>
                <a:lnTo>
                  <a:pt x="44" y="5"/>
                </a:lnTo>
                <a:lnTo>
                  <a:pt x="45" y="8"/>
                </a:lnTo>
                <a:lnTo>
                  <a:pt x="46" y="10"/>
                </a:lnTo>
                <a:lnTo>
                  <a:pt x="50" y="10"/>
                </a:lnTo>
                <a:lnTo>
                  <a:pt x="57" y="9"/>
                </a:lnTo>
                <a:lnTo>
                  <a:pt x="69" y="5"/>
                </a:lnTo>
                <a:lnTo>
                  <a:pt x="79" y="1"/>
                </a:lnTo>
                <a:lnTo>
                  <a:pt x="84" y="0"/>
                </a:lnTo>
                <a:lnTo>
                  <a:pt x="87" y="0"/>
                </a:lnTo>
                <a:lnTo>
                  <a:pt x="90" y="0"/>
                </a:lnTo>
                <a:lnTo>
                  <a:pt x="95" y="1"/>
                </a:lnTo>
                <a:lnTo>
                  <a:pt x="98" y="4"/>
                </a:lnTo>
                <a:lnTo>
                  <a:pt x="102" y="7"/>
                </a:lnTo>
                <a:lnTo>
                  <a:pt x="109" y="14"/>
                </a:lnTo>
                <a:lnTo>
                  <a:pt x="114" y="20"/>
                </a:lnTo>
                <a:lnTo>
                  <a:pt x="114" y="27"/>
                </a:lnTo>
                <a:lnTo>
                  <a:pt x="110" y="28"/>
                </a:lnTo>
                <a:lnTo>
                  <a:pt x="107" y="28"/>
                </a:lnTo>
                <a:lnTo>
                  <a:pt x="103" y="28"/>
                </a:lnTo>
                <a:lnTo>
                  <a:pt x="101" y="31"/>
                </a:lnTo>
                <a:lnTo>
                  <a:pt x="96" y="33"/>
                </a:lnTo>
                <a:lnTo>
                  <a:pt x="91" y="37"/>
                </a:lnTo>
                <a:lnTo>
                  <a:pt x="87" y="41"/>
                </a:lnTo>
                <a:lnTo>
                  <a:pt x="81" y="44"/>
                </a:lnTo>
                <a:lnTo>
                  <a:pt x="79" y="45"/>
                </a:lnTo>
                <a:lnTo>
                  <a:pt x="76" y="46"/>
                </a:lnTo>
                <a:lnTo>
                  <a:pt x="72" y="46"/>
                </a:lnTo>
                <a:lnTo>
                  <a:pt x="69" y="46"/>
                </a:lnTo>
                <a:lnTo>
                  <a:pt x="66" y="46"/>
                </a:lnTo>
                <a:lnTo>
                  <a:pt x="65" y="46"/>
                </a:lnTo>
                <a:lnTo>
                  <a:pt x="60" y="44"/>
                </a:lnTo>
                <a:lnTo>
                  <a:pt x="63" y="47"/>
                </a:lnTo>
                <a:lnTo>
                  <a:pt x="66" y="50"/>
                </a:lnTo>
                <a:lnTo>
                  <a:pt x="63" y="52"/>
                </a:lnTo>
                <a:lnTo>
                  <a:pt x="60" y="54"/>
                </a:lnTo>
                <a:lnTo>
                  <a:pt x="57" y="56"/>
                </a:lnTo>
                <a:lnTo>
                  <a:pt x="54" y="56"/>
                </a:lnTo>
                <a:lnTo>
                  <a:pt x="47" y="57"/>
                </a:lnTo>
                <a:lnTo>
                  <a:pt x="39" y="55"/>
                </a:lnTo>
                <a:lnTo>
                  <a:pt x="31" y="53"/>
                </a:lnTo>
                <a:lnTo>
                  <a:pt x="23" y="51"/>
                </a:lnTo>
                <a:lnTo>
                  <a:pt x="15" y="49"/>
                </a:lnTo>
                <a:lnTo>
                  <a:pt x="9" y="49"/>
                </a:lnTo>
                <a:lnTo>
                  <a:pt x="11" y="46"/>
                </a:lnTo>
                <a:lnTo>
                  <a:pt x="15" y="44"/>
                </a:lnTo>
                <a:lnTo>
                  <a:pt x="21" y="40"/>
                </a:lnTo>
                <a:lnTo>
                  <a:pt x="18" y="38"/>
                </a:lnTo>
                <a:lnTo>
                  <a:pt x="15" y="36"/>
                </a:lnTo>
                <a:lnTo>
                  <a:pt x="10" y="33"/>
                </a:lnTo>
                <a:lnTo>
                  <a:pt x="5" y="32"/>
                </a:lnTo>
                <a:lnTo>
                  <a:pt x="0" y="28"/>
                </a:lnTo>
                <a:lnTo>
                  <a:pt x="2" y="26"/>
                </a:lnTo>
                <a:lnTo>
                  <a:pt x="6" y="24"/>
                </a:lnTo>
                <a:lnTo>
                  <a:pt x="12" y="20"/>
                </a:lnTo>
                <a:lnTo>
                  <a:pt x="5" y="17"/>
                </a:lnTo>
                <a:lnTo>
                  <a:pt x="1" y="17"/>
                </a:lnTo>
                <a:lnTo>
                  <a:pt x="0" y="14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06" name="Freeform 205">
            <a:extLst>
              <a:ext uri="{FF2B5EF4-FFF2-40B4-BE49-F238E27FC236}">
                <a16:creationId xmlns:a16="http://schemas.microsoft.com/office/drawing/2014/main" id="{BC691742-F000-3D4A-0715-966106576DEB}"/>
              </a:ext>
            </a:extLst>
          </p:cNvPr>
          <p:cNvSpPr>
            <a:spLocks/>
          </p:cNvSpPr>
          <p:nvPr/>
        </p:nvSpPr>
        <p:spPr bwMode="auto">
          <a:xfrm>
            <a:off x="6339850" y="2333471"/>
            <a:ext cx="261938" cy="100013"/>
          </a:xfrm>
          <a:custGeom>
            <a:avLst/>
            <a:gdLst>
              <a:gd name="T0" fmla="*/ 7 w 130"/>
              <a:gd name="T1" fmla="*/ 22 h 54"/>
              <a:gd name="T2" fmla="*/ 4 w 130"/>
              <a:gd name="T3" fmla="*/ 18 h 54"/>
              <a:gd name="T4" fmla="*/ 1 w 130"/>
              <a:gd name="T5" fmla="*/ 12 h 54"/>
              <a:gd name="T6" fmla="*/ 0 w 130"/>
              <a:gd name="T7" fmla="*/ 6 h 54"/>
              <a:gd name="T8" fmla="*/ 3 w 130"/>
              <a:gd name="T9" fmla="*/ 3 h 54"/>
              <a:gd name="T10" fmla="*/ 6 w 130"/>
              <a:gd name="T11" fmla="*/ 2 h 54"/>
              <a:gd name="T12" fmla="*/ 13 w 130"/>
              <a:gd name="T13" fmla="*/ 2 h 54"/>
              <a:gd name="T14" fmla="*/ 24 w 130"/>
              <a:gd name="T15" fmla="*/ 3 h 54"/>
              <a:gd name="T16" fmla="*/ 33 w 130"/>
              <a:gd name="T17" fmla="*/ 5 h 54"/>
              <a:gd name="T18" fmla="*/ 46 w 130"/>
              <a:gd name="T19" fmla="*/ 9 h 54"/>
              <a:gd name="T20" fmla="*/ 47 w 130"/>
              <a:gd name="T21" fmla="*/ 8 h 54"/>
              <a:gd name="T22" fmla="*/ 47 w 130"/>
              <a:gd name="T23" fmla="*/ 3 h 54"/>
              <a:gd name="T24" fmla="*/ 52 w 130"/>
              <a:gd name="T25" fmla="*/ 0 h 54"/>
              <a:gd name="T26" fmla="*/ 56 w 130"/>
              <a:gd name="T27" fmla="*/ 0 h 54"/>
              <a:gd name="T28" fmla="*/ 61 w 130"/>
              <a:gd name="T29" fmla="*/ 3 h 54"/>
              <a:gd name="T30" fmla="*/ 66 w 130"/>
              <a:gd name="T31" fmla="*/ 4 h 54"/>
              <a:gd name="T32" fmla="*/ 69 w 130"/>
              <a:gd name="T33" fmla="*/ 8 h 54"/>
              <a:gd name="T34" fmla="*/ 72 w 130"/>
              <a:gd name="T35" fmla="*/ 12 h 54"/>
              <a:gd name="T36" fmla="*/ 79 w 130"/>
              <a:gd name="T37" fmla="*/ 13 h 54"/>
              <a:gd name="T38" fmla="*/ 89 w 130"/>
              <a:gd name="T39" fmla="*/ 14 h 54"/>
              <a:gd name="T40" fmla="*/ 107 w 130"/>
              <a:gd name="T41" fmla="*/ 21 h 54"/>
              <a:gd name="T42" fmla="*/ 120 w 130"/>
              <a:gd name="T43" fmla="*/ 27 h 54"/>
              <a:gd name="T44" fmla="*/ 127 w 130"/>
              <a:gd name="T45" fmla="*/ 32 h 54"/>
              <a:gd name="T46" fmla="*/ 122 w 130"/>
              <a:gd name="T47" fmla="*/ 39 h 54"/>
              <a:gd name="T48" fmla="*/ 119 w 130"/>
              <a:gd name="T49" fmla="*/ 40 h 54"/>
              <a:gd name="T50" fmla="*/ 112 w 130"/>
              <a:gd name="T51" fmla="*/ 40 h 54"/>
              <a:gd name="T52" fmla="*/ 104 w 130"/>
              <a:gd name="T53" fmla="*/ 36 h 54"/>
              <a:gd name="T54" fmla="*/ 99 w 130"/>
              <a:gd name="T55" fmla="*/ 33 h 54"/>
              <a:gd name="T56" fmla="*/ 92 w 130"/>
              <a:gd name="T57" fmla="*/ 25 h 54"/>
              <a:gd name="T58" fmla="*/ 86 w 130"/>
              <a:gd name="T59" fmla="*/ 19 h 54"/>
              <a:gd name="T60" fmla="*/ 82 w 130"/>
              <a:gd name="T61" fmla="*/ 17 h 54"/>
              <a:gd name="T62" fmla="*/ 76 w 130"/>
              <a:gd name="T63" fmla="*/ 17 h 54"/>
              <a:gd name="T64" fmla="*/ 72 w 130"/>
              <a:gd name="T65" fmla="*/ 21 h 54"/>
              <a:gd name="T66" fmla="*/ 72 w 130"/>
              <a:gd name="T67" fmla="*/ 26 h 54"/>
              <a:gd name="T68" fmla="*/ 73 w 130"/>
              <a:gd name="T69" fmla="*/ 36 h 54"/>
              <a:gd name="T70" fmla="*/ 69 w 130"/>
              <a:gd name="T71" fmla="*/ 39 h 54"/>
              <a:gd name="T72" fmla="*/ 65 w 130"/>
              <a:gd name="T73" fmla="*/ 45 h 54"/>
              <a:gd name="T74" fmla="*/ 62 w 130"/>
              <a:gd name="T75" fmla="*/ 49 h 54"/>
              <a:gd name="T76" fmla="*/ 59 w 130"/>
              <a:gd name="T77" fmla="*/ 53 h 54"/>
              <a:gd name="T78" fmla="*/ 53 w 130"/>
              <a:gd name="T79" fmla="*/ 53 h 54"/>
              <a:gd name="T80" fmla="*/ 47 w 130"/>
              <a:gd name="T81" fmla="*/ 49 h 54"/>
              <a:gd name="T82" fmla="*/ 40 w 130"/>
              <a:gd name="T83" fmla="*/ 45 h 54"/>
              <a:gd name="T84" fmla="*/ 33 w 130"/>
              <a:gd name="T85" fmla="*/ 38 h 54"/>
              <a:gd name="T86" fmla="*/ 25 w 130"/>
              <a:gd name="T87" fmla="*/ 29 h 54"/>
              <a:gd name="T88" fmla="*/ 19 w 130"/>
              <a:gd name="T89" fmla="*/ 25 h 54"/>
              <a:gd name="T90" fmla="*/ 13 w 130"/>
              <a:gd name="T91" fmla="*/ 22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30" h="54">
                <a:moveTo>
                  <a:pt x="9" y="22"/>
                </a:moveTo>
                <a:lnTo>
                  <a:pt x="7" y="22"/>
                </a:lnTo>
                <a:lnTo>
                  <a:pt x="6" y="20"/>
                </a:lnTo>
                <a:lnTo>
                  <a:pt x="4" y="18"/>
                </a:lnTo>
                <a:lnTo>
                  <a:pt x="3" y="16"/>
                </a:lnTo>
                <a:lnTo>
                  <a:pt x="1" y="12"/>
                </a:lnTo>
                <a:lnTo>
                  <a:pt x="0" y="9"/>
                </a:lnTo>
                <a:lnTo>
                  <a:pt x="0" y="6"/>
                </a:lnTo>
                <a:lnTo>
                  <a:pt x="1" y="4"/>
                </a:lnTo>
                <a:lnTo>
                  <a:pt x="3" y="3"/>
                </a:lnTo>
                <a:lnTo>
                  <a:pt x="4" y="3"/>
                </a:lnTo>
                <a:lnTo>
                  <a:pt x="6" y="2"/>
                </a:lnTo>
                <a:lnTo>
                  <a:pt x="8" y="2"/>
                </a:lnTo>
                <a:lnTo>
                  <a:pt x="13" y="2"/>
                </a:lnTo>
                <a:lnTo>
                  <a:pt x="19" y="2"/>
                </a:lnTo>
                <a:lnTo>
                  <a:pt x="24" y="3"/>
                </a:lnTo>
                <a:lnTo>
                  <a:pt x="29" y="4"/>
                </a:lnTo>
                <a:lnTo>
                  <a:pt x="33" y="5"/>
                </a:lnTo>
                <a:lnTo>
                  <a:pt x="43" y="9"/>
                </a:lnTo>
                <a:lnTo>
                  <a:pt x="46" y="9"/>
                </a:lnTo>
                <a:lnTo>
                  <a:pt x="49" y="11"/>
                </a:lnTo>
                <a:lnTo>
                  <a:pt x="47" y="8"/>
                </a:lnTo>
                <a:lnTo>
                  <a:pt x="46" y="5"/>
                </a:lnTo>
                <a:lnTo>
                  <a:pt x="47" y="3"/>
                </a:lnTo>
                <a:lnTo>
                  <a:pt x="49" y="2"/>
                </a:lnTo>
                <a:lnTo>
                  <a:pt x="52" y="0"/>
                </a:lnTo>
                <a:lnTo>
                  <a:pt x="55" y="0"/>
                </a:lnTo>
                <a:lnTo>
                  <a:pt x="56" y="0"/>
                </a:lnTo>
                <a:lnTo>
                  <a:pt x="58" y="0"/>
                </a:lnTo>
                <a:lnTo>
                  <a:pt x="61" y="3"/>
                </a:lnTo>
                <a:lnTo>
                  <a:pt x="65" y="4"/>
                </a:lnTo>
                <a:lnTo>
                  <a:pt x="66" y="4"/>
                </a:lnTo>
                <a:lnTo>
                  <a:pt x="68" y="4"/>
                </a:lnTo>
                <a:lnTo>
                  <a:pt x="69" y="8"/>
                </a:lnTo>
                <a:lnTo>
                  <a:pt x="70" y="11"/>
                </a:lnTo>
                <a:lnTo>
                  <a:pt x="72" y="12"/>
                </a:lnTo>
                <a:lnTo>
                  <a:pt x="74" y="13"/>
                </a:lnTo>
                <a:lnTo>
                  <a:pt x="79" y="13"/>
                </a:lnTo>
                <a:lnTo>
                  <a:pt x="84" y="13"/>
                </a:lnTo>
                <a:lnTo>
                  <a:pt x="89" y="14"/>
                </a:lnTo>
                <a:lnTo>
                  <a:pt x="93" y="16"/>
                </a:lnTo>
                <a:lnTo>
                  <a:pt x="107" y="21"/>
                </a:lnTo>
                <a:lnTo>
                  <a:pt x="114" y="25"/>
                </a:lnTo>
                <a:lnTo>
                  <a:pt x="120" y="27"/>
                </a:lnTo>
                <a:lnTo>
                  <a:pt x="125" y="31"/>
                </a:lnTo>
                <a:lnTo>
                  <a:pt x="127" y="32"/>
                </a:lnTo>
                <a:lnTo>
                  <a:pt x="129" y="34"/>
                </a:lnTo>
                <a:lnTo>
                  <a:pt x="122" y="39"/>
                </a:lnTo>
                <a:lnTo>
                  <a:pt x="120" y="39"/>
                </a:lnTo>
                <a:lnTo>
                  <a:pt x="119" y="40"/>
                </a:lnTo>
                <a:lnTo>
                  <a:pt x="115" y="40"/>
                </a:lnTo>
                <a:lnTo>
                  <a:pt x="112" y="40"/>
                </a:lnTo>
                <a:lnTo>
                  <a:pt x="109" y="39"/>
                </a:lnTo>
                <a:lnTo>
                  <a:pt x="104" y="36"/>
                </a:lnTo>
                <a:lnTo>
                  <a:pt x="102" y="35"/>
                </a:lnTo>
                <a:lnTo>
                  <a:pt x="99" y="33"/>
                </a:lnTo>
                <a:lnTo>
                  <a:pt x="95" y="29"/>
                </a:lnTo>
                <a:lnTo>
                  <a:pt x="92" y="25"/>
                </a:lnTo>
                <a:lnTo>
                  <a:pt x="89" y="21"/>
                </a:lnTo>
                <a:lnTo>
                  <a:pt x="86" y="19"/>
                </a:lnTo>
                <a:lnTo>
                  <a:pt x="84" y="18"/>
                </a:lnTo>
                <a:lnTo>
                  <a:pt x="82" y="17"/>
                </a:lnTo>
                <a:lnTo>
                  <a:pt x="79" y="17"/>
                </a:lnTo>
                <a:lnTo>
                  <a:pt x="76" y="17"/>
                </a:lnTo>
                <a:lnTo>
                  <a:pt x="74" y="19"/>
                </a:lnTo>
                <a:lnTo>
                  <a:pt x="72" y="21"/>
                </a:lnTo>
                <a:lnTo>
                  <a:pt x="72" y="23"/>
                </a:lnTo>
                <a:lnTo>
                  <a:pt x="72" y="26"/>
                </a:lnTo>
                <a:lnTo>
                  <a:pt x="72" y="29"/>
                </a:lnTo>
                <a:lnTo>
                  <a:pt x="73" y="36"/>
                </a:lnTo>
                <a:lnTo>
                  <a:pt x="70" y="38"/>
                </a:lnTo>
                <a:lnTo>
                  <a:pt x="69" y="39"/>
                </a:lnTo>
                <a:lnTo>
                  <a:pt x="68" y="39"/>
                </a:lnTo>
                <a:lnTo>
                  <a:pt x="65" y="45"/>
                </a:lnTo>
                <a:lnTo>
                  <a:pt x="64" y="48"/>
                </a:lnTo>
                <a:lnTo>
                  <a:pt x="62" y="49"/>
                </a:lnTo>
                <a:lnTo>
                  <a:pt x="60" y="52"/>
                </a:lnTo>
                <a:lnTo>
                  <a:pt x="59" y="53"/>
                </a:lnTo>
                <a:lnTo>
                  <a:pt x="58" y="53"/>
                </a:lnTo>
                <a:lnTo>
                  <a:pt x="53" y="53"/>
                </a:lnTo>
                <a:lnTo>
                  <a:pt x="50" y="50"/>
                </a:lnTo>
                <a:lnTo>
                  <a:pt x="47" y="49"/>
                </a:lnTo>
                <a:lnTo>
                  <a:pt x="43" y="48"/>
                </a:lnTo>
                <a:lnTo>
                  <a:pt x="40" y="45"/>
                </a:lnTo>
                <a:lnTo>
                  <a:pt x="38" y="43"/>
                </a:lnTo>
                <a:lnTo>
                  <a:pt x="33" y="38"/>
                </a:lnTo>
                <a:lnTo>
                  <a:pt x="28" y="31"/>
                </a:lnTo>
                <a:lnTo>
                  <a:pt x="25" y="29"/>
                </a:lnTo>
                <a:lnTo>
                  <a:pt x="22" y="26"/>
                </a:lnTo>
                <a:lnTo>
                  <a:pt x="19" y="25"/>
                </a:lnTo>
                <a:lnTo>
                  <a:pt x="16" y="23"/>
                </a:lnTo>
                <a:lnTo>
                  <a:pt x="13" y="22"/>
                </a:lnTo>
                <a:lnTo>
                  <a:pt x="9" y="22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07" name="Freeform 206">
            <a:extLst>
              <a:ext uri="{FF2B5EF4-FFF2-40B4-BE49-F238E27FC236}">
                <a16:creationId xmlns:a16="http://schemas.microsoft.com/office/drawing/2014/main" id="{4241831B-5601-49DD-AE79-8F845CC30820}"/>
              </a:ext>
            </a:extLst>
          </p:cNvPr>
          <p:cNvSpPr>
            <a:spLocks/>
          </p:cNvSpPr>
          <p:nvPr/>
        </p:nvSpPr>
        <p:spPr bwMode="auto">
          <a:xfrm>
            <a:off x="6481138" y="2323946"/>
            <a:ext cx="153988" cy="34925"/>
          </a:xfrm>
          <a:custGeom>
            <a:avLst/>
            <a:gdLst>
              <a:gd name="T0" fmla="*/ 27 w 77"/>
              <a:gd name="T1" fmla="*/ 18 h 19"/>
              <a:gd name="T2" fmla="*/ 25 w 77"/>
              <a:gd name="T3" fmla="*/ 17 h 19"/>
              <a:gd name="T4" fmla="*/ 21 w 77"/>
              <a:gd name="T5" fmla="*/ 15 h 19"/>
              <a:gd name="T6" fmla="*/ 16 w 77"/>
              <a:gd name="T7" fmla="*/ 15 h 19"/>
              <a:gd name="T8" fmla="*/ 13 w 77"/>
              <a:gd name="T9" fmla="*/ 13 h 19"/>
              <a:gd name="T10" fmla="*/ 5 w 77"/>
              <a:gd name="T11" fmla="*/ 9 h 19"/>
              <a:gd name="T12" fmla="*/ 1 w 77"/>
              <a:gd name="T13" fmla="*/ 6 h 19"/>
              <a:gd name="T14" fmla="*/ 0 w 77"/>
              <a:gd name="T15" fmla="*/ 5 h 19"/>
              <a:gd name="T16" fmla="*/ 1 w 77"/>
              <a:gd name="T17" fmla="*/ 3 h 19"/>
              <a:gd name="T18" fmla="*/ 4 w 77"/>
              <a:gd name="T19" fmla="*/ 1 h 19"/>
              <a:gd name="T20" fmla="*/ 7 w 77"/>
              <a:gd name="T21" fmla="*/ 0 h 19"/>
              <a:gd name="T22" fmla="*/ 10 w 77"/>
              <a:gd name="T23" fmla="*/ 0 h 19"/>
              <a:gd name="T24" fmla="*/ 14 w 77"/>
              <a:gd name="T25" fmla="*/ 0 h 19"/>
              <a:gd name="T26" fmla="*/ 17 w 77"/>
              <a:gd name="T27" fmla="*/ 0 h 19"/>
              <a:gd name="T28" fmla="*/ 21 w 77"/>
              <a:gd name="T29" fmla="*/ 0 h 19"/>
              <a:gd name="T30" fmla="*/ 23 w 77"/>
              <a:gd name="T31" fmla="*/ 0 h 19"/>
              <a:gd name="T32" fmla="*/ 28 w 77"/>
              <a:gd name="T33" fmla="*/ 1 h 19"/>
              <a:gd name="T34" fmla="*/ 35 w 77"/>
              <a:gd name="T35" fmla="*/ 2 h 19"/>
              <a:gd name="T36" fmla="*/ 49 w 77"/>
              <a:gd name="T37" fmla="*/ 2 h 19"/>
              <a:gd name="T38" fmla="*/ 62 w 77"/>
              <a:gd name="T39" fmla="*/ 3 h 19"/>
              <a:gd name="T40" fmla="*/ 69 w 77"/>
              <a:gd name="T41" fmla="*/ 4 h 19"/>
              <a:gd name="T42" fmla="*/ 76 w 77"/>
              <a:gd name="T43" fmla="*/ 6 h 19"/>
              <a:gd name="T44" fmla="*/ 72 w 77"/>
              <a:gd name="T45" fmla="*/ 9 h 19"/>
              <a:gd name="T46" fmla="*/ 71 w 77"/>
              <a:gd name="T47" fmla="*/ 11 h 19"/>
              <a:gd name="T48" fmla="*/ 66 w 77"/>
              <a:gd name="T49" fmla="*/ 14 h 19"/>
              <a:gd name="T50" fmla="*/ 63 w 77"/>
              <a:gd name="T51" fmla="*/ 15 h 19"/>
              <a:gd name="T52" fmla="*/ 61 w 77"/>
              <a:gd name="T53" fmla="*/ 17 h 19"/>
              <a:gd name="T54" fmla="*/ 54 w 77"/>
              <a:gd name="T55" fmla="*/ 18 h 19"/>
              <a:gd name="T56" fmla="*/ 49 w 77"/>
              <a:gd name="T57" fmla="*/ 18 h 19"/>
              <a:gd name="T58" fmla="*/ 42 w 77"/>
              <a:gd name="T59" fmla="*/ 18 h 19"/>
              <a:gd name="T60" fmla="*/ 27 w 77"/>
              <a:gd name="T61" fmla="*/ 18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77" h="19">
                <a:moveTo>
                  <a:pt x="27" y="18"/>
                </a:moveTo>
                <a:lnTo>
                  <a:pt x="25" y="17"/>
                </a:lnTo>
                <a:lnTo>
                  <a:pt x="21" y="15"/>
                </a:lnTo>
                <a:lnTo>
                  <a:pt x="16" y="15"/>
                </a:lnTo>
                <a:lnTo>
                  <a:pt x="13" y="13"/>
                </a:lnTo>
                <a:lnTo>
                  <a:pt x="5" y="9"/>
                </a:lnTo>
                <a:lnTo>
                  <a:pt x="1" y="6"/>
                </a:lnTo>
                <a:lnTo>
                  <a:pt x="0" y="5"/>
                </a:lnTo>
                <a:lnTo>
                  <a:pt x="1" y="3"/>
                </a:lnTo>
                <a:lnTo>
                  <a:pt x="4" y="1"/>
                </a:lnTo>
                <a:lnTo>
                  <a:pt x="7" y="0"/>
                </a:lnTo>
                <a:lnTo>
                  <a:pt x="10" y="0"/>
                </a:lnTo>
                <a:lnTo>
                  <a:pt x="14" y="0"/>
                </a:lnTo>
                <a:lnTo>
                  <a:pt x="17" y="0"/>
                </a:lnTo>
                <a:lnTo>
                  <a:pt x="21" y="0"/>
                </a:lnTo>
                <a:lnTo>
                  <a:pt x="23" y="0"/>
                </a:lnTo>
                <a:lnTo>
                  <a:pt x="28" y="1"/>
                </a:lnTo>
                <a:lnTo>
                  <a:pt x="35" y="2"/>
                </a:lnTo>
                <a:lnTo>
                  <a:pt x="49" y="2"/>
                </a:lnTo>
                <a:lnTo>
                  <a:pt x="62" y="3"/>
                </a:lnTo>
                <a:lnTo>
                  <a:pt x="69" y="4"/>
                </a:lnTo>
                <a:lnTo>
                  <a:pt x="76" y="6"/>
                </a:lnTo>
                <a:lnTo>
                  <a:pt x="72" y="9"/>
                </a:lnTo>
                <a:lnTo>
                  <a:pt x="71" y="11"/>
                </a:lnTo>
                <a:lnTo>
                  <a:pt x="66" y="14"/>
                </a:lnTo>
                <a:lnTo>
                  <a:pt x="63" y="15"/>
                </a:lnTo>
                <a:lnTo>
                  <a:pt x="61" y="17"/>
                </a:lnTo>
                <a:lnTo>
                  <a:pt x="54" y="18"/>
                </a:lnTo>
                <a:lnTo>
                  <a:pt x="49" y="18"/>
                </a:lnTo>
                <a:lnTo>
                  <a:pt x="42" y="18"/>
                </a:lnTo>
                <a:lnTo>
                  <a:pt x="27" y="18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08" name="Freeform 207">
            <a:extLst>
              <a:ext uri="{FF2B5EF4-FFF2-40B4-BE49-F238E27FC236}">
                <a16:creationId xmlns:a16="http://schemas.microsoft.com/office/drawing/2014/main" id="{F89DD77A-296A-4741-1B32-847E3AC34DD1}"/>
              </a:ext>
            </a:extLst>
          </p:cNvPr>
          <p:cNvSpPr>
            <a:spLocks/>
          </p:cNvSpPr>
          <p:nvPr/>
        </p:nvSpPr>
        <p:spPr bwMode="auto">
          <a:xfrm>
            <a:off x="5982663" y="2963709"/>
            <a:ext cx="203200" cy="304800"/>
          </a:xfrm>
          <a:custGeom>
            <a:avLst/>
            <a:gdLst>
              <a:gd name="T0" fmla="*/ 68 w 101"/>
              <a:gd name="T1" fmla="*/ 85 h 163"/>
              <a:gd name="T2" fmla="*/ 78 w 101"/>
              <a:gd name="T3" fmla="*/ 96 h 163"/>
              <a:gd name="T4" fmla="*/ 81 w 101"/>
              <a:gd name="T5" fmla="*/ 105 h 163"/>
              <a:gd name="T6" fmla="*/ 80 w 101"/>
              <a:gd name="T7" fmla="*/ 113 h 163"/>
              <a:gd name="T8" fmla="*/ 86 w 101"/>
              <a:gd name="T9" fmla="*/ 112 h 163"/>
              <a:gd name="T10" fmla="*/ 97 w 101"/>
              <a:gd name="T11" fmla="*/ 115 h 163"/>
              <a:gd name="T12" fmla="*/ 99 w 101"/>
              <a:gd name="T13" fmla="*/ 123 h 163"/>
              <a:gd name="T14" fmla="*/ 94 w 101"/>
              <a:gd name="T15" fmla="*/ 129 h 163"/>
              <a:gd name="T16" fmla="*/ 86 w 101"/>
              <a:gd name="T17" fmla="*/ 136 h 163"/>
              <a:gd name="T18" fmla="*/ 93 w 101"/>
              <a:gd name="T19" fmla="*/ 140 h 163"/>
              <a:gd name="T20" fmla="*/ 90 w 101"/>
              <a:gd name="T21" fmla="*/ 147 h 163"/>
              <a:gd name="T22" fmla="*/ 82 w 101"/>
              <a:gd name="T23" fmla="*/ 152 h 163"/>
              <a:gd name="T24" fmla="*/ 58 w 101"/>
              <a:gd name="T25" fmla="*/ 152 h 163"/>
              <a:gd name="T26" fmla="*/ 35 w 101"/>
              <a:gd name="T27" fmla="*/ 157 h 163"/>
              <a:gd name="T28" fmla="*/ 32 w 101"/>
              <a:gd name="T29" fmla="*/ 160 h 163"/>
              <a:gd name="T30" fmla="*/ 19 w 101"/>
              <a:gd name="T31" fmla="*/ 162 h 163"/>
              <a:gd name="T32" fmla="*/ 10 w 101"/>
              <a:gd name="T33" fmla="*/ 161 h 163"/>
              <a:gd name="T34" fmla="*/ 13 w 101"/>
              <a:gd name="T35" fmla="*/ 152 h 163"/>
              <a:gd name="T36" fmla="*/ 25 w 101"/>
              <a:gd name="T37" fmla="*/ 146 h 163"/>
              <a:gd name="T38" fmla="*/ 40 w 101"/>
              <a:gd name="T39" fmla="*/ 141 h 163"/>
              <a:gd name="T40" fmla="*/ 44 w 101"/>
              <a:gd name="T41" fmla="*/ 135 h 163"/>
              <a:gd name="T42" fmla="*/ 20 w 101"/>
              <a:gd name="T43" fmla="*/ 132 h 163"/>
              <a:gd name="T44" fmla="*/ 19 w 101"/>
              <a:gd name="T45" fmla="*/ 123 h 163"/>
              <a:gd name="T46" fmla="*/ 25 w 101"/>
              <a:gd name="T47" fmla="*/ 116 h 163"/>
              <a:gd name="T48" fmla="*/ 31 w 101"/>
              <a:gd name="T49" fmla="*/ 110 h 163"/>
              <a:gd name="T50" fmla="*/ 31 w 101"/>
              <a:gd name="T51" fmla="*/ 105 h 163"/>
              <a:gd name="T52" fmla="*/ 35 w 101"/>
              <a:gd name="T53" fmla="*/ 100 h 163"/>
              <a:gd name="T54" fmla="*/ 41 w 101"/>
              <a:gd name="T55" fmla="*/ 92 h 163"/>
              <a:gd name="T56" fmla="*/ 35 w 101"/>
              <a:gd name="T57" fmla="*/ 82 h 163"/>
              <a:gd name="T58" fmla="*/ 36 w 101"/>
              <a:gd name="T59" fmla="*/ 75 h 163"/>
              <a:gd name="T60" fmla="*/ 34 w 101"/>
              <a:gd name="T61" fmla="*/ 66 h 163"/>
              <a:gd name="T62" fmla="*/ 11 w 101"/>
              <a:gd name="T63" fmla="*/ 60 h 163"/>
              <a:gd name="T64" fmla="*/ 9 w 101"/>
              <a:gd name="T65" fmla="*/ 56 h 163"/>
              <a:gd name="T66" fmla="*/ 2 w 101"/>
              <a:gd name="T67" fmla="*/ 48 h 163"/>
              <a:gd name="T68" fmla="*/ 2 w 101"/>
              <a:gd name="T69" fmla="*/ 34 h 163"/>
              <a:gd name="T70" fmla="*/ 6 w 101"/>
              <a:gd name="T71" fmla="*/ 21 h 163"/>
              <a:gd name="T72" fmla="*/ 28 w 101"/>
              <a:gd name="T73" fmla="*/ 6 h 163"/>
              <a:gd name="T74" fmla="*/ 44 w 101"/>
              <a:gd name="T75" fmla="*/ 0 h 163"/>
              <a:gd name="T76" fmla="*/ 41 w 101"/>
              <a:gd name="T77" fmla="*/ 10 h 163"/>
              <a:gd name="T78" fmla="*/ 35 w 101"/>
              <a:gd name="T79" fmla="*/ 19 h 163"/>
              <a:gd name="T80" fmla="*/ 40 w 101"/>
              <a:gd name="T81" fmla="*/ 24 h 163"/>
              <a:gd name="T82" fmla="*/ 52 w 101"/>
              <a:gd name="T83" fmla="*/ 25 h 163"/>
              <a:gd name="T84" fmla="*/ 56 w 101"/>
              <a:gd name="T85" fmla="*/ 31 h 163"/>
              <a:gd name="T86" fmla="*/ 50 w 101"/>
              <a:gd name="T87" fmla="*/ 40 h 163"/>
              <a:gd name="T88" fmla="*/ 47 w 101"/>
              <a:gd name="T89" fmla="*/ 49 h 163"/>
              <a:gd name="T90" fmla="*/ 51 w 101"/>
              <a:gd name="T91" fmla="*/ 62 h 163"/>
              <a:gd name="T92" fmla="*/ 65 w 101"/>
              <a:gd name="T93" fmla="*/ 86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1" h="163">
                <a:moveTo>
                  <a:pt x="63" y="79"/>
                </a:moveTo>
                <a:lnTo>
                  <a:pt x="65" y="82"/>
                </a:lnTo>
                <a:lnTo>
                  <a:pt x="68" y="85"/>
                </a:lnTo>
                <a:lnTo>
                  <a:pt x="73" y="91"/>
                </a:lnTo>
                <a:lnTo>
                  <a:pt x="76" y="93"/>
                </a:lnTo>
                <a:lnTo>
                  <a:pt x="78" y="96"/>
                </a:lnTo>
                <a:lnTo>
                  <a:pt x="79" y="98"/>
                </a:lnTo>
                <a:lnTo>
                  <a:pt x="80" y="100"/>
                </a:lnTo>
                <a:lnTo>
                  <a:pt x="81" y="105"/>
                </a:lnTo>
                <a:lnTo>
                  <a:pt x="80" y="110"/>
                </a:lnTo>
                <a:lnTo>
                  <a:pt x="80" y="112"/>
                </a:lnTo>
                <a:lnTo>
                  <a:pt x="80" y="113"/>
                </a:lnTo>
                <a:lnTo>
                  <a:pt x="81" y="114"/>
                </a:lnTo>
                <a:lnTo>
                  <a:pt x="82" y="113"/>
                </a:lnTo>
                <a:lnTo>
                  <a:pt x="86" y="112"/>
                </a:lnTo>
                <a:lnTo>
                  <a:pt x="94" y="109"/>
                </a:lnTo>
                <a:lnTo>
                  <a:pt x="96" y="112"/>
                </a:lnTo>
                <a:lnTo>
                  <a:pt x="97" y="115"/>
                </a:lnTo>
                <a:lnTo>
                  <a:pt x="99" y="116"/>
                </a:lnTo>
                <a:lnTo>
                  <a:pt x="100" y="119"/>
                </a:lnTo>
                <a:lnTo>
                  <a:pt x="99" y="123"/>
                </a:lnTo>
                <a:lnTo>
                  <a:pt x="97" y="125"/>
                </a:lnTo>
                <a:lnTo>
                  <a:pt x="96" y="128"/>
                </a:lnTo>
                <a:lnTo>
                  <a:pt x="94" y="129"/>
                </a:lnTo>
                <a:lnTo>
                  <a:pt x="88" y="132"/>
                </a:lnTo>
                <a:lnTo>
                  <a:pt x="83" y="134"/>
                </a:lnTo>
                <a:lnTo>
                  <a:pt x="86" y="136"/>
                </a:lnTo>
                <a:lnTo>
                  <a:pt x="87" y="138"/>
                </a:lnTo>
                <a:lnTo>
                  <a:pt x="90" y="138"/>
                </a:lnTo>
                <a:lnTo>
                  <a:pt x="93" y="140"/>
                </a:lnTo>
                <a:lnTo>
                  <a:pt x="93" y="142"/>
                </a:lnTo>
                <a:lnTo>
                  <a:pt x="92" y="145"/>
                </a:lnTo>
                <a:lnTo>
                  <a:pt x="90" y="147"/>
                </a:lnTo>
                <a:lnTo>
                  <a:pt x="87" y="149"/>
                </a:lnTo>
                <a:lnTo>
                  <a:pt x="85" y="151"/>
                </a:lnTo>
                <a:lnTo>
                  <a:pt x="82" y="152"/>
                </a:lnTo>
                <a:lnTo>
                  <a:pt x="73" y="152"/>
                </a:lnTo>
                <a:lnTo>
                  <a:pt x="65" y="152"/>
                </a:lnTo>
                <a:lnTo>
                  <a:pt x="58" y="152"/>
                </a:lnTo>
                <a:lnTo>
                  <a:pt x="44" y="152"/>
                </a:lnTo>
                <a:lnTo>
                  <a:pt x="36" y="152"/>
                </a:lnTo>
                <a:lnTo>
                  <a:pt x="35" y="157"/>
                </a:lnTo>
                <a:lnTo>
                  <a:pt x="35" y="158"/>
                </a:lnTo>
                <a:lnTo>
                  <a:pt x="36" y="161"/>
                </a:lnTo>
                <a:lnTo>
                  <a:pt x="32" y="160"/>
                </a:lnTo>
                <a:lnTo>
                  <a:pt x="28" y="160"/>
                </a:lnTo>
                <a:lnTo>
                  <a:pt x="22" y="161"/>
                </a:lnTo>
                <a:lnTo>
                  <a:pt x="19" y="162"/>
                </a:lnTo>
                <a:lnTo>
                  <a:pt x="16" y="162"/>
                </a:lnTo>
                <a:lnTo>
                  <a:pt x="13" y="162"/>
                </a:lnTo>
                <a:lnTo>
                  <a:pt x="10" y="161"/>
                </a:lnTo>
                <a:lnTo>
                  <a:pt x="10" y="158"/>
                </a:lnTo>
                <a:lnTo>
                  <a:pt x="13" y="155"/>
                </a:lnTo>
                <a:lnTo>
                  <a:pt x="13" y="152"/>
                </a:lnTo>
                <a:lnTo>
                  <a:pt x="16" y="151"/>
                </a:lnTo>
                <a:lnTo>
                  <a:pt x="20" y="148"/>
                </a:lnTo>
                <a:lnTo>
                  <a:pt x="25" y="146"/>
                </a:lnTo>
                <a:lnTo>
                  <a:pt x="31" y="143"/>
                </a:lnTo>
                <a:lnTo>
                  <a:pt x="37" y="142"/>
                </a:lnTo>
                <a:lnTo>
                  <a:pt x="40" y="141"/>
                </a:lnTo>
                <a:lnTo>
                  <a:pt x="41" y="138"/>
                </a:lnTo>
                <a:lnTo>
                  <a:pt x="43" y="137"/>
                </a:lnTo>
                <a:lnTo>
                  <a:pt x="44" y="135"/>
                </a:lnTo>
                <a:lnTo>
                  <a:pt x="36" y="134"/>
                </a:lnTo>
                <a:lnTo>
                  <a:pt x="27" y="133"/>
                </a:lnTo>
                <a:lnTo>
                  <a:pt x="20" y="132"/>
                </a:lnTo>
                <a:lnTo>
                  <a:pt x="17" y="130"/>
                </a:lnTo>
                <a:lnTo>
                  <a:pt x="15" y="128"/>
                </a:lnTo>
                <a:lnTo>
                  <a:pt x="19" y="123"/>
                </a:lnTo>
                <a:lnTo>
                  <a:pt x="22" y="119"/>
                </a:lnTo>
                <a:lnTo>
                  <a:pt x="24" y="118"/>
                </a:lnTo>
                <a:lnTo>
                  <a:pt x="25" y="116"/>
                </a:lnTo>
                <a:lnTo>
                  <a:pt x="31" y="114"/>
                </a:lnTo>
                <a:lnTo>
                  <a:pt x="29" y="112"/>
                </a:lnTo>
                <a:lnTo>
                  <a:pt x="31" y="110"/>
                </a:lnTo>
                <a:lnTo>
                  <a:pt x="31" y="108"/>
                </a:lnTo>
                <a:lnTo>
                  <a:pt x="31" y="106"/>
                </a:lnTo>
                <a:lnTo>
                  <a:pt x="31" y="105"/>
                </a:lnTo>
                <a:lnTo>
                  <a:pt x="31" y="102"/>
                </a:lnTo>
                <a:lnTo>
                  <a:pt x="33" y="102"/>
                </a:lnTo>
                <a:lnTo>
                  <a:pt x="35" y="100"/>
                </a:lnTo>
                <a:lnTo>
                  <a:pt x="38" y="97"/>
                </a:lnTo>
                <a:lnTo>
                  <a:pt x="43" y="94"/>
                </a:lnTo>
                <a:lnTo>
                  <a:pt x="41" y="92"/>
                </a:lnTo>
                <a:lnTo>
                  <a:pt x="37" y="88"/>
                </a:lnTo>
                <a:lnTo>
                  <a:pt x="36" y="84"/>
                </a:lnTo>
                <a:lnTo>
                  <a:pt x="35" y="82"/>
                </a:lnTo>
                <a:lnTo>
                  <a:pt x="35" y="80"/>
                </a:lnTo>
                <a:lnTo>
                  <a:pt x="35" y="76"/>
                </a:lnTo>
                <a:lnTo>
                  <a:pt x="36" y="75"/>
                </a:lnTo>
                <a:lnTo>
                  <a:pt x="37" y="71"/>
                </a:lnTo>
                <a:lnTo>
                  <a:pt x="36" y="69"/>
                </a:lnTo>
                <a:lnTo>
                  <a:pt x="34" y="66"/>
                </a:lnTo>
                <a:lnTo>
                  <a:pt x="34" y="62"/>
                </a:lnTo>
                <a:lnTo>
                  <a:pt x="33" y="60"/>
                </a:lnTo>
                <a:lnTo>
                  <a:pt x="11" y="60"/>
                </a:lnTo>
                <a:lnTo>
                  <a:pt x="10" y="59"/>
                </a:lnTo>
                <a:lnTo>
                  <a:pt x="9" y="58"/>
                </a:lnTo>
                <a:lnTo>
                  <a:pt x="9" y="56"/>
                </a:lnTo>
                <a:lnTo>
                  <a:pt x="9" y="53"/>
                </a:lnTo>
                <a:lnTo>
                  <a:pt x="6" y="49"/>
                </a:lnTo>
                <a:lnTo>
                  <a:pt x="2" y="48"/>
                </a:lnTo>
                <a:lnTo>
                  <a:pt x="8" y="38"/>
                </a:lnTo>
                <a:lnTo>
                  <a:pt x="5" y="36"/>
                </a:lnTo>
                <a:lnTo>
                  <a:pt x="2" y="34"/>
                </a:lnTo>
                <a:lnTo>
                  <a:pt x="0" y="33"/>
                </a:lnTo>
                <a:lnTo>
                  <a:pt x="0" y="29"/>
                </a:lnTo>
                <a:lnTo>
                  <a:pt x="6" y="21"/>
                </a:lnTo>
                <a:lnTo>
                  <a:pt x="19" y="13"/>
                </a:lnTo>
                <a:lnTo>
                  <a:pt x="25" y="8"/>
                </a:lnTo>
                <a:lnTo>
                  <a:pt x="28" y="6"/>
                </a:lnTo>
                <a:lnTo>
                  <a:pt x="32" y="4"/>
                </a:lnTo>
                <a:lnTo>
                  <a:pt x="38" y="2"/>
                </a:lnTo>
                <a:lnTo>
                  <a:pt x="44" y="0"/>
                </a:lnTo>
                <a:lnTo>
                  <a:pt x="44" y="3"/>
                </a:lnTo>
                <a:lnTo>
                  <a:pt x="43" y="7"/>
                </a:lnTo>
                <a:lnTo>
                  <a:pt x="41" y="10"/>
                </a:lnTo>
                <a:lnTo>
                  <a:pt x="41" y="13"/>
                </a:lnTo>
                <a:lnTo>
                  <a:pt x="37" y="17"/>
                </a:lnTo>
                <a:lnTo>
                  <a:pt x="35" y="19"/>
                </a:lnTo>
                <a:lnTo>
                  <a:pt x="33" y="21"/>
                </a:lnTo>
                <a:lnTo>
                  <a:pt x="37" y="23"/>
                </a:lnTo>
                <a:lnTo>
                  <a:pt x="40" y="24"/>
                </a:lnTo>
                <a:lnTo>
                  <a:pt x="47" y="24"/>
                </a:lnTo>
                <a:lnTo>
                  <a:pt x="50" y="25"/>
                </a:lnTo>
                <a:lnTo>
                  <a:pt x="52" y="25"/>
                </a:lnTo>
                <a:lnTo>
                  <a:pt x="55" y="26"/>
                </a:lnTo>
                <a:lnTo>
                  <a:pt x="58" y="29"/>
                </a:lnTo>
                <a:lnTo>
                  <a:pt x="56" y="31"/>
                </a:lnTo>
                <a:lnTo>
                  <a:pt x="55" y="34"/>
                </a:lnTo>
                <a:lnTo>
                  <a:pt x="51" y="39"/>
                </a:lnTo>
                <a:lnTo>
                  <a:pt x="50" y="40"/>
                </a:lnTo>
                <a:lnTo>
                  <a:pt x="48" y="43"/>
                </a:lnTo>
                <a:lnTo>
                  <a:pt x="47" y="46"/>
                </a:lnTo>
                <a:lnTo>
                  <a:pt x="47" y="49"/>
                </a:lnTo>
                <a:lnTo>
                  <a:pt x="48" y="53"/>
                </a:lnTo>
                <a:lnTo>
                  <a:pt x="50" y="58"/>
                </a:lnTo>
                <a:lnTo>
                  <a:pt x="51" y="62"/>
                </a:lnTo>
                <a:lnTo>
                  <a:pt x="55" y="69"/>
                </a:lnTo>
                <a:lnTo>
                  <a:pt x="61" y="79"/>
                </a:lnTo>
                <a:lnTo>
                  <a:pt x="65" y="86"/>
                </a:lnTo>
                <a:lnTo>
                  <a:pt x="63" y="79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09" name="Freeform 211">
            <a:extLst>
              <a:ext uri="{FF2B5EF4-FFF2-40B4-BE49-F238E27FC236}">
                <a16:creationId xmlns:a16="http://schemas.microsoft.com/office/drawing/2014/main" id="{D50CD715-B3D1-F00F-4724-6A632ED66104}"/>
              </a:ext>
            </a:extLst>
          </p:cNvPr>
          <p:cNvSpPr>
            <a:spLocks/>
          </p:cNvSpPr>
          <p:nvPr/>
        </p:nvSpPr>
        <p:spPr bwMode="auto">
          <a:xfrm>
            <a:off x="6379538" y="3522509"/>
            <a:ext cx="34925" cy="53975"/>
          </a:xfrm>
          <a:custGeom>
            <a:avLst/>
            <a:gdLst>
              <a:gd name="T0" fmla="*/ 0 w 17"/>
              <a:gd name="T1" fmla="*/ 28 h 29"/>
              <a:gd name="T2" fmla="*/ 0 w 17"/>
              <a:gd name="T3" fmla="*/ 10 h 29"/>
              <a:gd name="T4" fmla="*/ 0 w 17"/>
              <a:gd name="T5" fmla="*/ 7 h 29"/>
              <a:gd name="T6" fmla="*/ 1 w 17"/>
              <a:gd name="T7" fmla="*/ 4 h 29"/>
              <a:gd name="T8" fmla="*/ 4 w 17"/>
              <a:gd name="T9" fmla="*/ 1 h 29"/>
              <a:gd name="T10" fmla="*/ 8 w 17"/>
              <a:gd name="T11" fmla="*/ 0 h 29"/>
              <a:gd name="T12" fmla="*/ 8 w 17"/>
              <a:gd name="T13" fmla="*/ 3 h 29"/>
              <a:gd name="T14" fmla="*/ 10 w 17"/>
              <a:gd name="T15" fmla="*/ 4 h 29"/>
              <a:gd name="T16" fmla="*/ 11 w 17"/>
              <a:gd name="T17" fmla="*/ 7 h 29"/>
              <a:gd name="T18" fmla="*/ 16 w 17"/>
              <a:gd name="T19" fmla="*/ 8 h 29"/>
              <a:gd name="T20" fmla="*/ 16 w 17"/>
              <a:gd name="T21" fmla="*/ 28 h 29"/>
              <a:gd name="T22" fmla="*/ 0 w 17"/>
              <a:gd name="T23" fmla="*/ 28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7" h="29">
                <a:moveTo>
                  <a:pt x="0" y="28"/>
                </a:moveTo>
                <a:lnTo>
                  <a:pt x="0" y="10"/>
                </a:lnTo>
                <a:lnTo>
                  <a:pt x="0" y="7"/>
                </a:lnTo>
                <a:lnTo>
                  <a:pt x="1" y="4"/>
                </a:lnTo>
                <a:lnTo>
                  <a:pt x="4" y="1"/>
                </a:lnTo>
                <a:lnTo>
                  <a:pt x="8" y="0"/>
                </a:lnTo>
                <a:lnTo>
                  <a:pt x="8" y="3"/>
                </a:lnTo>
                <a:lnTo>
                  <a:pt x="10" y="4"/>
                </a:lnTo>
                <a:lnTo>
                  <a:pt x="11" y="7"/>
                </a:lnTo>
                <a:lnTo>
                  <a:pt x="16" y="8"/>
                </a:lnTo>
                <a:lnTo>
                  <a:pt x="16" y="28"/>
                </a:lnTo>
                <a:lnTo>
                  <a:pt x="0" y="28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10" name="Freeform 212">
            <a:extLst>
              <a:ext uri="{FF2B5EF4-FFF2-40B4-BE49-F238E27FC236}">
                <a16:creationId xmlns:a16="http://schemas.microsoft.com/office/drawing/2014/main" id="{88A72BFB-B443-2E4C-127F-AB865D48B6EF}"/>
              </a:ext>
            </a:extLst>
          </p:cNvPr>
          <p:cNvSpPr>
            <a:spLocks/>
          </p:cNvSpPr>
          <p:nvPr/>
        </p:nvSpPr>
        <p:spPr bwMode="auto">
          <a:xfrm>
            <a:off x="6354138" y="3579659"/>
            <a:ext cx="49213" cy="80963"/>
          </a:xfrm>
          <a:custGeom>
            <a:avLst/>
            <a:gdLst>
              <a:gd name="T0" fmla="*/ 10 w 25"/>
              <a:gd name="T1" fmla="*/ 8 h 43"/>
              <a:gd name="T2" fmla="*/ 12 w 25"/>
              <a:gd name="T3" fmla="*/ 7 h 43"/>
              <a:gd name="T4" fmla="*/ 14 w 25"/>
              <a:gd name="T5" fmla="*/ 4 h 43"/>
              <a:gd name="T6" fmla="*/ 16 w 25"/>
              <a:gd name="T7" fmla="*/ 1 h 43"/>
              <a:gd name="T8" fmla="*/ 18 w 25"/>
              <a:gd name="T9" fmla="*/ 0 h 43"/>
              <a:gd name="T10" fmla="*/ 20 w 25"/>
              <a:gd name="T11" fmla="*/ 3 h 43"/>
              <a:gd name="T12" fmla="*/ 21 w 25"/>
              <a:gd name="T13" fmla="*/ 4 h 43"/>
              <a:gd name="T14" fmla="*/ 24 w 25"/>
              <a:gd name="T15" fmla="*/ 9 h 43"/>
              <a:gd name="T16" fmla="*/ 24 w 25"/>
              <a:gd name="T17" fmla="*/ 37 h 43"/>
              <a:gd name="T18" fmla="*/ 22 w 25"/>
              <a:gd name="T19" fmla="*/ 37 h 43"/>
              <a:gd name="T20" fmla="*/ 20 w 25"/>
              <a:gd name="T21" fmla="*/ 38 h 43"/>
              <a:gd name="T22" fmla="*/ 18 w 25"/>
              <a:gd name="T23" fmla="*/ 38 h 43"/>
              <a:gd name="T24" fmla="*/ 17 w 25"/>
              <a:gd name="T25" fmla="*/ 40 h 43"/>
              <a:gd name="T26" fmla="*/ 14 w 25"/>
              <a:gd name="T27" fmla="*/ 41 h 43"/>
              <a:gd name="T28" fmla="*/ 12 w 25"/>
              <a:gd name="T29" fmla="*/ 42 h 43"/>
              <a:gd name="T30" fmla="*/ 10 w 25"/>
              <a:gd name="T31" fmla="*/ 41 h 43"/>
              <a:gd name="T32" fmla="*/ 8 w 25"/>
              <a:gd name="T33" fmla="*/ 39 h 43"/>
              <a:gd name="T34" fmla="*/ 8 w 25"/>
              <a:gd name="T35" fmla="*/ 36 h 43"/>
              <a:gd name="T36" fmla="*/ 8 w 25"/>
              <a:gd name="T37" fmla="*/ 32 h 43"/>
              <a:gd name="T38" fmla="*/ 8 w 25"/>
              <a:gd name="T39" fmla="*/ 14 h 43"/>
              <a:gd name="T40" fmla="*/ 5 w 25"/>
              <a:gd name="T41" fmla="*/ 14 h 43"/>
              <a:gd name="T42" fmla="*/ 4 w 25"/>
              <a:gd name="T43" fmla="*/ 13 h 43"/>
              <a:gd name="T44" fmla="*/ 0 w 25"/>
              <a:gd name="T45" fmla="*/ 9 h 43"/>
              <a:gd name="T46" fmla="*/ 1 w 25"/>
              <a:gd name="T47" fmla="*/ 8 h 43"/>
              <a:gd name="T48" fmla="*/ 4 w 25"/>
              <a:gd name="T49" fmla="*/ 7 h 43"/>
              <a:gd name="T50" fmla="*/ 5 w 25"/>
              <a:gd name="T51" fmla="*/ 7 h 43"/>
              <a:gd name="T52" fmla="*/ 10 w 25"/>
              <a:gd name="T53" fmla="*/ 8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25" h="43">
                <a:moveTo>
                  <a:pt x="10" y="8"/>
                </a:moveTo>
                <a:lnTo>
                  <a:pt x="12" y="7"/>
                </a:lnTo>
                <a:lnTo>
                  <a:pt x="14" y="4"/>
                </a:lnTo>
                <a:lnTo>
                  <a:pt x="16" y="1"/>
                </a:lnTo>
                <a:lnTo>
                  <a:pt x="18" y="0"/>
                </a:lnTo>
                <a:lnTo>
                  <a:pt x="20" y="3"/>
                </a:lnTo>
                <a:lnTo>
                  <a:pt x="21" y="4"/>
                </a:lnTo>
                <a:lnTo>
                  <a:pt x="24" y="9"/>
                </a:lnTo>
                <a:lnTo>
                  <a:pt x="24" y="37"/>
                </a:lnTo>
                <a:lnTo>
                  <a:pt x="22" y="37"/>
                </a:lnTo>
                <a:lnTo>
                  <a:pt x="20" y="38"/>
                </a:lnTo>
                <a:lnTo>
                  <a:pt x="18" y="38"/>
                </a:lnTo>
                <a:lnTo>
                  <a:pt x="17" y="40"/>
                </a:lnTo>
                <a:lnTo>
                  <a:pt x="14" y="41"/>
                </a:lnTo>
                <a:lnTo>
                  <a:pt x="12" y="42"/>
                </a:lnTo>
                <a:lnTo>
                  <a:pt x="10" y="41"/>
                </a:lnTo>
                <a:lnTo>
                  <a:pt x="8" y="39"/>
                </a:lnTo>
                <a:lnTo>
                  <a:pt x="8" y="36"/>
                </a:lnTo>
                <a:lnTo>
                  <a:pt x="8" y="32"/>
                </a:lnTo>
                <a:lnTo>
                  <a:pt x="8" y="14"/>
                </a:lnTo>
                <a:lnTo>
                  <a:pt x="5" y="14"/>
                </a:lnTo>
                <a:lnTo>
                  <a:pt x="4" y="13"/>
                </a:lnTo>
                <a:lnTo>
                  <a:pt x="0" y="9"/>
                </a:lnTo>
                <a:lnTo>
                  <a:pt x="1" y="8"/>
                </a:lnTo>
                <a:lnTo>
                  <a:pt x="4" y="7"/>
                </a:lnTo>
                <a:lnTo>
                  <a:pt x="5" y="7"/>
                </a:lnTo>
                <a:lnTo>
                  <a:pt x="10" y="8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11" name="Freeform 213">
            <a:extLst>
              <a:ext uri="{FF2B5EF4-FFF2-40B4-BE49-F238E27FC236}">
                <a16:creationId xmlns:a16="http://schemas.microsoft.com/office/drawing/2014/main" id="{9BFF3950-8613-5D4B-962E-A6135D41B2D2}"/>
              </a:ext>
            </a:extLst>
          </p:cNvPr>
          <p:cNvSpPr>
            <a:spLocks/>
          </p:cNvSpPr>
          <p:nvPr/>
        </p:nvSpPr>
        <p:spPr bwMode="auto">
          <a:xfrm>
            <a:off x="6482725" y="3690784"/>
            <a:ext cx="79375" cy="50800"/>
          </a:xfrm>
          <a:custGeom>
            <a:avLst/>
            <a:gdLst>
              <a:gd name="T0" fmla="*/ 38 w 39"/>
              <a:gd name="T1" fmla="*/ 11 h 27"/>
              <a:gd name="T2" fmla="*/ 38 w 39"/>
              <a:gd name="T3" fmla="*/ 13 h 27"/>
              <a:gd name="T4" fmla="*/ 36 w 39"/>
              <a:gd name="T5" fmla="*/ 16 h 27"/>
              <a:gd name="T6" fmla="*/ 35 w 39"/>
              <a:gd name="T7" fmla="*/ 17 h 27"/>
              <a:gd name="T8" fmla="*/ 34 w 39"/>
              <a:gd name="T9" fmla="*/ 20 h 27"/>
              <a:gd name="T10" fmla="*/ 35 w 39"/>
              <a:gd name="T11" fmla="*/ 23 h 27"/>
              <a:gd name="T12" fmla="*/ 35 w 39"/>
              <a:gd name="T13" fmla="*/ 25 h 27"/>
              <a:gd name="T14" fmla="*/ 35 w 39"/>
              <a:gd name="T15" fmla="*/ 26 h 27"/>
              <a:gd name="T16" fmla="*/ 34 w 39"/>
              <a:gd name="T17" fmla="*/ 26 h 27"/>
              <a:gd name="T18" fmla="*/ 31 w 39"/>
              <a:gd name="T19" fmla="*/ 25 h 27"/>
              <a:gd name="T20" fmla="*/ 27 w 39"/>
              <a:gd name="T21" fmla="*/ 23 h 27"/>
              <a:gd name="T22" fmla="*/ 15 w 39"/>
              <a:gd name="T23" fmla="*/ 17 h 27"/>
              <a:gd name="T24" fmla="*/ 9 w 39"/>
              <a:gd name="T25" fmla="*/ 13 h 27"/>
              <a:gd name="T26" fmla="*/ 4 w 39"/>
              <a:gd name="T27" fmla="*/ 11 h 27"/>
              <a:gd name="T28" fmla="*/ 2 w 39"/>
              <a:gd name="T29" fmla="*/ 8 h 27"/>
              <a:gd name="T30" fmla="*/ 0 w 39"/>
              <a:gd name="T31" fmla="*/ 7 h 27"/>
              <a:gd name="T32" fmla="*/ 0 w 39"/>
              <a:gd name="T33" fmla="*/ 6 h 27"/>
              <a:gd name="T34" fmla="*/ 0 w 39"/>
              <a:gd name="T35" fmla="*/ 3 h 27"/>
              <a:gd name="T36" fmla="*/ 3 w 39"/>
              <a:gd name="T37" fmla="*/ 2 h 27"/>
              <a:gd name="T38" fmla="*/ 5 w 39"/>
              <a:gd name="T39" fmla="*/ 0 h 27"/>
              <a:gd name="T40" fmla="*/ 7 w 39"/>
              <a:gd name="T41" fmla="*/ 0 h 27"/>
              <a:gd name="T42" fmla="*/ 12 w 39"/>
              <a:gd name="T43" fmla="*/ 0 h 27"/>
              <a:gd name="T44" fmla="*/ 18 w 39"/>
              <a:gd name="T45" fmla="*/ 2 h 27"/>
              <a:gd name="T46" fmla="*/ 24 w 39"/>
              <a:gd name="T47" fmla="*/ 4 h 27"/>
              <a:gd name="T48" fmla="*/ 26 w 39"/>
              <a:gd name="T49" fmla="*/ 4 h 27"/>
              <a:gd name="T50" fmla="*/ 29 w 39"/>
              <a:gd name="T51" fmla="*/ 2 h 27"/>
              <a:gd name="T52" fmla="*/ 33 w 39"/>
              <a:gd name="T53" fmla="*/ 2 h 27"/>
              <a:gd name="T54" fmla="*/ 36 w 39"/>
              <a:gd name="T55" fmla="*/ 0 h 27"/>
              <a:gd name="T56" fmla="*/ 36 w 39"/>
              <a:gd name="T57" fmla="*/ 2 h 27"/>
              <a:gd name="T58" fmla="*/ 36 w 39"/>
              <a:gd name="T59" fmla="*/ 6 h 27"/>
              <a:gd name="T60" fmla="*/ 38 w 39"/>
              <a:gd name="T61" fmla="*/ 8 h 27"/>
              <a:gd name="T62" fmla="*/ 38 w 39"/>
              <a:gd name="T63" fmla="*/ 11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9" h="27">
                <a:moveTo>
                  <a:pt x="38" y="11"/>
                </a:moveTo>
                <a:lnTo>
                  <a:pt x="38" y="13"/>
                </a:lnTo>
                <a:lnTo>
                  <a:pt x="36" y="16"/>
                </a:lnTo>
                <a:lnTo>
                  <a:pt x="35" y="17"/>
                </a:lnTo>
                <a:lnTo>
                  <a:pt x="34" y="20"/>
                </a:lnTo>
                <a:lnTo>
                  <a:pt x="35" y="23"/>
                </a:lnTo>
                <a:lnTo>
                  <a:pt x="35" y="25"/>
                </a:lnTo>
                <a:lnTo>
                  <a:pt x="35" y="26"/>
                </a:lnTo>
                <a:lnTo>
                  <a:pt x="34" y="26"/>
                </a:lnTo>
                <a:lnTo>
                  <a:pt x="31" y="25"/>
                </a:lnTo>
                <a:lnTo>
                  <a:pt x="27" y="23"/>
                </a:lnTo>
                <a:lnTo>
                  <a:pt x="15" y="17"/>
                </a:lnTo>
                <a:lnTo>
                  <a:pt x="9" y="13"/>
                </a:lnTo>
                <a:lnTo>
                  <a:pt x="4" y="11"/>
                </a:lnTo>
                <a:lnTo>
                  <a:pt x="2" y="8"/>
                </a:lnTo>
                <a:lnTo>
                  <a:pt x="0" y="7"/>
                </a:lnTo>
                <a:lnTo>
                  <a:pt x="0" y="6"/>
                </a:lnTo>
                <a:lnTo>
                  <a:pt x="0" y="3"/>
                </a:lnTo>
                <a:lnTo>
                  <a:pt x="3" y="2"/>
                </a:lnTo>
                <a:lnTo>
                  <a:pt x="5" y="0"/>
                </a:lnTo>
                <a:lnTo>
                  <a:pt x="7" y="0"/>
                </a:lnTo>
                <a:lnTo>
                  <a:pt x="12" y="0"/>
                </a:lnTo>
                <a:lnTo>
                  <a:pt x="18" y="2"/>
                </a:lnTo>
                <a:lnTo>
                  <a:pt x="24" y="4"/>
                </a:lnTo>
                <a:lnTo>
                  <a:pt x="26" y="4"/>
                </a:lnTo>
                <a:lnTo>
                  <a:pt x="29" y="2"/>
                </a:lnTo>
                <a:lnTo>
                  <a:pt x="33" y="2"/>
                </a:lnTo>
                <a:lnTo>
                  <a:pt x="36" y="0"/>
                </a:lnTo>
                <a:lnTo>
                  <a:pt x="36" y="2"/>
                </a:lnTo>
                <a:lnTo>
                  <a:pt x="36" y="6"/>
                </a:lnTo>
                <a:lnTo>
                  <a:pt x="38" y="8"/>
                </a:lnTo>
                <a:lnTo>
                  <a:pt x="38" y="11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12" name="Freeform 214">
            <a:extLst>
              <a:ext uri="{FF2B5EF4-FFF2-40B4-BE49-F238E27FC236}">
                <a16:creationId xmlns:a16="http://schemas.microsoft.com/office/drawing/2014/main" id="{6DBFDDF2-F90C-33E5-7271-B2E3207DBE63}"/>
              </a:ext>
            </a:extLst>
          </p:cNvPr>
          <p:cNvSpPr>
            <a:spLocks/>
          </p:cNvSpPr>
          <p:nvPr/>
        </p:nvSpPr>
        <p:spPr bwMode="auto">
          <a:xfrm>
            <a:off x="6393825" y="3052609"/>
            <a:ext cx="47625" cy="61913"/>
          </a:xfrm>
          <a:custGeom>
            <a:avLst/>
            <a:gdLst>
              <a:gd name="T0" fmla="*/ 12 w 23"/>
              <a:gd name="T1" fmla="*/ 4 h 33"/>
              <a:gd name="T2" fmla="*/ 12 w 23"/>
              <a:gd name="T3" fmla="*/ 12 h 33"/>
              <a:gd name="T4" fmla="*/ 15 w 23"/>
              <a:gd name="T5" fmla="*/ 9 h 33"/>
              <a:gd name="T6" fmla="*/ 17 w 23"/>
              <a:gd name="T7" fmla="*/ 8 h 33"/>
              <a:gd name="T8" fmla="*/ 20 w 23"/>
              <a:gd name="T9" fmla="*/ 6 h 33"/>
              <a:gd name="T10" fmla="*/ 22 w 23"/>
              <a:gd name="T11" fmla="*/ 4 h 33"/>
              <a:gd name="T12" fmla="*/ 22 w 23"/>
              <a:gd name="T13" fmla="*/ 11 h 33"/>
              <a:gd name="T14" fmla="*/ 22 w 23"/>
              <a:gd name="T15" fmla="*/ 16 h 33"/>
              <a:gd name="T16" fmla="*/ 22 w 23"/>
              <a:gd name="T17" fmla="*/ 19 h 33"/>
              <a:gd name="T18" fmla="*/ 21 w 23"/>
              <a:gd name="T19" fmla="*/ 22 h 33"/>
              <a:gd name="T20" fmla="*/ 17 w 23"/>
              <a:gd name="T21" fmla="*/ 28 h 33"/>
              <a:gd name="T22" fmla="*/ 16 w 23"/>
              <a:gd name="T23" fmla="*/ 30 h 33"/>
              <a:gd name="T24" fmla="*/ 15 w 23"/>
              <a:gd name="T25" fmla="*/ 32 h 33"/>
              <a:gd name="T26" fmla="*/ 13 w 23"/>
              <a:gd name="T27" fmla="*/ 32 h 33"/>
              <a:gd name="T28" fmla="*/ 13 w 23"/>
              <a:gd name="T29" fmla="*/ 30 h 33"/>
              <a:gd name="T30" fmla="*/ 12 w 23"/>
              <a:gd name="T31" fmla="*/ 25 h 33"/>
              <a:gd name="T32" fmla="*/ 11 w 23"/>
              <a:gd name="T33" fmla="*/ 21 h 33"/>
              <a:gd name="T34" fmla="*/ 9 w 23"/>
              <a:gd name="T35" fmla="*/ 17 h 33"/>
              <a:gd name="T36" fmla="*/ 6 w 23"/>
              <a:gd name="T37" fmla="*/ 14 h 33"/>
              <a:gd name="T38" fmla="*/ 2 w 23"/>
              <a:gd name="T39" fmla="*/ 9 h 33"/>
              <a:gd name="T40" fmla="*/ 0 w 23"/>
              <a:gd name="T41" fmla="*/ 9 h 33"/>
              <a:gd name="T42" fmla="*/ 0 w 23"/>
              <a:gd name="T43" fmla="*/ 7 h 33"/>
              <a:gd name="T44" fmla="*/ 0 w 23"/>
              <a:gd name="T45" fmla="*/ 4 h 33"/>
              <a:gd name="T46" fmla="*/ 2 w 23"/>
              <a:gd name="T47" fmla="*/ 1 h 33"/>
              <a:gd name="T48" fmla="*/ 3 w 23"/>
              <a:gd name="T49" fmla="*/ 0 h 33"/>
              <a:gd name="T50" fmla="*/ 6 w 23"/>
              <a:gd name="T51" fmla="*/ 0 h 33"/>
              <a:gd name="T52" fmla="*/ 8 w 23"/>
              <a:gd name="T53" fmla="*/ 0 h 33"/>
              <a:gd name="T54" fmla="*/ 9 w 23"/>
              <a:gd name="T55" fmla="*/ 1 h 33"/>
              <a:gd name="T56" fmla="*/ 10 w 23"/>
              <a:gd name="T57" fmla="*/ 3 h 33"/>
              <a:gd name="T58" fmla="*/ 12 w 23"/>
              <a:gd name="T59" fmla="*/ 4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23" h="33">
                <a:moveTo>
                  <a:pt x="12" y="4"/>
                </a:moveTo>
                <a:lnTo>
                  <a:pt x="12" y="12"/>
                </a:lnTo>
                <a:lnTo>
                  <a:pt x="15" y="9"/>
                </a:lnTo>
                <a:lnTo>
                  <a:pt x="17" y="8"/>
                </a:lnTo>
                <a:lnTo>
                  <a:pt x="20" y="6"/>
                </a:lnTo>
                <a:lnTo>
                  <a:pt x="22" y="4"/>
                </a:lnTo>
                <a:lnTo>
                  <a:pt x="22" y="11"/>
                </a:lnTo>
                <a:lnTo>
                  <a:pt x="22" y="16"/>
                </a:lnTo>
                <a:lnTo>
                  <a:pt x="22" y="19"/>
                </a:lnTo>
                <a:lnTo>
                  <a:pt x="21" y="22"/>
                </a:lnTo>
                <a:lnTo>
                  <a:pt x="17" y="28"/>
                </a:lnTo>
                <a:lnTo>
                  <a:pt x="16" y="30"/>
                </a:lnTo>
                <a:lnTo>
                  <a:pt x="15" y="32"/>
                </a:lnTo>
                <a:lnTo>
                  <a:pt x="13" y="32"/>
                </a:lnTo>
                <a:lnTo>
                  <a:pt x="13" y="30"/>
                </a:lnTo>
                <a:lnTo>
                  <a:pt x="12" y="25"/>
                </a:lnTo>
                <a:lnTo>
                  <a:pt x="11" y="21"/>
                </a:lnTo>
                <a:lnTo>
                  <a:pt x="9" y="17"/>
                </a:lnTo>
                <a:lnTo>
                  <a:pt x="6" y="14"/>
                </a:lnTo>
                <a:lnTo>
                  <a:pt x="2" y="9"/>
                </a:lnTo>
                <a:lnTo>
                  <a:pt x="0" y="9"/>
                </a:lnTo>
                <a:lnTo>
                  <a:pt x="0" y="7"/>
                </a:lnTo>
                <a:lnTo>
                  <a:pt x="0" y="4"/>
                </a:lnTo>
                <a:lnTo>
                  <a:pt x="2" y="1"/>
                </a:lnTo>
                <a:lnTo>
                  <a:pt x="3" y="0"/>
                </a:lnTo>
                <a:lnTo>
                  <a:pt x="6" y="0"/>
                </a:lnTo>
                <a:lnTo>
                  <a:pt x="8" y="0"/>
                </a:lnTo>
                <a:lnTo>
                  <a:pt x="9" y="1"/>
                </a:lnTo>
                <a:lnTo>
                  <a:pt x="10" y="3"/>
                </a:lnTo>
                <a:lnTo>
                  <a:pt x="12" y="4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13" name="Freeform 215">
            <a:extLst>
              <a:ext uri="{FF2B5EF4-FFF2-40B4-BE49-F238E27FC236}">
                <a16:creationId xmlns:a16="http://schemas.microsoft.com/office/drawing/2014/main" id="{E92DCE55-022B-1086-9F3A-23E6AD0CC369}"/>
              </a:ext>
            </a:extLst>
          </p:cNvPr>
          <p:cNvSpPr>
            <a:spLocks/>
          </p:cNvSpPr>
          <p:nvPr/>
        </p:nvSpPr>
        <p:spPr bwMode="auto">
          <a:xfrm>
            <a:off x="6389063" y="3098646"/>
            <a:ext cx="34925" cy="31750"/>
          </a:xfrm>
          <a:custGeom>
            <a:avLst/>
            <a:gdLst>
              <a:gd name="T0" fmla="*/ 0 w 17"/>
              <a:gd name="T1" fmla="*/ 8 h 17"/>
              <a:gd name="T2" fmla="*/ 5 w 17"/>
              <a:gd name="T3" fmla="*/ 16 h 17"/>
              <a:gd name="T4" fmla="*/ 7 w 17"/>
              <a:gd name="T5" fmla="*/ 16 h 17"/>
              <a:gd name="T6" fmla="*/ 8 w 17"/>
              <a:gd name="T7" fmla="*/ 16 h 17"/>
              <a:gd name="T8" fmla="*/ 11 w 17"/>
              <a:gd name="T9" fmla="*/ 16 h 17"/>
              <a:gd name="T10" fmla="*/ 12 w 17"/>
              <a:gd name="T11" fmla="*/ 13 h 17"/>
              <a:gd name="T12" fmla="*/ 16 w 17"/>
              <a:gd name="T13" fmla="*/ 8 h 17"/>
              <a:gd name="T14" fmla="*/ 11 w 17"/>
              <a:gd name="T15" fmla="*/ 5 h 17"/>
              <a:gd name="T16" fmla="*/ 6 w 17"/>
              <a:gd name="T17" fmla="*/ 0 h 17"/>
              <a:gd name="T18" fmla="*/ 2 w 17"/>
              <a:gd name="T19" fmla="*/ 5 h 17"/>
              <a:gd name="T20" fmla="*/ 0 w 17"/>
              <a:gd name="T21" fmla="*/ 8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7" h="17">
                <a:moveTo>
                  <a:pt x="0" y="8"/>
                </a:moveTo>
                <a:lnTo>
                  <a:pt x="5" y="16"/>
                </a:lnTo>
                <a:lnTo>
                  <a:pt x="7" y="16"/>
                </a:lnTo>
                <a:lnTo>
                  <a:pt x="8" y="16"/>
                </a:lnTo>
                <a:lnTo>
                  <a:pt x="11" y="16"/>
                </a:lnTo>
                <a:lnTo>
                  <a:pt x="12" y="13"/>
                </a:lnTo>
                <a:lnTo>
                  <a:pt x="16" y="8"/>
                </a:lnTo>
                <a:lnTo>
                  <a:pt x="11" y="5"/>
                </a:lnTo>
                <a:lnTo>
                  <a:pt x="6" y="0"/>
                </a:lnTo>
                <a:lnTo>
                  <a:pt x="2" y="5"/>
                </a:lnTo>
                <a:lnTo>
                  <a:pt x="0" y="8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14" name="Freeform 216">
            <a:extLst>
              <a:ext uri="{FF2B5EF4-FFF2-40B4-BE49-F238E27FC236}">
                <a16:creationId xmlns:a16="http://schemas.microsoft.com/office/drawing/2014/main" id="{5814102A-8813-2B24-B4A6-6BB4FBF2EFC8}"/>
              </a:ext>
            </a:extLst>
          </p:cNvPr>
          <p:cNvSpPr>
            <a:spLocks/>
          </p:cNvSpPr>
          <p:nvPr/>
        </p:nvSpPr>
        <p:spPr bwMode="auto">
          <a:xfrm>
            <a:off x="6841500" y="3551084"/>
            <a:ext cx="63500" cy="47625"/>
          </a:xfrm>
          <a:custGeom>
            <a:avLst/>
            <a:gdLst>
              <a:gd name="T0" fmla="*/ 24 w 31"/>
              <a:gd name="T1" fmla="*/ 0 h 26"/>
              <a:gd name="T2" fmla="*/ 21 w 31"/>
              <a:gd name="T3" fmla="*/ 1 h 26"/>
              <a:gd name="T4" fmla="*/ 17 w 31"/>
              <a:gd name="T5" fmla="*/ 1 h 26"/>
              <a:gd name="T6" fmla="*/ 9 w 31"/>
              <a:gd name="T7" fmla="*/ 2 h 26"/>
              <a:gd name="T8" fmla="*/ 5 w 31"/>
              <a:gd name="T9" fmla="*/ 3 h 26"/>
              <a:gd name="T10" fmla="*/ 3 w 31"/>
              <a:gd name="T11" fmla="*/ 3 h 26"/>
              <a:gd name="T12" fmla="*/ 1 w 31"/>
              <a:gd name="T13" fmla="*/ 4 h 26"/>
              <a:gd name="T14" fmla="*/ 0 w 31"/>
              <a:gd name="T15" fmla="*/ 6 h 26"/>
              <a:gd name="T16" fmla="*/ 0 w 31"/>
              <a:gd name="T17" fmla="*/ 8 h 26"/>
              <a:gd name="T18" fmla="*/ 0 w 31"/>
              <a:gd name="T19" fmla="*/ 11 h 26"/>
              <a:gd name="T20" fmla="*/ 0 w 31"/>
              <a:gd name="T21" fmla="*/ 12 h 26"/>
              <a:gd name="T22" fmla="*/ 1 w 31"/>
              <a:gd name="T23" fmla="*/ 13 h 26"/>
              <a:gd name="T24" fmla="*/ 5 w 31"/>
              <a:gd name="T25" fmla="*/ 15 h 26"/>
              <a:gd name="T26" fmla="*/ 5 w 31"/>
              <a:gd name="T27" fmla="*/ 25 h 26"/>
              <a:gd name="T28" fmla="*/ 8 w 31"/>
              <a:gd name="T29" fmla="*/ 24 h 26"/>
              <a:gd name="T30" fmla="*/ 12 w 31"/>
              <a:gd name="T31" fmla="*/ 23 h 26"/>
              <a:gd name="T32" fmla="*/ 14 w 31"/>
              <a:gd name="T33" fmla="*/ 21 h 26"/>
              <a:gd name="T34" fmla="*/ 17 w 31"/>
              <a:gd name="T35" fmla="*/ 19 h 26"/>
              <a:gd name="T36" fmla="*/ 23 w 31"/>
              <a:gd name="T37" fmla="*/ 13 h 26"/>
              <a:gd name="T38" fmla="*/ 26 w 31"/>
              <a:gd name="T39" fmla="*/ 11 h 26"/>
              <a:gd name="T40" fmla="*/ 30 w 31"/>
              <a:gd name="T41" fmla="*/ 9 h 26"/>
              <a:gd name="T42" fmla="*/ 27 w 31"/>
              <a:gd name="T43" fmla="*/ 7 h 26"/>
              <a:gd name="T44" fmla="*/ 26 w 31"/>
              <a:gd name="T45" fmla="*/ 6 h 26"/>
              <a:gd name="T46" fmla="*/ 22 w 31"/>
              <a:gd name="T47" fmla="*/ 0 h 26"/>
              <a:gd name="T48" fmla="*/ 24 w 31"/>
              <a:gd name="T49" fmla="*/ 0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1" h="26">
                <a:moveTo>
                  <a:pt x="24" y="0"/>
                </a:moveTo>
                <a:lnTo>
                  <a:pt x="21" y="1"/>
                </a:lnTo>
                <a:lnTo>
                  <a:pt x="17" y="1"/>
                </a:lnTo>
                <a:lnTo>
                  <a:pt x="9" y="2"/>
                </a:lnTo>
                <a:lnTo>
                  <a:pt x="5" y="3"/>
                </a:lnTo>
                <a:lnTo>
                  <a:pt x="3" y="3"/>
                </a:lnTo>
                <a:lnTo>
                  <a:pt x="1" y="4"/>
                </a:lnTo>
                <a:lnTo>
                  <a:pt x="0" y="6"/>
                </a:lnTo>
                <a:lnTo>
                  <a:pt x="0" y="8"/>
                </a:lnTo>
                <a:lnTo>
                  <a:pt x="0" y="11"/>
                </a:lnTo>
                <a:lnTo>
                  <a:pt x="0" y="12"/>
                </a:lnTo>
                <a:lnTo>
                  <a:pt x="1" y="13"/>
                </a:lnTo>
                <a:lnTo>
                  <a:pt x="5" y="15"/>
                </a:lnTo>
                <a:lnTo>
                  <a:pt x="5" y="25"/>
                </a:lnTo>
                <a:lnTo>
                  <a:pt x="8" y="24"/>
                </a:lnTo>
                <a:lnTo>
                  <a:pt x="12" y="23"/>
                </a:lnTo>
                <a:lnTo>
                  <a:pt x="14" y="21"/>
                </a:lnTo>
                <a:lnTo>
                  <a:pt x="17" y="19"/>
                </a:lnTo>
                <a:lnTo>
                  <a:pt x="23" y="13"/>
                </a:lnTo>
                <a:lnTo>
                  <a:pt x="26" y="11"/>
                </a:lnTo>
                <a:lnTo>
                  <a:pt x="30" y="9"/>
                </a:lnTo>
                <a:lnTo>
                  <a:pt x="27" y="7"/>
                </a:lnTo>
                <a:lnTo>
                  <a:pt x="26" y="6"/>
                </a:lnTo>
                <a:lnTo>
                  <a:pt x="22" y="0"/>
                </a:lnTo>
                <a:lnTo>
                  <a:pt x="24" y="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15" name="Freeform 217">
            <a:extLst>
              <a:ext uri="{FF2B5EF4-FFF2-40B4-BE49-F238E27FC236}">
                <a16:creationId xmlns:a16="http://schemas.microsoft.com/office/drawing/2014/main" id="{191C903E-5BA1-3171-2E4C-F7BB0BF7593F}"/>
              </a:ext>
            </a:extLst>
          </p:cNvPr>
          <p:cNvSpPr>
            <a:spLocks/>
          </p:cNvSpPr>
          <p:nvPr/>
        </p:nvSpPr>
        <p:spPr bwMode="auto">
          <a:xfrm>
            <a:off x="8473450" y="4565496"/>
            <a:ext cx="66675" cy="138113"/>
          </a:xfrm>
          <a:custGeom>
            <a:avLst/>
            <a:gdLst>
              <a:gd name="T0" fmla="*/ 32 w 33"/>
              <a:gd name="T1" fmla="*/ 55 h 74"/>
              <a:gd name="T2" fmla="*/ 30 w 33"/>
              <a:gd name="T3" fmla="*/ 59 h 74"/>
              <a:gd name="T4" fmla="*/ 29 w 33"/>
              <a:gd name="T5" fmla="*/ 61 h 74"/>
              <a:gd name="T6" fmla="*/ 28 w 33"/>
              <a:gd name="T7" fmla="*/ 65 h 74"/>
              <a:gd name="T8" fmla="*/ 25 w 33"/>
              <a:gd name="T9" fmla="*/ 67 h 74"/>
              <a:gd name="T10" fmla="*/ 23 w 33"/>
              <a:gd name="T11" fmla="*/ 69 h 74"/>
              <a:gd name="T12" fmla="*/ 20 w 33"/>
              <a:gd name="T13" fmla="*/ 70 h 74"/>
              <a:gd name="T14" fmla="*/ 16 w 33"/>
              <a:gd name="T15" fmla="*/ 72 h 74"/>
              <a:gd name="T16" fmla="*/ 14 w 33"/>
              <a:gd name="T17" fmla="*/ 73 h 74"/>
              <a:gd name="T18" fmla="*/ 11 w 33"/>
              <a:gd name="T19" fmla="*/ 72 h 74"/>
              <a:gd name="T20" fmla="*/ 10 w 33"/>
              <a:gd name="T21" fmla="*/ 72 h 74"/>
              <a:gd name="T22" fmla="*/ 7 w 33"/>
              <a:gd name="T23" fmla="*/ 69 h 74"/>
              <a:gd name="T24" fmla="*/ 6 w 33"/>
              <a:gd name="T25" fmla="*/ 68 h 74"/>
              <a:gd name="T26" fmla="*/ 5 w 33"/>
              <a:gd name="T27" fmla="*/ 66 h 74"/>
              <a:gd name="T28" fmla="*/ 4 w 33"/>
              <a:gd name="T29" fmla="*/ 64 h 74"/>
              <a:gd name="T30" fmla="*/ 2 w 33"/>
              <a:gd name="T31" fmla="*/ 59 h 74"/>
              <a:gd name="T32" fmla="*/ 1 w 33"/>
              <a:gd name="T33" fmla="*/ 52 h 74"/>
              <a:gd name="T34" fmla="*/ 0 w 33"/>
              <a:gd name="T35" fmla="*/ 46 h 74"/>
              <a:gd name="T36" fmla="*/ 0 w 33"/>
              <a:gd name="T37" fmla="*/ 40 h 74"/>
              <a:gd name="T38" fmla="*/ 0 w 33"/>
              <a:gd name="T39" fmla="*/ 34 h 74"/>
              <a:gd name="T40" fmla="*/ 0 w 33"/>
              <a:gd name="T41" fmla="*/ 29 h 74"/>
              <a:gd name="T42" fmla="*/ 0 w 33"/>
              <a:gd name="T43" fmla="*/ 24 h 74"/>
              <a:gd name="T44" fmla="*/ 2 w 33"/>
              <a:gd name="T45" fmla="*/ 17 h 74"/>
              <a:gd name="T46" fmla="*/ 4 w 33"/>
              <a:gd name="T47" fmla="*/ 10 h 74"/>
              <a:gd name="T48" fmla="*/ 5 w 33"/>
              <a:gd name="T49" fmla="*/ 0 h 74"/>
              <a:gd name="T50" fmla="*/ 7 w 33"/>
              <a:gd name="T51" fmla="*/ 1 h 74"/>
              <a:gd name="T52" fmla="*/ 10 w 33"/>
              <a:gd name="T53" fmla="*/ 3 h 74"/>
              <a:gd name="T54" fmla="*/ 14 w 33"/>
              <a:gd name="T55" fmla="*/ 7 h 74"/>
              <a:gd name="T56" fmla="*/ 19 w 33"/>
              <a:gd name="T57" fmla="*/ 14 h 74"/>
              <a:gd name="T58" fmla="*/ 23 w 33"/>
              <a:gd name="T59" fmla="*/ 20 h 74"/>
              <a:gd name="T60" fmla="*/ 27 w 33"/>
              <a:gd name="T61" fmla="*/ 29 h 74"/>
              <a:gd name="T62" fmla="*/ 29 w 33"/>
              <a:gd name="T63" fmla="*/ 38 h 74"/>
              <a:gd name="T64" fmla="*/ 30 w 33"/>
              <a:gd name="T65" fmla="*/ 46 h 74"/>
              <a:gd name="T66" fmla="*/ 32 w 33"/>
              <a:gd name="T67" fmla="*/ 55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3" h="74">
                <a:moveTo>
                  <a:pt x="32" y="55"/>
                </a:moveTo>
                <a:lnTo>
                  <a:pt x="30" y="59"/>
                </a:lnTo>
                <a:lnTo>
                  <a:pt x="29" y="61"/>
                </a:lnTo>
                <a:lnTo>
                  <a:pt x="28" y="65"/>
                </a:lnTo>
                <a:lnTo>
                  <a:pt x="25" y="67"/>
                </a:lnTo>
                <a:lnTo>
                  <a:pt x="23" y="69"/>
                </a:lnTo>
                <a:lnTo>
                  <a:pt x="20" y="70"/>
                </a:lnTo>
                <a:lnTo>
                  <a:pt x="16" y="72"/>
                </a:lnTo>
                <a:lnTo>
                  <a:pt x="14" y="73"/>
                </a:lnTo>
                <a:lnTo>
                  <a:pt x="11" y="72"/>
                </a:lnTo>
                <a:lnTo>
                  <a:pt x="10" y="72"/>
                </a:lnTo>
                <a:lnTo>
                  <a:pt x="7" y="69"/>
                </a:lnTo>
                <a:lnTo>
                  <a:pt x="6" y="68"/>
                </a:lnTo>
                <a:lnTo>
                  <a:pt x="5" y="66"/>
                </a:lnTo>
                <a:lnTo>
                  <a:pt x="4" y="64"/>
                </a:lnTo>
                <a:lnTo>
                  <a:pt x="2" y="59"/>
                </a:lnTo>
                <a:lnTo>
                  <a:pt x="1" y="52"/>
                </a:lnTo>
                <a:lnTo>
                  <a:pt x="0" y="46"/>
                </a:lnTo>
                <a:lnTo>
                  <a:pt x="0" y="40"/>
                </a:lnTo>
                <a:lnTo>
                  <a:pt x="0" y="34"/>
                </a:lnTo>
                <a:lnTo>
                  <a:pt x="0" y="29"/>
                </a:lnTo>
                <a:lnTo>
                  <a:pt x="0" y="24"/>
                </a:lnTo>
                <a:lnTo>
                  <a:pt x="2" y="17"/>
                </a:lnTo>
                <a:lnTo>
                  <a:pt x="4" y="10"/>
                </a:lnTo>
                <a:lnTo>
                  <a:pt x="5" y="0"/>
                </a:lnTo>
                <a:lnTo>
                  <a:pt x="7" y="1"/>
                </a:lnTo>
                <a:lnTo>
                  <a:pt x="10" y="3"/>
                </a:lnTo>
                <a:lnTo>
                  <a:pt x="14" y="7"/>
                </a:lnTo>
                <a:lnTo>
                  <a:pt x="19" y="14"/>
                </a:lnTo>
                <a:lnTo>
                  <a:pt x="23" y="20"/>
                </a:lnTo>
                <a:lnTo>
                  <a:pt x="27" y="29"/>
                </a:lnTo>
                <a:lnTo>
                  <a:pt x="29" y="38"/>
                </a:lnTo>
                <a:lnTo>
                  <a:pt x="30" y="46"/>
                </a:lnTo>
                <a:lnTo>
                  <a:pt x="32" y="55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16" name="Freeform 218">
            <a:extLst>
              <a:ext uri="{FF2B5EF4-FFF2-40B4-BE49-F238E27FC236}">
                <a16:creationId xmlns:a16="http://schemas.microsoft.com/office/drawing/2014/main" id="{81870B76-15C5-1E24-0D2B-68FE745421AF}"/>
              </a:ext>
            </a:extLst>
          </p:cNvPr>
          <p:cNvSpPr>
            <a:spLocks/>
          </p:cNvSpPr>
          <p:nvPr/>
        </p:nvSpPr>
        <p:spPr bwMode="auto">
          <a:xfrm>
            <a:off x="4365000" y="4778221"/>
            <a:ext cx="130175" cy="211138"/>
          </a:xfrm>
          <a:custGeom>
            <a:avLst/>
            <a:gdLst>
              <a:gd name="T0" fmla="*/ 21 w 64"/>
              <a:gd name="T1" fmla="*/ 0 h 113"/>
              <a:gd name="T2" fmla="*/ 18 w 64"/>
              <a:gd name="T3" fmla="*/ 5 h 113"/>
              <a:gd name="T4" fmla="*/ 14 w 64"/>
              <a:gd name="T5" fmla="*/ 9 h 113"/>
              <a:gd name="T6" fmla="*/ 9 w 64"/>
              <a:gd name="T7" fmla="*/ 13 h 113"/>
              <a:gd name="T8" fmla="*/ 8 w 64"/>
              <a:gd name="T9" fmla="*/ 16 h 113"/>
              <a:gd name="T10" fmla="*/ 9 w 64"/>
              <a:gd name="T11" fmla="*/ 21 h 113"/>
              <a:gd name="T12" fmla="*/ 14 w 64"/>
              <a:gd name="T13" fmla="*/ 25 h 113"/>
              <a:gd name="T14" fmla="*/ 0 w 64"/>
              <a:gd name="T15" fmla="*/ 32 h 113"/>
              <a:gd name="T16" fmla="*/ 0 w 64"/>
              <a:gd name="T17" fmla="*/ 44 h 113"/>
              <a:gd name="T18" fmla="*/ 3 w 64"/>
              <a:gd name="T19" fmla="*/ 48 h 113"/>
              <a:gd name="T20" fmla="*/ 6 w 64"/>
              <a:gd name="T21" fmla="*/ 52 h 113"/>
              <a:gd name="T22" fmla="*/ 13 w 64"/>
              <a:gd name="T23" fmla="*/ 53 h 113"/>
              <a:gd name="T24" fmla="*/ 16 w 64"/>
              <a:gd name="T25" fmla="*/ 56 h 113"/>
              <a:gd name="T26" fmla="*/ 17 w 64"/>
              <a:gd name="T27" fmla="*/ 62 h 113"/>
              <a:gd name="T28" fmla="*/ 22 w 64"/>
              <a:gd name="T29" fmla="*/ 70 h 113"/>
              <a:gd name="T30" fmla="*/ 23 w 64"/>
              <a:gd name="T31" fmla="*/ 74 h 113"/>
              <a:gd name="T32" fmla="*/ 21 w 64"/>
              <a:gd name="T33" fmla="*/ 81 h 113"/>
              <a:gd name="T34" fmla="*/ 19 w 64"/>
              <a:gd name="T35" fmla="*/ 88 h 113"/>
              <a:gd name="T36" fmla="*/ 19 w 64"/>
              <a:gd name="T37" fmla="*/ 93 h 113"/>
              <a:gd name="T38" fmla="*/ 21 w 64"/>
              <a:gd name="T39" fmla="*/ 101 h 113"/>
              <a:gd name="T40" fmla="*/ 24 w 64"/>
              <a:gd name="T41" fmla="*/ 107 h 113"/>
              <a:gd name="T42" fmla="*/ 30 w 64"/>
              <a:gd name="T43" fmla="*/ 111 h 113"/>
              <a:gd name="T44" fmla="*/ 37 w 64"/>
              <a:gd name="T45" fmla="*/ 112 h 113"/>
              <a:gd name="T46" fmla="*/ 45 w 64"/>
              <a:gd name="T47" fmla="*/ 108 h 113"/>
              <a:gd name="T48" fmla="*/ 54 w 64"/>
              <a:gd name="T49" fmla="*/ 102 h 113"/>
              <a:gd name="T50" fmla="*/ 59 w 64"/>
              <a:gd name="T51" fmla="*/ 99 h 113"/>
              <a:gd name="T52" fmla="*/ 62 w 64"/>
              <a:gd name="T53" fmla="*/ 97 h 113"/>
              <a:gd name="T54" fmla="*/ 59 w 64"/>
              <a:gd name="T55" fmla="*/ 89 h 113"/>
              <a:gd name="T56" fmla="*/ 54 w 64"/>
              <a:gd name="T57" fmla="*/ 83 h 113"/>
              <a:gd name="T58" fmla="*/ 49 w 64"/>
              <a:gd name="T59" fmla="*/ 76 h 113"/>
              <a:gd name="T60" fmla="*/ 46 w 64"/>
              <a:gd name="T61" fmla="*/ 71 h 113"/>
              <a:gd name="T62" fmla="*/ 46 w 64"/>
              <a:gd name="T63" fmla="*/ 65 h 113"/>
              <a:gd name="T64" fmla="*/ 50 w 64"/>
              <a:gd name="T65" fmla="*/ 61 h 113"/>
              <a:gd name="T66" fmla="*/ 57 w 64"/>
              <a:gd name="T67" fmla="*/ 55 h 113"/>
              <a:gd name="T68" fmla="*/ 59 w 64"/>
              <a:gd name="T69" fmla="*/ 50 h 113"/>
              <a:gd name="T70" fmla="*/ 63 w 64"/>
              <a:gd name="T71" fmla="*/ 34 h 113"/>
              <a:gd name="T72" fmla="*/ 54 w 64"/>
              <a:gd name="T73" fmla="*/ 27 h 113"/>
              <a:gd name="T74" fmla="*/ 46 w 64"/>
              <a:gd name="T75" fmla="*/ 25 h 113"/>
              <a:gd name="T76" fmla="*/ 39 w 64"/>
              <a:gd name="T77" fmla="*/ 25 h 113"/>
              <a:gd name="T78" fmla="*/ 39 w 64"/>
              <a:gd name="T79" fmla="*/ 14 h 113"/>
              <a:gd name="T80" fmla="*/ 35 w 64"/>
              <a:gd name="T81" fmla="*/ 7 h 113"/>
              <a:gd name="T82" fmla="*/ 28 w 64"/>
              <a:gd name="T83" fmla="*/ 3 h 113"/>
              <a:gd name="T84" fmla="*/ 22 w 64"/>
              <a:gd name="T85" fmla="*/ 0 h 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64" h="113">
                <a:moveTo>
                  <a:pt x="22" y="0"/>
                </a:moveTo>
                <a:lnTo>
                  <a:pt x="21" y="0"/>
                </a:lnTo>
                <a:lnTo>
                  <a:pt x="19" y="3"/>
                </a:lnTo>
                <a:lnTo>
                  <a:pt x="18" y="5"/>
                </a:lnTo>
                <a:lnTo>
                  <a:pt x="16" y="7"/>
                </a:lnTo>
                <a:lnTo>
                  <a:pt x="14" y="9"/>
                </a:lnTo>
                <a:lnTo>
                  <a:pt x="12" y="11"/>
                </a:lnTo>
                <a:lnTo>
                  <a:pt x="9" y="13"/>
                </a:lnTo>
                <a:lnTo>
                  <a:pt x="9" y="14"/>
                </a:lnTo>
                <a:lnTo>
                  <a:pt x="8" y="16"/>
                </a:lnTo>
                <a:lnTo>
                  <a:pt x="9" y="19"/>
                </a:lnTo>
                <a:lnTo>
                  <a:pt x="9" y="21"/>
                </a:lnTo>
                <a:lnTo>
                  <a:pt x="12" y="23"/>
                </a:lnTo>
                <a:lnTo>
                  <a:pt x="14" y="25"/>
                </a:lnTo>
                <a:lnTo>
                  <a:pt x="6" y="28"/>
                </a:lnTo>
                <a:lnTo>
                  <a:pt x="0" y="32"/>
                </a:lnTo>
                <a:lnTo>
                  <a:pt x="0" y="42"/>
                </a:lnTo>
                <a:lnTo>
                  <a:pt x="0" y="44"/>
                </a:lnTo>
                <a:lnTo>
                  <a:pt x="0" y="46"/>
                </a:lnTo>
                <a:lnTo>
                  <a:pt x="3" y="48"/>
                </a:lnTo>
                <a:lnTo>
                  <a:pt x="5" y="49"/>
                </a:lnTo>
                <a:lnTo>
                  <a:pt x="6" y="52"/>
                </a:lnTo>
                <a:lnTo>
                  <a:pt x="7" y="53"/>
                </a:lnTo>
                <a:lnTo>
                  <a:pt x="13" y="53"/>
                </a:lnTo>
                <a:lnTo>
                  <a:pt x="16" y="52"/>
                </a:lnTo>
                <a:lnTo>
                  <a:pt x="16" y="56"/>
                </a:lnTo>
                <a:lnTo>
                  <a:pt x="16" y="59"/>
                </a:lnTo>
                <a:lnTo>
                  <a:pt x="17" y="62"/>
                </a:lnTo>
                <a:lnTo>
                  <a:pt x="19" y="66"/>
                </a:lnTo>
                <a:lnTo>
                  <a:pt x="22" y="70"/>
                </a:lnTo>
                <a:lnTo>
                  <a:pt x="23" y="72"/>
                </a:lnTo>
                <a:lnTo>
                  <a:pt x="23" y="74"/>
                </a:lnTo>
                <a:lnTo>
                  <a:pt x="23" y="77"/>
                </a:lnTo>
                <a:lnTo>
                  <a:pt x="21" y="81"/>
                </a:lnTo>
                <a:lnTo>
                  <a:pt x="19" y="85"/>
                </a:lnTo>
                <a:lnTo>
                  <a:pt x="19" y="88"/>
                </a:lnTo>
                <a:lnTo>
                  <a:pt x="18" y="90"/>
                </a:lnTo>
                <a:lnTo>
                  <a:pt x="19" y="93"/>
                </a:lnTo>
                <a:lnTo>
                  <a:pt x="19" y="97"/>
                </a:lnTo>
                <a:lnTo>
                  <a:pt x="21" y="101"/>
                </a:lnTo>
                <a:lnTo>
                  <a:pt x="23" y="104"/>
                </a:lnTo>
                <a:lnTo>
                  <a:pt x="24" y="107"/>
                </a:lnTo>
                <a:lnTo>
                  <a:pt x="27" y="110"/>
                </a:lnTo>
                <a:lnTo>
                  <a:pt x="30" y="111"/>
                </a:lnTo>
                <a:lnTo>
                  <a:pt x="34" y="112"/>
                </a:lnTo>
                <a:lnTo>
                  <a:pt x="37" y="112"/>
                </a:lnTo>
                <a:lnTo>
                  <a:pt x="41" y="110"/>
                </a:lnTo>
                <a:lnTo>
                  <a:pt x="45" y="108"/>
                </a:lnTo>
                <a:lnTo>
                  <a:pt x="48" y="105"/>
                </a:lnTo>
                <a:lnTo>
                  <a:pt x="54" y="102"/>
                </a:lnTo>
                <a:lnTo>
                  <a:pt x="58" y="99"/>
                </a:lnTo>
                <a:lnTo>
                  <a:pt x="59" y="99"/>
                </a:lnTo>
                <a:lnTo>
                  <a:pt x="62" y="98"/>
                </a:lnTo>
                <a:lnTo>
                  <a:pt x="62" y="97"/>
                </a:lnTo>
                <a:lnTo>
                  <a:pt x="61" y="94"/>
                </a:lnTo>
                <a:lnTo>
                  <a:pt x="59" y="89"/>
                </a:lnTo>
                <a:lnTo>
                  <a:pt x="57" y="85"/>
                </a:lnTo>
                <a:lnTo>
                  <a:pt x="54" y="83"/>
                </a:lnTo>
                <a:lnTo>
                  <a:pt x="52" y="79"/>
                </a:lnTo>
                <a:lnTo>
                  <a:pt x="49" y="76"/>
                </a:lnTo>
                <a:lnTo>
                  <a:pt x="48" y="72"/>
                </a:lnTo>
                <a:lnTo>
                  <a:pt x="46" y="71"/>
                </a:lnTo>
                <a:lnTo>
                  <a:pt x="46" y="69"/>
                </a:lnTo>
                <a:lnTo>
                  <a:pt x="46" y="65"/>
                </a:lnTo>
                <a:lnTo>
                  <a:pt x="49" y="62"/>
                </a:lnTo>
                <a:lnTo>
                  <a:pt x="50" y="61"/>
                </a:lnTo>
                <a:lnTo>
                  <a:pt x="53" y="59"/>
                </a:lnTo>
                <a:lnTo>
                  <a:pt x="57" y="55"/>
                </a:lnTo>
                <a:lnTo>
                  <a:pt x="59" y="53"/>
                </a:lnTo>
                <a:lnTo>
                  <a:pt x="59" y="50"/>
                </a:lnTo>
                <a:lnTo>
                  <a:pt x="62" y="44"/>
                </a:lnTo>
                <a:lnTo>
                  <a:pt x="63" y="34"/>
                </a:lnTo>
                <a:lnTo>
                  <a:pt x="58" y="31"/>
                </a:lnTo>
                <a:lnTo>
                  <a:pt x="54" y="27"/>
                </a:lnTo>
                <a:lnTo>
                  <a:pt x="49" y="26"/>
                </a:lnTo>
                <a:lnTo>
                  <a:pt x="46" y="25"/>
                </a:lnTo>
                <a:lnTo>
                  <a:pt x="45" y="25"/>
                </a:lnTo>
                <a:lnTo>
                  <a:pt x="39" y="25"/>
                </a:lnTo>
                <a:lnTo>
                  <a:pt x="39" y="19"/>
                </a:lnTo>
                <a:lnTo>
                  <a:pt x="39" y="14"/>
                </a:lnTo>
                <a:lnTo>
                  <a:pt x="37" y="11"/>
                </a:lnTo>
                <a:lnTo>
                  <a:pt x="35" y="7"/>
                </a:lnTo>
                <a:lnTo>
                  <a:pt x="32" y="4"/>
                </a:lnTo>
                <a:lnTo>
                  <a:pt x="28" y="3"/>
                </a:lnTo>
                <a:lnTo>
                  <a:pt x="24" y="0"/>
                </a:lnTo>
                <a:lnTo>
                  <a:pt x="22" y="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17" name="Freeform 219">
            <a:extLst>
              <a:ext uri="{FF2B5EF4-FFF2-40B4-BE49-F238E27FC236}">
                <a16:creationId xmlns:a16="http://schemas.microsoft.com/office/drawing/2014/main" id="{3265D0F9-5AFC-9804-32D5-484780191A8F}"/>
              </a:ext>
            </a:extLst>
          </p:cNvPr>
          <p:cNvSpPr>
            <a:spLocks/>
          </p:cNvSpPr>
          <p:nvPr/>
        </p:nvSpPr>
        <p:spPr bwMode="auto">
          <a:xfrm>
            <a:off x="4461838" y="4843309"/>
            <a:ext cx="120650" cy="130175"/>
          </a:xfrm>
          <a:custGeom>
            <a:avLst/>
            <a:gdLst>
              <a:gd name="T0" fmla="*/ 59 w 60"/>
              <a:gd name="T1" fmla="*/ 12 h 70"/>
              <a:gd name="T2" fmla="*/ 55 w 60"/>
              <a:gd name="T3" fmla="*/ 18 h 70"/>
              <a:gd name="T4" fmla="*/ 53 w 60"/>
              <a:gd name="T5" fmla="*/ 26 h 70"/>
              <a:gd name="T6" fmla="*/ 51 w 60"/>
              <a:gd name="T7" fmla="*/ 31 h 70"/>
              <a:gd name="T8" fmla="*/ 54 w 60"/>
              <a:gd name="T9" fmla="*/ 37 h 70"/>
              <a:gd name="T10" fmla="*/ 56 w 60"/>
              <a:gd name="T11" fmla="*/ 41 h 70"/>
              <a:gd name="T12" fmla="*/ 57 w 60"/>
              <a:gd name="T13" fmla="*/ 45 h 70"/>
              <a:gd name="T14" fmla="*/ 56 w 60"/>
              <a:gd name="T15" fmla="*/ 50 h 70"/>
              <a:gd name="T16" fmla="*/ 50 w 60"/>
              <a:gd name="T17" fmla="*/ 58 h 70"/>
              <a:gd name="T18" fmla="*/ 49 w 60"/>
              <a:gd name="T19" fmla="*/ 62 h 70"/>
              <a:gd name="T20" fmla="*/ 46 w 60"/>
              <a:gd name="T21" fmla="*/ 58 h 70"/>
              <a:gd name="T22" fmla="*/ 44 w 60"/>
              <a:gd name="T23" fmla="*/ 55 h 70"/>
              <a:gd name="T24" fmla="*/ 32 w 60"/>
              <a:gd name="T25" fmla="*/ 60 h 70"/>
              <a:gd name="T26" fmla="*/ 27 w 60"/>
              <a:gd name="T27" fmla="*/ 65 h 70"/>
              <a:gd name="T28" fmla="*/ 24 w 60"/>
              <a:gd name="T29" fmla="*/ 69 h 70"/>
              <a:gd name="T30" fmla="*/ 20 w 60"/>
              <a:gd name="T31" fmla="*/ 67 h 70"/>
              <a:gd name="T32" fmla="*/ 17 w 60"/>
              <a:gd name="T33" fmla="*/ 65 h 70"/>
              <a:gd name="T34" fmla="*/ 14 w 60"/>
              <a:gd name="T35" fmla="*/ 64 h 70"/>
              <a:gd name="T36" fmla="*/ 14 w 60"/>
              <a:gd name="T37" fmla="*/ 59 h 70"/>
              <a:gd name="T38" fmla="*/ 10 w 60"/>
              <a:gd name="T39" fmla="*/ 51 h 70"/>
              <a:gd name="T40" fmla="*/ 5 w 60"/>
              <a:gd name="T41" fmla="*/ 44 h 70"/>
              <a:gd name="T42" fmla="*/ 1 w 60"/>
              <a:gd name="T43" fmla="*/ 37 h 70"/>
              <a:gd name="T44" fmla="*/ 0 w 60"/>
              <a:gd name="T45" fmla="*/ 34 h 70"/>
              <a:gd name="T46" fmla="*/ 2 w 60"/>
              <a:gd name="T47" fmla="*/ 27 h 70"/>
              <a:gd name="T48" fmla="*/ 5 w 60"/>
              <a:gd name="T49" fmla="*/ 24 h 70"/>
              <a:gd name="T50" fmla="*/ 11 w 60"/>
              <a:gd name="T51" fmla="*/ 18 h 70"/>
              <a:gd name="T52" fmla="*/ 14 w 60"/>
              <a:gd name="T53" fmla="*/ 9 h 70"/>
              <a:gd name="T54" fmla="*/ 19 w 60"/>
              <a:gd name="T55" fmla="*/ 1 h 70"/>
              <a:gd name="T56" fmla="*/ 23 w 60"/>
              <a:gd name="T57" fmla="*/ 3 h 70"/>
              <a:gd name="T58" fmla="*/ 40 w 60"/>
              <a:gd name="T59" fmla="*/ 4 h 70"/>
              <a:gd name="T60" fmla="*/ 50 w 60"/>
              <a:gd name="T61" fmla="*/ 5 h 70"/>
              <a:gd name="T62" fmla="*/ 59 w 60"/>
              <a:gd name="T63" fmla="*/ 8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60" h="70">
                <a:moveTo>
                  <a:pt x="59" y="8"/>
                </a:moveTo>
                <a:lnTo>
                  <a:pt x="59" y="12"/>
                </a:lnTo>
                <a:lnTo>
                  <a:pt x="58" y="14"/>
                </a:lnTo>
                <a:lnTo>
                  <a:pt x="55" y="18"/>
                </a:lnTo>
                <a:lnTo>
                  <a:pt x="53" y="23"/>
                </a:lnTo>
                <a:lnTo>
                  <a:pt x="53" y="26"/>
                </a:lnTo>
                <a:lnTo>
                  <a:pt x="51" y="28"/>
                </a:lnTo>
                <a:lnTo>
                  <a:pt x="51" y="31"/>
                </a:lnTo>
                <a:lnTo>
                  <a:pt x="53" y="34"/>
                </a:lnTo>
                <a:lnTo>
                  <a:pt x="54" y="37"/>
                </a:lnTo>
                <a:lnTo>
                  <a:pt x="55" y="39"/>
                </a:lnTo>
                <a:lnTo>
                  <a:pt x="56" y="41"/>
                </a:lnTo>
                <a:lnTo>
                  <a:pt x="57" y="42"/>
                </a:lnTo>
                <a:lnTo>
                  <a:pt x="57" y="45"/>
                </a:lnTo>
                <a:lnTo>
                  <a:pt x="57" y="47"/>
                </a:lnTo>
                <a:lnTo>
                  <a:pt x="56" y="50"/>
                </a:lnTo>
                <a:lnTo>
                  <a:pt x="53" y="54"/>
                </a:lnTo>
                <a:lnTo>
                  <a:pt x="50" y="58"/>
                </a:lnTo>
                <a:lnTo>
                  <a:pt x="50" y="59"/>
                </a:lnTo>
                <a:lnTo>
                  <a:pt x="49" y="62"/>
                </a:lnTo>
                <a:lnTo>
                  <a:pt x="47" y="60"/>
                </a:lnTo>
                <a:lnTo>
                  <a:pt x="46" y="58"/>
                </a:lnTo>
                <a:lnTo>
                  <a:pt x="45" y="58"/>
                </a:lnTo>
                <a:lnTo>
                  <a:pt x="44" y="55"/>
                </a:lnTo>
                <a:lnTo>
                  <a:pt x="36" y="59"/>
                </a:lnTo>
                <a:lnTo>
                  <a:pt x="32" y="60"/>
                </a:lnTo>
                <a:lnTo>
                  <a:pt x="26" y="62"/>
                </a:lnTo>
                <a:lnTo>
                  <a:pt x="27" y="65"/>
                </a:lnTo>
                <a:lnTo>
                  <a:pt x="26" y="69"/>
                </a:lnTo>
                <a:lnTo>
                  <a:pt x="24" y="69"/>
                </a:lnTo>
                <a:lnTo>
                  <a:pt x="23" y="68"/>
                </a:lnTo>
                <a:lnTo>
                  <a:pt x="20" y="67"/>
                </a:lnTo>
                <a:lnTo>
                  <a:pt x="19" y="66"/>
                </a:lnTo>
                <a:lnTo>
                  <a:pt x="17" y="65"/>
                </a:lnTo>
                <a:lnTo>
                  <a:pt x="16" y="65"/>
                </a:lnTo>
                <a:lnTo>
                  <a:pt x="14" y="64"/>
                </a:lnTo>
                <a:lnTo>
                  <a:pt x="14" y="62"/>
                </a:lnTo>
                <a:lnTo>
                  <a:pt x="14" y="59"/>
                </a:lnTo>
                <a:lnTo>
                  <a:pt x="11" y="55"/>
                </a:lnTo>
                <a:lnTo>
                  <a:pt x="10" y="51"/>
                </a:lnTo>
                <a:lnTo>
                  <a:pt x="7" y="48"/>
                </a:lnTo>
                <a:lnTo>
                  <a:pt x="5" y="44"/>
                </a:lnTo>
                <a:lnTo>
                  <a:pt x="2" y="41"/>
                </a:lnTo>
                <a:lnTo>
                  <a:pt x="1" y="37"/>
                </a:lnTo>
                <a:lnTo>
                  <a:pt x="0" y="36"/>
                </a:lnTo>
                <a:lnTo>
                  <a:pt x="0" y="34"/>
                </a:lnTo>
                <a:lnTo>
                  <a:pt x="0" y="31"/>
                </a:lnTo>
                <a:lnTo>
                  <a:pt x="2" y="27"/>
                </a:lnTo>
                <a:lnTo>
                  <a:pt x="3" y="26"/>
                </a:lnTo>
                <a:lnTo>
                  <a:pt x="5" y="24"/>
                </a:lnTo>
                <a:lnTo>
                  <a:pt x="10" y="20"/>
                </a:lnTo>
                <a:lnTo>
                  <a:pt x="11" y="18"/>
                </a:lnTo>
                <a:lnTo>
                  <a:pt x="12" y="15"/>
                </a:lnTo>
                <a:lnTo>
                  <a:pt x="14" y="9"/>
                </a:lnTo>
                <a:lnTo>
                  <a:pt x="16" y="0"/>
                </a:lnTo>
                <a:lnTo>
                  <a:pt x="19" y="1"/>
                </a:lnTo>
                <a:lnTo>
                  <a:pt x="20" y="3"/>
                </a:lnTo>
                <a:lnTo>
                  <a:pt x="23" y="3"/>
                </a:lnTo>
                <a:lnTo>
                  <a:pt x="28" y="4"/>
                </a:lnTo>
                <a:lnTo>
                  <a:pt x="40" y="4"/>
                </a:lnTo>
                <a:lnTo>
                  <a:pt x="45" y="4"/>
                </a:lnTo>
                <a:lnTo>
                  <a:pt x="50" y="5"/>
                </a:lnTo>
                <a:lnTo>
                  <a:pt x="59" y="7"/>
                </a:lnTo>
                <a:lnTo>
                  <a:pt x="59" y="8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18" name="Freeform 220">
            <a:extLst>
              <a:ext uri="{FF2B5EF4-FFF2-40B4-BE49-F238E27FC236}">
                <a16:creationId xmlns:a16="http://schemas.microsoft.com/office/drawing/2014/main" id="{38F407D1-D7CE-CCDD-7F49-D491E12AAD03}"/>
              </a:ext>
            </a:extLst>
          </p:cNvPr>
          <p:cNvSpPr>
            <a:spLocks/>
          </p:cNvSpPr>
          <p:nvPr/>
        </p:nvSpPr>
        <p:spPr bwMode="auto">
          <a:xfrm>
            <a:off x="4561850" y="4860771"/>
            <a:ext cx="104775" cy="103188"/>
          </a:xfrm>
          <a:custGeom>
            <a:avLst/>
            <a:gdLst>
              <a:gd name="T0" fmla="*/ 51 w 52"/>
              <a:gd name="T1" fmla="*/ 22 h 55"/>
              <a:gd name="T2" fmla="*/ 47 w 52"/>
              <a:gd name="T3" fmla="*/ 21 h 55"/>
              <a:gd name="T4" fmla="*/ 45 w 52"/>
              <a:gd name="T5" fmla="*/ 26 h 55"/>
              <a:gd name="T6" fmla="*/ 42 w 52"/>
              <a:gd name="T7" fmla="*/ 30 h 55"/>
              <a:gd name="T8" fmla="*/ 40 w 52"/>
              <a:gd name="T9" fmla="*/ 36 h 55"/>
              <a:gd name="T10" fmla="*/ 35 w 52"/>
              <a:gd name="T11" fmla="*/ 41 h 55"/>
              <a:gd name="T12" fmla="*/ 31 w 52"/>
              <a:gd name="T13" fmla="*/ 46 h 55"/>
              <a:gd name="T14" fmla="*/ 28 w 52"/>
              <a:gd name="T15" fmla="*/ 48 h 55"/>
              <a:gd name="T16" fmla="*/ 26 w 52"/>
              <a:gd name="T17" fmla="*/ 50 h 55"/>
              <a:gd name="T18" fmla="*/ 22 w 52"/>
              <a:gd name="T19" fmla="*/ 52 h 55"/>
              <a:gd name="T20" fmla="*/ 19 w 52"/>
              <a:gd name="T21" fmla="*/ 53 h 55"/>
              <a:gd name="T22" fmla="*/ 14 w 52"/>
              <a:gd name="T23" fmla="*/ 54 h 55"/>
              <a:gd name="T24" fmla="*/ 10 w 52"/>
              <a:gd name="T25" fmla="*/ 54 h 55"/>
              <a:gd name="T26" fmla="*/ 5 w 52"/>
              <a:gd name="T27" fmla="*/ 54 h 55"/>
              <a:gd name="T28" fmla="*/ 2 w 52"/>
              <a:gd name="T29" fmla="*/ 53 h 55"/>
              <a:gd name="T30" fmla="*/ 0 w 52"/>
              <a:gd name="T31" fmla="*/ 52 h 55"/>
              <a:gd name="T32" fmla="*/ 1 w 52"/>
              <a:gd name="T33" fmla="*/ 49 h 55"/>
              <a:gd name="T34" fmla="*/ 4 w 52"/>
              <a:gd name="T35" fmla="*/ 45 h 55"/>
              <a:gd name="T36" fmla="*/ 6 w 52"/>
              <a:gd name="T37" fmla="*/ 41 h 55"/>
              <a:gd name="T38" fmla="*/ 8 w 52"/>
              <a:gd name="T39" fmla="*/ 38 h 55"/>
              <a:gd name="T40" fmla="*/ 8 w 52"/>
              <a:gd name="T41" fmla="*/ 36 h 55"/>
              <a:gd name="T42" fmla="*/ 8 w 52"/>
              <a:gd name="T43" fmla="*/ 33 h 55"/>
              <a:gd name="T44" fmla="*/ 6 w 52"/>
              <a:gd name="T45" fmla="*/ 32 h 55"/>
              <a:gd name="T46" fmla="*/ 5 w 52"/>
              <a:gd name="T47" fmla="*/ 29 h 55"/>
              <a:gd name="T48" fmla="*/ 3 w 52"/>
              <a:gd name="T49" fmla="*/ 26 h 55"/>
              <a:gd name="T50" fmla="*/ 2 w 52"/>
              <a:gd name="T51" fmla="*/ 23 h 55"/>
              <a:gd name="T52" fmla="*/ 2 w 52"/>
              <a:gd name="T53" fmla="*/ 20 h 55"/>
              <a:gd name="T54" fmla="*/ 3 w 52"/>
              <a:gd name="T55" fmla="*/ 18 h 55"/>
              <a:gd name="T56" fmla="*/ 4 w 52"/>
              <a:gd name="T57" fmla="*/ 15 h 55"/>
              <a:gd name="T58" fmla="*/ 6 w 52"/>
              <a:gd name="T59" fmla="*/ 10 h 55"/>
              <a:gd name="T60" fmla="*/ 9 w 52"/>
              <a:gd name="T61" fmla="*/ 6 h 55"/>
              <a:gd name="T62" fmla="*/ 10 w 52"/>
              <a:gd name="T63" fmla="*/ 3 h 55"/>
              <a:gd name="T64" fmla="*/ 10 w 52"/>
              <a:gd name="T65" fmla="*/ 0 h 55"/>
              <a:gd name="T66" fmla="*/ 16 w 52"/>
              <a:gd name="T67" fmla="*/ 1 h 55"/>
              <a:gd name="T68" fmla="*/ 22 w 52"/>
              <a:gd name="T69" fmla="*/ 3 h 55"/>
              <a:gd name="T70" fmla="*/ 27 w 52"/>
              <a:gd name="T71" fmla="*/ 5 h 55"/>
              <a:gd name="T72" fmla="*/ 31 w 52"/>
              <a:gd name="T73" fmla="*/ 7 h 55"/>
              <a:gd name="T74" fmla="*/ 40 w 52"/>
              <a:gd name="T75" fmla="*/ 14 h 55"/>
              <a:gd name="T76" fmla="*/ 47 w 52"/>
              <a:gd name="T77" fmla="*/ 20 h 55"/>
              <a:gd name="T78" fmla="*/ 51 w 52"/>
              <a:gd name="T79" fmla="*/ 22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2" h="55">
                <a:moveTo>
                  <a:pt x="51" y="22"/>
                </a:moveTo>
                <a:lnTo>
                  <a:pt x="47" y="21"/>
                </a:lnTo>
                <a:lnTo>
                  <a:pt x="45" y="26"/>
                </a:lnTo>
                <a:lnTo>
                  <a:pt x="42" y="30"/>
                </a:lnTo>
                <a:lnTo>
                  <a:pt x="40" y="36"/>
                </a:lnTo>
                <a:lnTo>
                  <a:pt x="35" y="41"/>
                </a:lnTo>
                <a:lnTo>
                  <a:pt x="31" y="46"/>
                </a:lnTo>
                <a:lnTo>
                  <a:pt x="28" y="48"/>
                </a:lnTo>
                <a:lnTo>
                  <a:pt x="26" y="50"/>
                </a:lnTo>
                <a:lnTo>
                  <a:pt x="22" y="52"/>
                </a:lnTo>
                <a:lnTo>
                  <a:pt x="19" y="53"/>
                </a:lnTo>
                <a:lnTo>
                  <a:pt x="14" y="54"/>
                </a:lnTo>
                <a:lnTo>
                  <a:pt x="10" y="54"/>
                </a:lnTo>
                <a:lnTo>
                  <a:pt x="5" y="54"/>
                </a:lnTo>
                <a:lnTo>
                  <a:pt x="2" y="53"/>
                </a:lnTo>
                <a:lnTo>
                  <a:pt x="0" y="52"/>
                </a:lnTo>
                <a:lnTo>
                  <a:pt x="1" y="49"/>
                </a:lnTo>
                <a:lnTo>
                  <a:pt x="4" y="45"/>
                </a:lnTo>
                <a:lnTo>
                  <a:pt x="6" y="41"/>
                </a:lnTo>
                <a:lnTo>
                  <a:pt x="8" y="38"/>
                </a:lnTo>
                <a:lnTo>
                  <a:pt x="8" y="36"/>
                </a:lnTo>
                <a:lnTo>
                  <a:pt x="8" y="33"/>
                </a:lnTo>
                <a:lnTo>
                  <a:pt x="6" y="32"/>
                </a:lnTo>
                <a:lnTo>
                  <a:pt x="5" y="29"/>
                </a:lnTo>
                <a:lnTo>
                  <a:pt x="3" y="26"/>
                </a:lnTo>
                <a:lnTo>
                  <a:pt x="2" y="23"/>
                </a:lnTo>
                <a:lnTo>
                  <a:pt x="2" y="20"/>
                </a:lnTo>
                <a:lnTo>
                  <a:pt x="3" y="18"/>
                </a:lnTo>
                <a:lnTo>
                  <a:pt x="4" y="15"/>
                </a:lnTo>
                <a:lnTo>
                  <a:pt x="6" y="10"/>
                </a:lnTo>
                <a:lnTo>
                  <a:pt x="9" y="6"/>
                </a:lnTo>
                <a:lnTo>
                  <a:pt x="10" y="3"/>
                </a:lnTo>
                <a:lnTo>
                  <a:pt x="10" y="0"/>
                </a:lnTo>
                <a:lnTo>
                  <a:pt x="16" y="1"/>
                </a:lnTo>
                <a:lnTo>
                  <a:pt x="22" y="3"/>
                </a:lnTo>
                <a:lnTo>
                  <a:pt x="27" y="5"/>
                </a:lnTo>
                <a:lnTo>
                  <a:pt x="31" y="7"/>
                </a:lnTo>
                <a:lnTo>
                  <a:pt x="40" y="14"/>
                </a:lnTo>
                <a:lnTo>
                  <a:pt x="47" y="20"/>
                </a:lnTo>
                <a:lnTo>
                  <a:pt x="51" y="22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19" name="Freeform 221">
            <a:extLst>
              <a:ext uri="{FF2B5EF4-FFF2-40B4-BE49-F238E27FC236}">
                <a16:creationId xmlns:a16="http://schemas.microsoft.com/office/drawing/2014/main" id="{94DD0B0E-CB59-27BF-488D-F6B49CCC3A8F}"/>
              </a:ext>
            </a:extLst>
          </p:cNvPr>
          <p:cNvSpPr>
            <a:spLocks/>
          </p:cNvSpPr>
          <p:nvPr/>
        </p:nvSpPr>
        <p:spPr bwMode="auto">
          <a:xfrm>
            <a:off x="4020513" y="4692496"/>
            <a:ext cx="393700" cy="312738"/>
          </a:xfrm>
          <a:custGeom>
            <a:avLst/>
            <a:gdLst>
              <a:gd name="T0" fmla="*/ 190 w 195"/>
              <a:gd name="T1" fmla="*/ 51 h 167"/>
              <a:gd name="T2" fmla="*/ 181 w 195"/>
              <a:gd name="T3" fmla="*/ 59 h 167"/>
              <a:gd name="T4" fmla="*/ 181 w 195"/>
              <a:gd name="T5" fmla="*/ 67 h 167"/>
              <a:gd name="T6" fmla="*/ 171 w 195"/>
              <a:gd name="T7" fmla="*/ 78 h 167"/>
              <a:gd name="T8" fmla="*/ 175 w 195"/>
              <a:gd name="T9" fmla="*/ 94 h 167"/>
              <a:gd name="T10" fmla="*/ 177 w 195"/>
              <a:gd name="T11" fmla="*/ 102 h 167"/>
              <a:gd name="T12" fmla="*/ 172 w 195"/>
              <a:gd name="T13" fmla="*/ 109 h 167"/>
              <a:gd name="T14" fmla="*/ 153 w 195"/>
              <a:gd name="T15" fmla="*/ 119 h 167"/>
              <a:gd name="T16" fmla="*/ 144 w 195"/>
              <a:gd name="T17" fmla="*/ 122 h 167"/>
              <a:gd name="T18" fmla="*/ 125 w 195"/>
              <a:gd name="T19" fmla="*/ 116 h 167"/>
              <a:gd name="T20" fmla="*/ 132 w 195"/>
              <a:gd name="T21" fmla="*/ 136 h 167"/>
              <a:gd name="T22" fmla="*/ 135 w 195"/>
              <a:gd name="T23" fmla="*/ 146 h 167"/>
              <a:gd name="T24" fmla="*/ 117 w 195"/>
              <a:gd name="T25" fmla="*/ 159 h 167"/>
              <a:gd name="T26" fmla="*/ 98 w 195"/>
              <a:gd name="T27" fmla="*/ 164 h 167"/>
              <a:gd name="T28" fmla="*/ 86 w 195"/>
              <a:gd name="T29" fmla="*/ 164 h 167"/>
              <a:gd name="T30" fmla="*/ 85 w 195"/>
              <a:gd name="T31" fmla="*/ 149 h 167"/>
              <a:gd name="T32" fmla="*/ 78 w 195"/>
              <a:gd name="T33" fmla="*/ 136 h 167"/>
              <a:gd name="T34" fmla="*/ 78 w 195"/>
              <a:gd name="T35" fmla="*/ 130 h 167"/>
              <a:gd name="T36" fmla="*/ 79 w 195"/>
              <a:gd name="T37" fmla="*/ 122 h 167"/>
              <a:gd name="T38" fmla="*/ 74 w 195"/>
              <a:gd name="T39" fmla="*/ 116 h 167"/>
              <a:gd name="T40" fmla="*/ 76 w 195"/>
              <a:gd name="T41" fmla="*/ 98 h 167"/>
              <a:gd name="T42" fmla="*/ 70 w 195"/>
              <a:gd name="T43" fmla="*/ 85 h 167"/>
              <a:gd name="T44" fmla="*/ 54 w 195"/>
              <a:gd name="T45" fmla="*/ 86 h 167"/>
              <a:gd name="T46" fmla="*/ 45 w 195"/>
              <a:gd name="T47" fmla="*/ 79 h 167"/>
              <a:gd name="T48" fmla="*/ 27 w 195"/>
              <a:gd name="T49" fmla="*/ 73 h 167"/>
              <a:gd name="T50" fmla="*/ 11 w 195"/>
              <a:gd name="T51" fmla="*/ 69 h 167"/>
              <a:gd name="T52" fmla="*/ 7 w 195"/>
              <a:gd name="T53" fmla="*/ 63 h 167"/>
              <a:gd name="T54" fmla="*/ 11 w 195"/>
              <a:gd name="T55" fmla="*/ 56 h 167"/>
              <a:gd name="T56" fmla="*/ 6 w 195"/>
              <a:gd name="T57" fmla="*/ 46 h 167"/>
              <a:gd name="T58" fmla="*/ 1 w 195"/>
              <a:gd name="T59" fmla="*/ 40 h 167"/>
              <a:gd name="T60" fmla="*/ 0 w 195"/>
              <a:gd name="T61" fmla="*/ 33 h 167"/>
              <a:gd name="T62" fmla="*/ 9 w 195"/>
              <a:gd name="T63" fmla="*/ 17 h 167"/>
              <a:gd name="T64" fmla="*/ 23 w 195"/>
              <a:gd name="T65" fmla="*/ 6 h 167"/>
              <a:gd name="T66" fmla="*/ 27 w 195"/>
              <a:gd name="T67" fmla="*/ 13 h 167"/>
              <a:gd name="T68" fmla="*/ 20 w 195"/>
              <a:gd name="T69" fmla="*/ 24 h 167"/>
              <a:gd name="T70" fmla="*/ 22 w 195"/>
              <a:gd name="T71" fmla="*/ 33 h 167"/>
              <a:gd name="T72" fmla="*/ 28 w 195"/>
              <a:gd name="T73" fmla="*/ 37 h 167"/>
              <a:gd name="T74" fmla="*/ 35 w 195"/>
              <a:gd name="T75" fmla="*/ 29 h 167"/>
              <a:gd name="T76" fmla="*/ 28 w 195"/>
              <a:gd name="T77" fmla="*/ 22 h 167"/>
              <a:gd name="T78" fmla="*/ 27 w 195"/>
              <a:gd name="T79" fmla="*/ 14 h 167"/>
              <a:gd name="T80" fmla="*/ 37 w 195"/>
              <a:gd name="T81" fmla="*/ 6 h 167"/>
              <a:gd name="T82" fmla="*/ 52 w 195"/>
              <a:gd name="T83" fmla="*/ 1 h 167"/>
              <a:gd name="T84" fmla="*/ 62 w 195"/>
              <a:gd name="T85" fmla="*/ 3 h 167"/>
              <a:gd name="T86" fmla="*/ 78 w 195"/>
              <a:gd name="T87" fmla="*/ 13 h 167"/>
              <a:gd name="T88" fmla="*/ 95 w 195"/>
              <a:gd name="T89" fmla="*/ 16 h 167"/>
              <a:gd name="T90" fmla="*/ 112 w 195"/>
              <a:gd name="T91" fmla="*/ 20 h 167"/>
              <a:gd name="T92" fmla="*/ 132 w 195"/>
              <a:gd name="T93" fmla="*/ 19 h 167"/>
              <a:gd name="T94" fmla="*/ 159 w 195"/>
              <a:gd name="T95" fmla="*/ 13 h 167"/>
              <a:gd name="T96" fmla="*/ 153 w 195"/>
              <a:gd name="T97" fmla="*/ 19 h 167"/>
              <a:gd name="T98" fmla="*/ 166 w 195"/>
              <a:gd name="T99" fmla="*/ 26 h 167"/>
              <a:gd name="T100" fmla="*/ 177 w 195"/>
              <a:gd name="T101" fmla="*/ 33 h 167"/>
              <a:gd name="T102" fmla="*/ 175 w 195"/>
              <a:gd name="T103" fmla="*/ 45 h 167"/>
              <a:gd name="T104" fmla="*/ 188 w 195"/>
              <a:gd name="T105" fmla="*/ 45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95" h="167">
                <a:moveTo>
                  <a:pt x="194" y="46"/>
                </a:moveTo>
                <a:lnTo>
                  <a:pt x="193" y="46"/>
                </a:lnTo>
                <a:lnTo>
                  <a:pt x="191" y="49"/>
                </a:lnTo>
                <a:lnTo>
                  <a:pt x="190" y="51"/>
                </a:lnTo>
                <a:lnTo>
                  <a:pt x="188" y="53"/>
                </a:lnTo>
                <a:lnTo>
                  <a:pt x="186" y="55"/>
                </a:lnTo>
                <a:lnTo>
                  <a:pt x="183" y="57"/>
                </a:lnTo>
                <a:lnTo>
                  <a:pt x="181" y="59"/>
                </a:lnTo>
                <a:lnTo>
                  <a:pt x="180" y="60"/>
                </a:lnTo>
                <a:lnTo>
                  <a:pt x="180" y="63"/>
                </a:lnTo>
                <a:lnTo>
                  <a:pt x="180" y="65"/>
                </a:lnTo>
                <a:lnTo>
                  <a:pt x="181" y="67"/>
                </a:lnTo>
                <a:lnTo>
                  <a:pt x="183" y="69"/>
                </a:lnTo>
                <a:lnTo>
                  <a:pt x="186" y="71"/>
                </a:lnTo>
                <a:lnTo>
                  <a:pt x="177" y="74"/>
                </a:lnTo>
                <a:lnTo>
                  <a:pt x="171" y="78"/>
                </a:lnTo>
                <a:lnTo>
                  <a:pt x="171" y="89"/>
                </a:lnTo>
                <a:lnTo>
                  <a:pt x="171" y="90"/>
                </a:lnTo>
                <a:lnTo>
                  <a:pt x="172" y="92"/>
                </a:lnTo>
                <a:lnTo>
                  <a:pt x="175" y="94"/>
                </a:lnTo>
                <a:lnTo>
                  <a:pt x="176" y="96"/>
                </a:lnTo>
                <a:lnTo>
                  <a:pt x="177" y="98"/>
                </a:lnTo>
                <a:lnTo>
                  <a:pt x="179" y="99"/>
                </a:lnTo>
                <a:lnTo>
                  <a:pt x="177" y="102"/>
                </a:lnTo>
                <a:lnTo>
                  <a:pt x="177" y="105"/>
                </a:lnTo>
                <a:lnTo>
                  <a:pt x="176" y="107"/>
                </a:lnTo>
                <a:lnTo>
                  <a:pt x="173" y="108"/>
                </a:lnTo>
                <a:lnTo>
                  <a:pt x="172" y="109"/>
                </a:lnTo>
                <a:lnTo>
                  <a:pt x="170" y="110"/>
                </a:lnTo>
                <a:lnTo>
                  <a:pt x="166" y="113"/>
                </a:lnTo>
                <a:lnTo>
                  <a:pt x="154" y="118"/>
                </a:lnTo>
                <a:lnTo>
                  <a:pt x="153" y="119"/>
                </a:lnTo>
                <a:lnTo>
                  <a:pt x="149" y="121"/>
                </a:lnTo>
                <a:lnTo>
                  <a:pt x="148" y="122"/>
                </a:lnTo>
                <a:lnTo>
                  <a:pt x="146" y="123"/>
                </a:lnTo>
                <a:lnTo>
                  <a:pt x="144" y="122"/>
                </a:lnTo>
                <a:lnTo>
                  <a:pt x="141" y="122"/>
                </a:lnTo>
                <a:lnTo>
                  <a:pt x="136" y="119"/>
                </a:lnTo>
                <a:lnTo>
                  <a:pt x="129" y="116"/>
                </a:lnTo>
                <a:lnTo>
                  <a:pt x="125" y="116"/>
                </a:lnTo>
                <a:lnTo>
                  <a:pt x="122" y="116"/>
                </a:lnTo>
                <a:lnTo>
                  <a:pt x="125" y="122"/>
                </a:lnTo>
                <a:lnTo>
                  <a:pt x="128" y="130"/>
                </a:lnTo>
                <a:lnTo>
                  <a:pt x="132" y="136"/>
                </a:lnTo>
                <a:lnTo>
                  <a:pt x="135" y="139"/>
                </a:lnTo>
                <a:lnTo>
                  <a:pt x="137" y="141"/>
                </a:lnTo>
                <a:lnTo>
                  <a:pt x="136" y="143"/>
                </a:lnTo>
                <a:lnTo>
                  <a:pt x="135" y="146"/>
                </a:lnTo>
                <a:lnTo>
                  <a:pt x="132" y="149"/>
                </a:lnTo>
                <a:lnTo>
                  <a:pt x="127" y="153"/>
                </a:lnTo>
                <a:lnTo>
                  <a:pt x="122" y="157"/>
                </a:lnTo>
                <a:lnTo>
                  <a:pt x="117" y="159"/>
                </a:lnTo>
                <a:lnTo>
                  <a:pt x="110" y="162"/>
                </a:lnTo>
                <a:lnTo>
                  <a:pt x="108" y="163"/>
                </a:lnTo>
                <a:lnTo>
                  <a:pt x="105" y="164"/>
                </a:lnTo>
                <a:lnTo>
                  <a:pt x="98" y="164"/>
                </a:lnTo>
                <a:lnTo>
                  <a:pt x="95" y="166"/>
                </a:lnTo>
                <a:lnTo>
                  <a:pt x="90" y="166"/>
                </a:lnTo>
                <a:lnTo>
                  <a:pt x="88" y="166"/>
                </a:lnTo>
                <a:lnTo>
                  <a:pt x="86" y="164"/>
                </a:lnTo>
                <a:lnTo>
                  <a:pt x="85" y="162"/>
                </a:lnTo>
                <a:lnTo>
                  <a:pt x="85" y="159"/>
                </a:lnTo>
                <a:lnTo>
                  <a:pt x="85" y="154"/>
                </a:lnTo>
                <a:lnTo>
                  <a:pt x="85" y="149"/>
                </a:lnTo>
                <a:lnTo>
                  <a:pt x="83" y="145"/>
                </a:lnTo>
                <a:lnTo>
                  <a:pt x="81" y="142"/>
                </a:lnTo>
                <a:lnTo>
                  <a:pt x="79" y="139"/>
                </a:lnTo>
                <a:lnTo>
                  <a:pt x="78" y="136"/>
                </a:lnTo>
                <a:lnTo>
                  <a:pt x="77" y="136"/>
                </a:lnTo>
                <a:lnTo>
                  <a:pt x="76" y="134"/>
                </a:lnTo>
                <a:lnTo>
                  <a:pt x="77" y="132"/>
                </a:lnTo>
                <a:lnTo>
                  <a:pt x="78" y="130"/>
                </a:lnTo>
                <a:lnTo>
                  <a:pt x="79" y="127"/>
                </a:lnTo>
                <a:lnTo>
                  <a:pt x="81" y="126"/>
                </a:lnTo>
                <a:lnTo>
                  <a:pt x="81" y="125"/>
                </a:lnTo>
                <a:lnTo>
                  <a:pt x="79" y="122"/>
                </a:lnTo>
                <a:lnTo>
                  <a:pt x="79" y="121"/>
                </a:lnTo>
                <a:lnTo>
                  <a:pt x="77" y="118"/>
                </a:lnTo>
                <a:lnTo>
                  <a:pt x="74" y="117"/>
                </a:lnTo>
                <a:lnTo>
                  <a:pt x="74" y="116"/>
                </a:lnTo>
                <a:lnTo>
                  <a:pt x="73" y="113"/>
                </a:lnTo>
                <a:lnTo>
                  <a:pt x="73" y="110"/>
                </a:lnTo>
                <a:lnTo>
                  <a:pt x="74" y="104"/>
                </a:lnTo>
                <a:lnTo>
                  <a:pt x="76" y="98"/>
                </a:lnTo>
                <a:lnTo>
                  <a:pt x="81" y="83"/>
                </a:lnTo>
                <a:lnTo>
                  <a:pt x="78" y="83"/>
                </a:lnTo>
                <a:lnTo>
                  <a:pt x="76" y="83"/>
                </a:lnTo>
                <a:lnTo>
                  <a:pt x="70" y="85"/>
                </a:lnTo>
                <a:lnTo>
                  <a:pt x="64" y="86"/>
                </a:lnTo>
                <a:lnTo>
                  <a:pt x="58" y="86"/>
                </a:lnTo>
                <a:lnTo>
                  <a:pt x="55" y="86"/>
                </a:lnTo>
                <a:lnTo>
                  <a:pt x="54" y="86"/>
                </a:lnTo>
                <a:lnTo>
                  <a:pt x="51" y="85"/>
                </a:lnTo>
                <a:lnTo>
                  <a:pt x="49" y="83"/>
                </a:lnTo>
                <a:lnTo>
                  <a:pt x="47" y="82"/>
                </a:lnTo>
                <a:lnTo>
                  <a:pt x="45" y="79"/>
                </a:lnTo>
                <a:lnTo>
                  <a:pt x="44" y="77"/>
                </a:lnTo>
                <a:lnTo>
                  <a:pt x="43" y="74"/>
                </a:lnTo>
                <a:lnTo>
                  <a:pt x="33" y="74"/>
                </a:lnTo>
                <a:lnTo>
                  <a:pt x="27" y="73"/>
                </a:lnTo>
                <a:lnTo>
                  <a:pt x="20" y="73"/>
                </a:lnTo>
                <a:lnTo>
                  <a:pt x="16" y="71"/>
                </a:lnTo>
                <a:lnTo>
                  <a:pt x="13" y="69"/>
                </a:lnTo>
                <a:lnTo>
                  <a:pt x="11" y="69"/>
                </a:lnTo>
                <a:lnTo>
                  <a:pt x="10" y="68"/>
                </a:lnTo>
                <a:lnTo>
                  <a:pt x="9" y="66"/>
                </a:lnTo>
                <a:lnTo>
                  <a:pt x="7" y="64"/>
                </a:lnTo>
                <a:lnTo>
                  <a:pt x="7" y="63"/>
                </a:lnTo>
                <a:lnTo>
                  <a:pt x="7" y="62"/>
                </a:lnTo>
                <a:lnTo>
                  <a:pt x="10" y="59"/>
                </a:lnTo>
                <a:lnTo>
                  <a:pt x="10" y="58"/>
                </a:lnTo>
                <a:lnTo>
                  <a:pt x="11" y="56"/>
                </a:lnTo>
                <a:lnTo>
                  <a:pt x="11" y="54"/>
                </a:lnTo>
                <a:lnTo>
                  <a:pt x="10" y="51"/>
                </a:lnTo>
                <a:lnTo>
                  <a:pt x="7" y="49"/>
                </a:lnTo>
                <a:lnTo>
                  <a:pt x="6" y="46"/>
                </a:lnTo>
                <a:lnTo>
                  <a:pt x="5" y="45"/>
                </a:lnTo>
                <a:lnTo>
                  <a:pt x="4" y="43"/>
                </a:lnTo>
                <a:lnTo>
                  <a:pt x="4" y="41"/>
                </a:lnTo>
                <a:lnTo>
                  <a:pt x="1" y="40"/>
                </a:lnTo>
                <a:lnTo>
                  <a:pt x="0" y="38"/>
                </a:lnTo>
                <a:lnTo>
                  <a:pt x="0" y="37"/>
                </a:lnTo>
                <a:lnTo>
                  <a:pt x="0" y="36"/>
                </a:lnTo>
                <a:lnTo>
                  <a:pt x="0" y="33"/>
                </a:lnTo>
                <a:lnTo>
                  <a:pt x="0" y="32"/>
                </a:lnTo>
                <a:lnTo>
                  <a:pt x="1" y="29"/>
                </a:lnTo>
                <a:lnTo>
                  <a:pt x="5" y="23"/>
                </a:lnTo>
                <a:lnTo>
                  <a:pt x="9" y="17"/>
                </a:lnTo>
                <a:lnTo>
                  <a:pt x="14" y="11"/>
                </a:lnTo>
                <a:lnTo>
                  <a:pt x="19" y="6"/>
                </a:lnTo>
                <a:lnTo>
                  <a:pt x="23" y="5"/>
                </a:lnTo>
                <a:lnTo>
                  <a:pt x="23" y="6"/>
                </a:lnTo>
                <a:lnTo>
                  <a:pt x="24" y="9"/>
                </a:lnTo>
                <a:lnTo>
                  <a:pt x="27" y="9"/>
                </a:lnTo>
                <a:lnTo>
                  <a:pt x="27" y="11"/>
                </a:lnTo>
                <a:lnTo>
                  <a:pt x="27" y="13"/>
                </a:lnTo>
                <a:lnTo>
                  <a:pt x="25" y="15"/>
                </a:lnTo>
                <a:lnTo>
                  <a:pt x="23" y="18"/>
                </a:lnTo>
                <a:lnTo>
                  <a:pt x="20" y="23"/>
                </a:lnTo>
                <a:lnTo>
                  <a:pt x="20" y="24"/>
                </a:lnTo>
                <a:lnTo>
                  <a:pt x="20" y="27"/>
                </a:lnTo>
                <a:lnTo>
                  <a:pt x="20" y="31"/>
                </a:lnTo>
                <a:lnTo>
                  <a:pt x="20" y="33"/>
                </a:lnTo>
                <a:lnTo>
                  <a:pt x="22" y="33"/>
                </a:lnTo>
                <a:lnTo>
                  <a:pt x="23" y="36"/>
                </a:lnTo>
                <a:lnTo>
                  <a:pt x="25" y="37"/>
                </a:lnTo>
                <a:lnTo>
                  <a:pt x="27" y="37"/>
                </a:lnTo>
                <a:lnTo>
                  <a:pt x="28" y="37"/>
                </a:lnTo>
                <a:lnTo>
                  <a:pt x="30" y="36"/>
                </a:lnTo>
                <a:lnTo>
                  <a:pt x="32" y="35"/>
                </a:lnTo>
                <a:lnTo>
                  <a:pt x="34" y="32"/>
                </a:lnTo>
                <a:lnTo>
                  <a:pt x="35" y="29"/>
                </a:lnTo>
                <a:lnTo>
                  <a:pt x="34" y="28"/>
                </a:lnTo>
                <a:lnTo>
                  <a:pt x="33" y="26"/>
                </a:lnTo>
                <a:lnTo>
                  <a:pt x="31" y="23"/>
                </a:lnTo>
                <a:lnTo>
                  <a:pt x="28" y="22"/>
                </a:lnTo>
                <a:lnTo>
                  <a:pt x="27" y="19"/>
                </a:lnTo>
                <a:lnTo>
                  <a:pt x="27" y="18"/>
                </a:lnTo>
                <a:lnTo>
                  <a:pt x="27" y="16"/>
                </a:lnTo>
                <a:lnTo>
                  <a:pt x="27" y="14"/>
                </a:lnTo>
                <a:lnTo>
                  <a:pt x="28" y="13"/>
                </a:lnTo>
                <a:lnTo>
                  <a:pt x="30" y="11"/>
                </a:lnTo>
                <a:lnTo>
                  <a:pt x="33" y="9"/>
                </a:lnTo>
                <a:lnTo>
                  <a:pt x="37" y="6"/>
                </a:lnTo>
                <a:lnTo>
                  <a:pt x="45" y="2"/>
                </a:lnTo>
                <a:lnTo>
                  <a:pt x="49" y="0"/>
                </a:lnTo>
                <a:lnTo>
                  <a:pt x="51" y="0"/>
                </a:lnTo>
                <a:lnTo>
                  <a:pt x="52" y="1"/>
                </a:lnTo>
                <a:lnTo>
                  <a:pt x="54" y="2"/>
                </a:lnTo>
                <a:lnTo>
                  <a:pt x="56" y="3"/>
                </a:lnTo>
                <a:lnTo>
                  <a:pt x="58" y="3"/>
                </a:lnTo>
                <a:lnTo>
                  <a:pt x="62" y="3"/>
                </a:lnTo>
                <a:lnTo>
                  <a:pt x="65" y="5"/>
                </a:lnTo>
                <a:lnTo>
                  <a:pt x="70" y="6"/>
                </a:lnTo>
                <a:lnTo>
                  <a:pt x="73" y="9"/>
                </a:lnTo>
                <a:lnTo>
                  <a:pt x="78" y="13"/>
                </a:lnTo>
                <a:lnTo>
                  <a:pt x="81" y="14"/>
                </a:lnTo>
                <a:lnTo>
                  <a:pt x="85" y="15"/>
                </a:lnTo>
                <a:lnTo>
                  <a:pt x="89" y="16"/>
                </a:lnTo>
                <a:lnTo>
                  <a:pt x="95" y="16"/>
                </a:lnTo>
                <a:lnTo>
                  <a:pt x="99" y="16"/>
                </a:lnTo>
                <a:lnTo>
                  <a:pt x="102" y="17"/>
                </a:lnTo>
                <a:lnTo>
                  <a:pt x="108" y="19"/>
                </a:lnTo>
                <a:lnTo>
                  <a:pt x="112" y="20"/>
                </a:lnTo>
                <a:lnTo>
                  <a:pt x="115" y="22"/>
                </a:lnTo>
                <a:lnTo>
                  <a:pt x="119" y="22"/>
                </a:lnTo>
                <a:lnTo>
                  <a:pt x="124" y="20"/>
                </a:lnTo>
                <a:lnTo>
                  <a:pt x="132" y="19"/>
                </a:lnTo>
                <a:lnTo>
                  <a:pt x="139" y="18"/>
                </a:lnTo>
                <a:lnTo>
                  <a:pt x="146" y="15"/>
                </a:lnTo>
                <a:lnTo>
                  <a:pt x="157" y="13"/>
                </a:lnTo>
                <a:lnTo>
                  <a:pt x="159" y="13"/>
                </a:lnTo>
                <a:lnTo>
                  <a:pt x="157" y="13"/>
                </a:lnTo>
                <a:lnTo>
                  <a:pt x="154" y="15"/>
                </a:lnTo>
                <a:lnTo>
                  <a:pt x="153" y="17"/>
                </a:lnTo>
                <a:lnTo>
                  <a:pt x="153" y="19"/>
                </a:lnTo>
                <a:lnTo>
                  <a:pt x="155" y="23"/>
                </a:lnTo>
                <a:lnTo>
                  <a:pt x="158" y="26"/>
                </a:lnTo>
                <a:lnTo>
                  <a:pt x="162" y="25"/>
                </a:lnTo>
                <a:lnTo>
                  <a:pt x="166" y="26"/>
                </a:lnTo>
                <a:lnTo>
                  <a:pt x="173" y="29"/>
                </a:lnTo>
                <a:lnTo>
                  <a:pt x="175" y="31"/>
                </a:lnTo>
                <a:lnTo>
                  <a:pt x="176" y="32"/>
                </a:lnTo>
                <a:lnTo>
                  <a:pt x="177" y="33"/>
                </a:lnTo>
                <a:lnTo>
                  <a:pt x="179" y="36"/>
                </a:lnTo>
                <a:lnTo>
                  <a:pt x="177" y="38"/>
                </a:lnTo>
                <a:lnTo>
                  <a:pt x="176" y="40"/>
                </a:lnTo>
                <a:lnTo>
                  <a:pt x="175" y="45"/>
                </a:lnTo>
                <a:lnTo>
                  <a:pt x="180" y="44"/>
                </a:lnTo>
                <a:lnTo>
                  <a:pt x="182" y="43"/>
                </a:lnTo>
                <a:lnTo>
                  <a:pt x="184" y="43"/>
                </a:lnTo>
                <a:lnTo>
                  <a:pt x="188" y="45"/>
                </a:lnTo>
                <a:lnTo>
                  <a:pt x="194" y="46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20" name="Freeform 222">
            <a:extLst>
              <a:ext uri="{FF2B5EF4-FFF2-40B4-BE49-F238E27FC236}">
                <a16:creationId xmlns:a16="http://schemas.microsoft.com/office/drawing/2014/main" id="{933FED42-403A-B8C9-7290-FCD6644581B0}"/>
              </a:ext>
            </a:extLst>
          </p:cNvPr>
          <p:cNvSpPr>
            <a:spLocks/>
          </p:cNvSpPr>
          <p:nvPr/>
        </p:nvSpPr>
        <p:spPr bwMode="auto">
          <a:xfrm>
            <a:off x="3996700" y="4876646"/>
            <a:ext cx="1162050" cy="1068388"/>
          </a:xfrm>
          <a:custGeom>
            <a:avLst/>
            <a:gdLst>
              <a:gd name="T0" fmla="*/ 302 w 576"/>
              <a:gd name="T1" fmla="*/ 43 h 571"/>
              <a:gd name="T2" fmla="*/ 276 w 576"/>
              <a:gd name="T3" fmla="*/ 39 h 571"/>
              <a:gd name="T4" fmla="*/ 251 w 576"/>
              <a:gd name="T5" fmla="*/ 49 h 571"/>
              <a:gd name="T6" fmla="*/ 224 w 576"/>
              <a:gd name="T7" fmla="*/ 57 h 571"/>
              <a:gd name="T8" fmla="*/ 204 w 576"/>
              <a:gd name="T9" fmla="*/ 48 h 571"/>
              <a:gd name="T10" fmla="*/ 206 w 576"/>
              <a:gd name="T11" fmla="*/ 19 h 571"/>
              <a:gd name="T12" fmla="*/ 190 w 576"/>
              <a:gd name="T13" fmla="*/ 0 h 571"/>
              <a:gd name="T14" fmla="*/ 164 w 576"/>
              <a:gd name="T15" fmla="*/ 19 h 571"/>
              <a:gd name="T16" fmla="*/ 133 w 576"/>
              <a:gd name="T17" fmla="*/ 16 h 571"/>
              <a:gd name="T18" fmla="*/ 139 w 576"/>
              <a:gd name="T19" fmla="*/ 54 h 571"/>
              <a:gd name="T20" fmla="*/ 99 w 576"/>
              <a:gd name="T21" fmla="*/ 66 h 571"/>
              <a:gd name="T22" fmla="*/ 83 w 576"/>
              <a:gd name="T23" fmla="*/ 49 h 571"/>
              <a:gd name="T24" fmla="*/ 59 w 576"/>
              <a:gd name="T25" fmla="*/ 59 h 571"/>
              <a:gd name="T26" fmla="*/ 53 w 576"/>
              <a:gd name="T27" fmla="*/ 72 h 571"/>
              <a:gd name="T28" fmla="*/ 62 w 576"/>
              <a:gd name="T29" fmla="*/ 95 h 571"/>
              <a:gd name="T30" fmla="*/ 41 w 576"/>
              <a:gd name="T31" fmla="*/ 144 h 571"/>
              <a:gd name="T32" fmla="*/ 13 w 576"/>
              <a:gd name="T33" fmla="*/ 160 h 571"/>
              <a:gd name="T34" fmla="*/ 0 w 576"/>
              <a:gd name="T35" fmla="*/ 185 h 571"/>
              <a:gd name="T36" fmla="*/ 13 w 576"/>
              <a:gd name="T37" fmla="*/ 210 h 571"/>
              <a:gd name="T38" fmla="*/ 34 w 576"/>
              <a:gd name="T39" fmla="*/ 227 h 571"/>
              <a:gd name="T40" fmla="*/ 52 w 576"/>
              <a:gd name="T41" fmla="*/ 237 h 571"/>
              <a:gd name="T42" fmla="*/ 74 w 576"/>
              <a:gd name="T43" fmla="*/ 245 h 571"/>
              <a:gd name="T44" fmla="*/ 119 w 576"/>
              <a:gd name="T45" fmla="*/ 224 h 571"/>
              <a:gd name="T46" fmla="*/ 126 w 576"/>
              <a:gd name="T47" fmla="*/ 246 h 571"/>
              <a:gd name="T48" fmla="*/ 152 w 576"/>
              <a:gd name="T49" fmla="*/ 268 h 571"/>
              <a:gd name="T50" fmla="*/ 170 w 576"/>
              <a:gd name="T51" fmla="*/ 275 h 571"/>
              <a:gd name="T52" fmla="*/ 192 w 576"/>
              <a:gd name="T53" fmla="*/ 279 h 571"/>
              <a:gd name="T54" fmla="*/ 202 w 576"/>
              <a:gd name="T55" fmla="*/ 299 h 571"/>
              <a:gd name="T56" fmla="*/ 232 w 576"/>
              <a:gd name="T57" fmla="*/ 322 h 571"/>
              <a:gd name="T58" fmla="*/ 244 w 576"/>
              <a:gd name="T59" fmla="*/ 342 h 571"/>
              <a:gd name="T60" fmla="*/ 240 w 576"/>
              <a:gd name="T61" fmla="*/ 368 h 571"/>
              <a:gd name="T62" fmla="*/ 255 w 576"/>
              <a:gd name="T63" fmla="*/ 408 h 571"/>
              <a:gd name="T64" fmla="*/ 287 w 576"/>
              <a:gd name="T65" fmla="*/ 432 h 571"/>
              <a:gd name="T66" fmla="*/ 301 w 576"/>
              <a:gd name="T67" fmla="*/ 435 h 571"/>
              <a:gd name="T68" fmla="*/ 315 w 576"/>
              <a:gd name="T69" fmla="*/ 466 h 571"/>
              <a:gd name="T70" fmla="*/ 299 w 576"/>
              <a:gd name="T71" fmla="*/ 489 h 571"/>
              <a:gd name="T72" fmla="*/ 271 w 576"/>
              <a:gd name="T73" fmla="*/ 528 h 571"/>
              <a:gd name="T74" fmla="*/ 344 w 576"/>
              <a:gd name="T75" fmla="*/ 570 h 571"/>
              <a:gd name="T76" fmla="*/ 363 w 576"/>
              <a:gd name="T77" fmla="*/ 543 h 571"/>
              <a:gd name="T78" fmla="*/ 385 w 576"/>
              <a:gd name="T79" fmla="*/ 505 h 571"/>
              <a:gd name="T80" fmla="*/ 394 w 576"/>
              <a:gd name="T81" fmla="*/ 484 h 571"/>
              <a:gd name="T82" fmla="*/ 412 w 576"/>
              <a:gd name="T83" fmla="*/ 434 h 571"/>
              <a:gd name="T84" fmla="*/ 474 w 576"/>
              <a:gd name="T85" fmla="*/ 417 h 571"/>
              <a:gd name="T86" fmla="*/ 508 w 576"/>
              <a:gd name="T87" fmla="*/ 366 h 571"/>
              <a:gd name="T88" fmla="*/ 512 w 576"/>
              <a:gd name="T89" fmla="*/ 336 h 571"/>
              <a:gd name="T90" fmla="*/ 514 w 576"/>
              <a:gd name="T91" fmla="*/ 278 h 571"/>
              <a:gd name="T92" fmla="*/ 527 w 576"/>
              <a:gd name="T93" fmla="*/ 265 h 571"/>
              <a:gd name="T94" fmla="*/ 548 w 576"/>
              <a:gd name="T95" fmla="*/ 233 h 571"/>
              <a:gd name="T96" fmla="*/ 575 w 576"/>
              <a:gd name="T97" fmla="*/ 188 h 571"/>
              <a:gd name="T98" fmla="*/ 558 w 576"/>
              <a:gd name="T99" fmla="*/ 149 h 571"/>
              <a:gd name="T100" fmla="*/ 521 w 576"/>
              <a:gd name="T101" fmla="*/ 130 h 571"/>
              <a:gd name="T102" fmla="*/ 481 w 576"/>
              <a:gd name="T103" fmla="*/ 116 h 571"/>
              <a:gd name="T104" fmla="*/ 448 w 576"/>
              <a:gd name="T105" fmla="*/ 108 h 571"/>
              <a:gd name="T106" fmla="*/ 427 w 576"/>
              <a:gd name="T107" fmla="*/ 108 h 571"/>
              <a:gd name="T108" fmla="*/ 392 w 576"/>
              <a:gd name="T109" fmla="*/ 85 h 571"/>
              <a:gd name="T110" fmla="*/ 363 w 576"/>
              <a:gd name="T111" fmla="*/ 104 h 571"/>
              <a:gd name="T112" fmla="*/ 323 w 576"/>
              <a:gd name="T113" fmla="*/ 95 h 571"/>
              <a:gd name="T114" fmla="*/ 345 w 576"/>
              <a:gd name="T115" fmla="*/ 63 h 571"/>
              <a:gd name="T116" fmla="*/ 334 w 576"/>
              <a:gd name="T117" fmla="*/ 36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76" h="571">
                <a:moveTo>
                  <a:pt x="328" y="11"/>
                </a:moveTo>
                <a:lnTo>
                  <a:pt x="325" y="16"/>
                </a:lnTo>
                <a:lnTo>
                  <a:pt x="322" y="21"/>
                </a:lnTo>
                <a:lnTo>
                  <a:pt x="320" y="26"/>
                </a:lnTo>
                <a:lnTo>
                  <a:pt x="315" y="32"/>
                </a:lnTo>
                <a:lnTo>
                  <a:pt x="312" y="37"/>
                </a:lnTo>
                <a:lnTo>
                  <a:pt x="309" y="39"/>
                </a:lnTo>
                <a:lnTo>
                  <a:pt x="306" y="41"/>
                </a:lnTo>
                <a:lnTo>
                  <a:pt x="302" y="43"/>
                </a:lnTo>
                <a:lnTo>
                  <a:pt x="299" y="44"/>
                </a:lnTo>
                <a:lnTo>
                  <a:pt x="295" y="45"/>
                </a:lnTo>
                <a:lnTo>
                  <a:pt x="291" y="45"/>
                </a:lnTo>
                <a:lnTo>
                  <a:pt x="286" y="45"/>
                </a:lnTo>
                <a:lnTo>
                  <a:pt x="284" y="44"/>
                </a:lnTo>
                <a:lnTo>
                  <a:pt x="281" y="43"/>
                </a:lnTo>
                <a:lnTo>
                  <a:pt x="279" y="42"/>
                </a:lnTo>
                <a:lnTo>
                  <a:pt x="277" y="41"/>
                </a:lnTo>
                <a:lnTo>
                  <a:pt x="276" y="39"/>
                </a:lnTo>
                <a:lnTo>
                  <a:pt x="275" y="37"/>
                </a:lnTo>
                <a:lnTo>
                  <a:pt x="267" y="41"/>
                </a:lnTo>
                <a:lnTo>
                  <a:pt x="262" y="42"/>
                </a:lnTo>
                <a:lnTo>
                  <a:pt x="256" y="43"/>
                </a:lnTo>
                <a:lnTo>
                  <a:pt x="258" y="46"/>
                </a:lnTo>
                <a:lnTo>
                  <a:pt x="256" y="50"/>
                </a:lnTo>
                <a:lnTo>
                  <a:pt x="255" y="50"/>
                </a:lnTo>
                <a:lnTo>
                  <a:pt x="254" y="49"/>
                </a:lnTo>
                <a:lnTo>
                  <a:pt x="251" y="49"/>
                </a:lnTo>
                <a:lnTo>
                  <a:pt x="249" y="48"/>
                </a:lnTo>
                <a:lnTo>
                  <a:pt x="247" y="46"/>
                </a:lnTo>
                <a:lnTo>
                  <a:pt x="246" y="46"/>
                </a:lnTo>
                <a:lnTo>
                  <a:pt x="245" y="46"/>
                </a:lnTo>
                <a:lnTo>
                  <a:pt x="241" y="46"/>
                </a:lnTo>
                <a:lnTo>
                  <a:pt x="237" y="49"/>
                </a:lnTo>
                <a:lnTo>
                  <a:pt x="231" y="52"/>
                </a:lnTo>
                <a:lnTo>
                  <a:pt x="228" y="55"/>
                </a:lnTo>
                <a:lnTo>
                  <a:pt x="224" y="57"/>
                </a:lnTo>
                <a:lnTo>
                  <a:pt x="222" y="58"/>
                </a:lnTo>
                <a:lnTo>
                  <a:pt x="220" y="59"/>
                </a:lnTo>
                <a:lnTo>
                  <a:pt x="219" y="59"/>
                </a:lnTo>
                <a:lnTo>
                  <a:pt x="217" y="59"/>
                </a:lnTo>
                <a:lnTo>
                  <a:pt x="213" y="58"/>
                </a:lnTo>
                <a:lnTo>
                  <a:pt x="210" y="57"/>
                </a:lnTo>
                <a:lnTo>
                  <a:pt x="207" y="54"/>
                </a:lnTo>
                <a:lnTo>
                  <a:pt x="206" y="51"/>
                </a:lnTo>
                <a:lnTo>
                  <a:pt x="204" y="48"/>
                </a:lnTo>
                <a:lnTo>
                  <a:pt x="202" y="44"/>
                </a:lnTo>
                <a:lnTo>
                  <a:pt x="202" y="40"/>
                </a:lnTo>
                <a:lnTo>
                  <a:pt x="201" y="37"/>
                </a:lnTo>
                <a:lnTo>
                  <a:pt x="202" y="35"/>
                </a:lnTo>
                <a:lnTo>
                  <a:pt x="202" y="32"/>
                </a:lnTo>
                <a:lnTo>
                  <a:pt x="204" y="28"/>
                </a:lnTo>
                <a:lnTo>
                  <a:pt x="206" y="24"/>
                </a:lnTo>
                <a:lnTo>
                  <a:pt x="206" y="21"/>
                </a:lnTo>
                <a:lnTo>
                  <a:pt x="206" y="19"/>
                </a:lnTo>
                <a:lnTo>
                  <a:pt x="205" y="17"/>
                </a:lnTo>
                <a:lnTo>
                  <a:pt x="202" y="13"/>
                </a:lnTo>
                <a:lnTo>
                  <a:pt x="200" y="9"/>
                </a:lnTo>
                <a:lnTo>
                  <a:pt x="199" y="8"/>
                </a:lnTo>
                <a:lnTo>
                  <a:pt x="199" y="6"/>
                </a:lnTo>
                <a:lnTo>
                  <a:pt x="199" y="3"/>
                </a:lnTo>
                <a:lnTo>
                  <a:pt x="199" y="0"/>
                </a:lnTo>
                <a:lnTo>
                  <a:pt x="196" y="0"/>
                </a:lnTo>
                <a:lnTo>
                  <a:pt x="190" y="0"/>
                </a:lnTo>
                <a:lnTo>
                  <a:pt x="189" y="3"/>
                </a:lnTo>
                <a:lnTo>
                  <a:pt x="189" y="6"/>
                </a:lnTo>
                <a:lnTo>
                  <a:pt x="187" y="8"/>
                </a:lnTo>
                <a:lnTo>
                  <a:pt x="185" y="9"/>
                </a:lnTo>
                <a:lnTo>
                  <a:pt x="183" y="10"/>
                </a:lnTo>
                <a:lnTo>
                  <a:pt x="182" y="11"/>
                </a:lnTo>
                <a:lnTo>
                  <a:pt x="177" y="14"/>
                </a:lnTo>
                <a:lnTo>
                  <a:pt x="166" y="19"/>
                </a:lnTo>
                <a:lnTo>
                  <a:pt x="164" y="19"/>
                </a:lnTo>
                <a:lnTo>
                  <a:pt x="161" y="22"/>
                </a:lnTo>
                <a:lnTo>
                  <a:pt x="159" y="23"/>
                </a:lnTo>
                <a:lnTo>
                  <a:pt x="158" y="24"/>
                </a:lnTo>
                <a:lnTo>
                  <a:pt x="156" y="23"/>
                </a:lnTo>
                <a:lnTo>
                  <a:pt x="152" y="23"/>
                </a:lnTo>
                <a:lnTo>
                  <a:pt x="147" y="19"/>
                </a:lnTo>
                <a:lnTo>
                  <a:pt x="141" y="17"/>
                </a:lnTo>
                <a:lnTo>
                  <a:pt x="137" y="16"/>
                </a:lnTo>
                <a:lnTo>
                  <a:pt x="133" y="16"/>
                </a:lnTo>
                <a:lnTo>
                  <a:pt x="137" y="23"/>
                </a:lnTo>
                <a:lnTo>
                  <a:pt x="139" y="31"/>
                </a:lnTo>
                <a:lnTo>
                  <a:pt x="143" y="37"/>
                </a:lnTo>
                <a:lnTo>
                  <a:pt x="146" y="40"/>
                </a:lnTo>
                <a:lnTo>
                  <a:pt x="149" y="42"/>
                </a:lnTo>
                <a:lnTo>
                  <a:pt x="148" y="44"/>
                </a:lnTo>
                <a:lnTo>
                  <a:pt x="146" y="46"/>
                </a:lnTo>
                <a:lnTo>
                  <a:pt x="143" y="50"/>
                </a:lnTo>
                <a:lnTo>
                  <a:pt x="139" y="54"/>
                </a:lnTo>
                <a:lnTo>
                  <a:pt x="134" y="58"/>
                </a:lnTo>
                <a:lnTo>
                  <a:pt x="129" y="60"/>
                </a:lnTo>
                <a:lnTo>
                  <a:pt x="122" y="63"/>
                </a:lnTo>
                <a:lnTo>
                  <a:pt x="119" y="64"/>
                </a:lnTo>
                <a:lnTo>
                  <a:pt x="116" y="65"/>
                </a:lnTo>
                <a:lnTo>
                  <a:pt x="110" y="65"/>
                </a:lnTo>
                <a:lnTo>
                  <a:pt x="106" y="66"/>
                </a:lnTo>
                <a:lnTo>
                  <a:pt x="102" y="66"/>
                </a:lnTo>
                <a:lnTo>
                  <a:pt x="99" y="66"/>
                </a:lnTo>
                <a:lnTo>
                  <a:pt x="98" y="65"/>
                </a:lnTo>
                <a:lnTo>
                  <a:pt x="97" y="63"/>
                </a:lnTo>
                <a:lnTo>
                  <a:pt x="97" y="60"/>
                </a:lnTo>
                <a:lnTo>
                  <a:pt x="97" y="56"/>
                </a:lnTo>
                <a:lnTo>
                  <a:pt x="97" y="51"/>
                </a:lnTo>
                <a:lnTo>
                  <a:pt x="95" y="48"/>
                </a:lnTo>
                <a:lnTo>
                  <a:pt x="94" y="45"/>
                </a:lnTo>
                <a:lnTo>
                  <a:pt x="89" y="48"/>
                </a:lnTo>
                <a:lnTo>
                  <a:pt x="83" y="49"/>
                </a:lnTo>
                <a:lnTo>
                  <a:pt x="77" y="51"/>
                </a:lnTo>
                <a:lnTo>
                  <a:pt x="72" y="52"/>
                </a:lnTo>
                <a:lnTo>
                  <a:pt x="63" y="54"/>
                </a:lnTo>
                <a:lnTo>
                  <a:pt x="59" y="55"/>
                </a:lnTo>
                <a:lnTo>
                  <a:pt x="55" y="57"/>
                </a:lnTo>
                <a:lnTo>
                  <a:pt x="57" y="56"/>
                </a:lnTo>
                <a:lnTo>
                  <a:pt x="58" y="57"/>
                </a:lnTo>
                <a:lnTo>
                  <a:pt x="59" y="58"/>
                </a:lnTo>
                <a:lnTo>
                  <a:pt x="59" y="59"/>
                </a:lnTo>
                <a:lnTo>
                  <a:pt x="61" y="59"/>
                </a:lnTo>
                <a:lnTo>
                  <a:pt x="62" y="60"/>
                </a:lnTo>
                <a:lnTo>
                  <a:pt x="63" y="62"/>
                </a:lnTo>
                <a:lnTo>
                  <a:pt x="66" y="62"/>
                </a:lnTo>
                <a:lnTo>
                  <a:pt x="66" y="69"/>
                </a:lnTo>
                <a:lnTo>
                  <a:pt x="61" y="69"/>
                </a:lnTo>
                <a:lnTo>
                  <a:pt x="56" y="71"/>
                </a:lnTo>
                <a:lnTo>
                  <a:pt x="54" y="72"/>
                </a:lnTo>
                <a:lnTo>
                  <a:pt x="53" y="72"/>
                </a:lnTo>
                <a:lnTo>
                  <a:pt x="52" y="75"/>
                </a:lnTo>
                <a:lnTo>
                  <a:pt x="52" y="77"/>
                </a:lnTo>
                <a:lnTo>
                  <a:pt x="53" y="79"/>
                </a:lnTo>
                <a:lnTo>
                  <a:pt x="53" y="81"/>
                </a:lnTo>
                <a:lnTo>
                  <a:pt x="56" y="85"/>
                </a:lnTo>
                <a:lnTo>
                  <a:pt x="58" y="87"/>
                </a:lnTo>
                <a:lnTo>
                  <a:pt x="59" y="89"/>
                </a:lnTo>
                <a:lnTo>
                  <a:pt x="61" y="92"/>
                </a:lnTo>
                <a:lnTo>
                  <a:pt x="62" y="95"/>
                </a:lnTo>
                <a:lnTo>
                  <a:pt x="62" y="104"/>
                </a:lnTo>
                <a:lnTo>
                  <a:pt x="61" y="114"/>
                </a:lnTo>
                <a:lnTo>
                  <a:pt x="59" y="125"/>
                </a:lnTo>
                <a:lnTo>
                  <a:pt x="57" y="136"/>
                </a:lnTo>
                <a:lnTo>
                  <a:pt x="56" y="138"/>
                </a:lnTo>
                <a:lnTo>
                  <a:pt x="55" y="139"/>
                </a:lnTo>
                <a:lnTo>
                  <a:pt x="52" y="141"/>
                </a:lnTo>
                <a:lnTo>
                  <a:pt x="47" y="143"/>
                </a:lnTo>
                <a:lnTo>
                  <a:pt x="41" y="144"/>
                </a:lnTo>
                <a:lnTo>
                  <a:pt x="30" y="145"/>
                </a:lnTo>
                <a:lnTo>
                  <a:pt x="26" y="147"/>
                </a:lnTo>
                <a:lnTo>
                  <a:pt x="22" y="148"/>
                </a:lnTo>
                <a:lnTo>
                  <a:pt x="19" y="149"/>
                </a:lnTo>
                <a:lnTo>
                  <a:pt x="18" y="150"/>
                </a:lnTo>
                <a:lnTo>
                  <a:pt x="16" y="153"/>
                </a:lnTo>
                <a:lnTo>
                  <a:pt x="15" y="155"/>
                </a:lnTo>
                <a:lnTo>
                  <a:pt x="14" y="156"/>
                </a:lnTo>
                <a:lnTo>
                  <a:pt x="13" y="160"/>
                </a:lnTo>
                <a:lnTo>
                  <a:pt x="13" y="167"/>
                </a:lnTo>
                <a:lnTo>
                  <a:pt x="12" y="171"/>
                </a:lnTo>
                <a:lnTo>
                  <a:pt x="9" y="177"/>
                </a:lnTo>
                <a:lnTo>
                  <a:pt x="9" y="178"/>
                </a:lnTo>
                <a:lnTo>
                  <a:pt x="7" y="179"/>
                </a:lnTo>
                <a:lnTo>
                  <a:pt x="4" y="181"/>
                </a:lnTo>
                <a:lnTo>
                  <a:pt x="3" y="182"/>
                </a:lnTo>
                <a:lnTo>
                  <a:pt x="0" y="184"/>
                </a:lnTo>
                <a:lnTo>
                  <a:pt x="0" y="185"/>
                </a:lnTo>
                <a:lnTo>
                  <a:pt x="0" y="188"/>
                </a:lnTo>
                <a:lnTo>
                  <a:pt x="0" y="190"/>
                </a:lnTo>
                <a:lnTo>
                  <a:pt x="0" y="193"/>
                </a:lnTo>
                <a:lnTo>
                  <a:pt x="1" y="197"/>
                </a:lnTo>
                <a:lnTo>
                  <a:pt x="4" y="199"/>
                </a:lnTo>
                <a:lnTo>
                  <a:pt x="7" y="202"/>
                </a:lnTo>
                <a:lnTo>
                  <a:pt x="9" y="205"/>
                </a:lnTo>
                <a:lnTo>
                  <a:pt x="13" y="209"/>
                </a:lnTo>
                <a:lnTo>
                  <a:pt x="13" y="210"/>
                </a:lnTo>
                <a:lnTo>
                  <a:pt x="13" y="212"/>
                </a:lnTo>
                <a:lnTo>
                  <a:pt x="14" y="215"/>
                </a:lnTo>
                <a:lnTo>
                  <a:pt x="14" y="218"/>
                </a:lnTo>
                <a:lnTo>
                  <a:pt x="18" y="218"/>
                </a:lnTo>
                <a:lnTo>
                  <a:pt x="21" y="219"/>
                </a:lnTo>
                <a:lnTo>
                  <a:pt x="23" y="220"/>
                </a:lnTo>
                <a:lnTo>
                  <a:pt x="26" y="223"/>
                </a:lnTo>
                <a:lnTo>
                  <a:pt x="31" y="226"/>
                </a:lnTo>
                <a:lnTo>
                  <a:pt x="34" y="227"/>
                </a:lnTo>
                <a:lnTo>
                  <a:pt x="36" y="227"/>
                </a:lnTo>
                <a:lnTo>
                  <a:pt x="39" y="227"/>
                </a:lnTo>
                <a:lnTo>
                  <a:pt x="40" y="226"/>
                </a:lnTo>
                <a:lnTo>
                  <a:pt x="41" y="226"/>
                </a:lnTo>
                <a:lnTo>
                  <a:pt x="42" y="224"/>
                </a:lnTo>
                <a:lnTo>
                  <a:pt x="44" y="220"/>
                </a:lnTo>
                <a:lnTo>
                  <a:pt x="52" y="220"/>
                </a:lnTo>
                <a:lnTo>
                  <a:pt x="50" y="234"/>
                </a:lnTo>
                <a:lnTo>
                  <a:pt x="52" y="237"/>
                </a:lnTo>
                <a:lnTo>
                  <a:pt x="52" y="239"/>
                </a:lnTo>
                <a:lnTo>
                  <a:pt x="53" y="240"/>
                </a:lnTo>
                <a:lnTo>
                  <a:pt x="53" y="241"/>
                </a:lnTo>
                <a:lnTo>
                  <a:pt x="55" y="241"/>
                </a:lnTo>
                <a:lnTo>
                  <a:pt x="58" y="241"/>
                </a:lnTo>
                <a:lnTo>
                  <a:pt x="59" y="241"/>
                </a:lnTo>
                <a:lnTo>
                  <a:pt x="64" y="243"/>
                </a:lnTo>
                <a:lnTo>
                  <a:pt x="69" y="243"/>
                </a:lnTo>
                <a:lnTo>
                  <a:pt x="74" y="245"/>
                </a:lnTo>
                <a:lnTo>
                  <a:pt x="77" y="243"/>
                </a:lnTo>
                <a:lnTo>
                  <a:pt x="81" y="243"/>
                </a:lnTo>
                <a:lnTo>
                  <a:pt x="85" y="241"/>
                </a:lnTo>
                <a:lnTo>
                  <a:pt x="91" y="237"/>
                </a:lnTo>
                <a:lnTo>
                  <a:pt x="106" y="228"/>
                </a:lnTo>
                <a:lnTo>
                  <a:pt x="108" y="226"/>
                </a:lnTo>
                <a:lnTo>
                  <a:pt x="112" y="224"/>
                </a:lnTo>
                <a:lnTo>
                  <a:pt x="115" y="224"/>
                </a:lnTo>
                <a:lnTo>
                  <a:pt x="119" y="224"/>
                </a:lnTo>
                <a:lnTo>
                  <a:pt x="120" y="224"/>
                </a:lnTo>
                <a:lnTo>
                  <a:pt x="122" y="224"/>
                </a:lnTo>
                <a:lnTo>
                  <a:pt x="124" y="224"/>
                </a:lnTo>
                <a:lnTo>
                  <a:pt x="125" y="225"/>
                </a:lnTo>
                <a:lnTo>
                  <a:pt x="126" y="228"/>
                </a:lnTo>
                <a:lnTo>
                  <a:pt x="126" y="232"/>
                </a:lnTo>
                <a:lnTo>
                  <a:pt x="126" y="239"/>
                </a:lnTo>
                <a:lnTo>
                  <a:pt x="126" y="243"/>
                </a:lnTo>
                <a:lnTo>
                  <a:pt x="126" y="246"/>
                </a:lnTo>
                <a:lnTo>
                  <a:pt x="126" y="247"/>
                </a:lnTo>
                <a:lnTo>
                  <a:pt x="128" y="250"/>
                </a:lnTo>
                <a:lnTo>
                  <a:pt x="129" y="253"/>
                </a:lnTo>
                <a:lnTo>
                  <a:pt x="132" y="256"/>
                </a:lnTo>
                <a:lnTo>
                  <a:pt x="135" y="260"/>
                </a:lnTo>
                <a:lnTo>
                  <a:pt x="139" y="261"/>
                </a:lnTo>
                <a:lnTo>
                  <a:pt x="142" y="264"/>
                </a:lnTo>
                <a:lnTo>
                  <a:pt x="147" y="266"/>
                </a:lnTo>
                <a:lnTo>
                  <a:pt x="152" y="268"/>
                </a:lnTo>
                <a:lnTo>
                  <a:pt x="156" y="266"/>
                </a:lnTo>
                <a:lnTo>
                  <a:pt x="158" y="266"/>
                </a:lnTo>
                <a:lnTo>
                  <a:pt x="159" y="267"/>
                </a:lnTo>
                <a:lnTo>
                  <a:pt x="161" y="270"/>
                </a:lnTo>
                <a:lnTo>
                  <a:pt x="163" y="272"/>
                </a:lnTo>
                <a:lnTo>
                  <a:pt x="165" y="273"/>
                </a:lnTo>
                <a:lnTo>
                  <a:pt x="168" y="273"/>
                </a:lnTo>
                <a:lnTo>
                  <a:pt x="170" y="273"/>
                </a:lnTo>
                <a:lnTo>
                  <a:pt x="170" y="275"/>
                </a:lnTo>
                <a:lnTo>
                  <a:pt x="170" y="277"/>
                </a:lnTo>
                <a:lnTo>
                  <a:pt x="171" y="279"/>
                </a:lnTo>
                <a:lnTo>
                  <a:pt x="172" y="279"/>
                </a:lnTo>
                <a:lnTo>
                  <a:pt x="174" y="280"/>
                </a:lnTo>
                <a:lnTo>
                  <a:pt x="176" y="280"/>
                </a:lnTo>
                <a:lnTo>
                  <a:pt x="179" y="279"/>
                </a:lnTo>
                <a:lnTo>
                  <a:pt x="184" y="279"/>
                </a:lnTo>
                <a:lnTo>
                  <a:pt x="189" y="278"/>
                </a:lnTo>
                <a:lnTo>
                  <a:pt x="192" y="279"/>
                </a:lnTo>
                <a:lnTo>
                  <a:pt x="195" y="280"/>
                </a:lnTo>
                <a:lnTo>
                  <a:pt x="196" y="280"/>
                </a:lnTo>
                <a:lnTo>
                  <a:pt x="196" y="281"/>
                </a:lnTo>
                <a:lnTo>
                  <a:pt x="198" y="284"/>
                </a:lnTo>
                <a:lnTo>
                  <a:pt x="200" y="288"/>
                </a:lnTo>
                <a:lnTo>
                  <a:pt x="201" y="293"/>
                </a:lnTo>
                <a:lnTo>
                  <a:pt x="201" y="296"/>
                </a:lnTo>
                <a:lnTo>
                  <a:pt x="202" y="297"/>
                </a:lnTo>
                <a:lnTo>
                  <a:pt x="202" y="299"/>
                </a:lnTo>
                <a:lnTo>
                  <a:pt x="204" y="300"/>
                </a:lnTo>
                <a:lnTo>
                  <a:pt x="205" y="306"/>
                </a:lnTo>
                <a:lnTo>
                  <a:pt x="205" y="309"/>
                </a:lnTo>
                <a:lnTo>
                  <a:pt x="206" y="311"/>
                </a:lnTo>
                <a:lnTo>
                  <a:pt x="207" y="314"/>
                </a:lnTo>
                <a:lnTo>
                  <a:pt x="211" y="317"/>
                </a:lnTo>
                <a:lnTo>
                  <a:pt x="215" y="318"/>
                </a:lnTo>
                <a:lnTo>
                  <a:pt x="219" y="319"/>
                </a:lnTo>
                <a:lnTo>
                  <a:pt x="232" y="322"/>
                </a:lnTo>
                <a:lnTo>
                  <a:pt x="231" y="326"/>
                </a:lnTo>
                <a:lnTo>
                  <a:pt x="232" y="328"/>
                </a:lnTo>
                <a:lnTo>
                  <a:pt x="232" y="330"/>
                </a:lnTo>
                <a:lnTo>
                  <a:pt x="232" y="332"/>
                </a:lnTo>
                <a:lnTo>
                  <a:pt x="235" y="332"/>
                </a:lnTo>
                <a:lnTo>
                  <a:pt x="237" y="336"/>
                </a:lnTo>
                <a:lnTo>
                  <a:pt x="240" y="338"/>
                </a:lnTo>
                <a:lnTo>
                  <a:pt x="242" y="341"/>
                </a:lnTo>
                <a:lnTo>
                  <a:pt x="244" y="342"/>
                </a:lnTo>
                <a:lnTo>
                  <a:pt x="245" y="345"/>
                </a:lnTo>
                <a:lnTo>
                  <a:pt x="245" y="347"/>
                </a:lnTo>
                <a:lnTo>
                  <a:pt x="245" y="350"/>
                </a:lnTo>
                <a:lnTo>
                  <a:pt x="245" y="353"/>
                </a:lnTo>
                <a:lnTo>
                  <a:pt x="245" y="355"/>
                </a:lnTo>
                <a:lnTo>
                  <a:pt x="244" y="359"/>
                </a:lnTo>
                <a:lnTo>
                  <a:pt x="242" y="360"/>
                </a:lnTo>
                <a:lnTo>
                  <a:pt x="240" y="366"/>
                </a:lnTo>
                <a:lnTo>
                  <a:pt x="240" y="368"/>
                </a:lnTo>
                <a:lnTo>
                  <a:pt x="239" y="371"/>
                </a:lnTo>
                <a:lnTo>
                  <a:pt x="241" y="379"/>
                </a:lnTo>
                <a:lnTo>
                  <a:pt x="245" y="392"/>
                </a:lnTo>
                <a:lnTo>
                  <a:pt x="246" y="398"/>
                </a:lnTo>
                <a:lnTo>
                  <a:pt x="249" y="404"/>
                </a:lnTo>
                <a:lnTo>
                  <a:pt x="251" y="406"/>
                </a:lnTo>
                <a:lnTo>
                  <a:pt x="252" y="408"/>
                </a:lnTo>
                <a:lnTo>
                  <a:pt x="254" y="408"/>
                </a:lnTo>
                <a:lnTo>
                  <a:pt x="255" y="408"/>
                </a:lnTo>
                <a:lnTo>
                  <a:pt x="260" y="409"/>
                </a:lnTo>
                <a:lnTo>
                  <a:pt x="265" y="409"/>
                </a:lnTo>
                <a:lnTo>
                  <a:pt x="272" y="411"/>
                </a:lnTo>
                <a:lnTo>
                  <a:pt x="276" y="414"/>
                </a:lnTo>
                <a:lnTo>
                  <a:pt x="278" y="416"/>
                </a:lnTo>
                <a:lnTo>
                  <a:pt x="280" y="418"/>
                </a:lnTo>
                <a:lnTo>
                  <a:pt x="282" y="422"/>
                </a:lnTo>
                <a:lnTo>
                  <a:pt x="285" y="427"/>
                </a:lnTo>
                <a:lnTo>
                  <a:pt x="287" y="432"/>
                </a:lnTo>
                <a:lnTo>
                  <a:pt x="290" y="438"/>
                </a:lnTo>
                <a:lnTo>
                  <a:pt x="291" y="436"/>
                </a:lnTo>
                <a:lnTo>
                  <a:pt x="293" y="434"/>
                </a:lnTo>
                <a:lnTo>
                  <a:pt x="295" y="432"/>
                </a:lnTo>
                <a:lnTo>
                  <a:pt x="298" y="431"/>
                </a:lnTo>
                <a:lnTo>
                  <a:pt x="299" y="431"/>
                </a:lnTo>
                <a:lnTo>
                  <a:pt x="300" y="432"/>
                </a:lnTo>
                <a:lnTo>
                  <a:pt x="301" y="434"/>
                </a:lnTo>
                <a:lnTo>
                  <a:pt x="301" y="435"/>
                </a:lnTo>
                <a:lnTo>
                  <a:pt x="301" y="438"/>
                </a:lnTo>
                <a:lnTo>
                  <a:pt x="301" y="440"/>
                </a:lnTo>
                <a:lnTo>
                  <a:pt x="301" y="451"/>
                </a:lnTo>
                <a:lnTo>
                  <a:pt x="300" y="457"/>
                </a:lnTo>
                <a:lnTo>
                  <a:pt x="301" y="462"/>
                </a:lnTo>
                <a:lnTo>
                  <a:pt x="305" y="458"/>
                </a:lnTo>
                <a:lnTo>
                  <a:pt x="312" y="458"/>
                </a:lnTo>
                <a:lnTo>
                  <a:pt x="314" y="462"/>
                </a:lnTo>
                <a:lnTo>
                  <a:pt x="315" y="466"/>
                </a:lnTo>
                <a:lnTo>
                  <a:pt x="316" y="470"/>
                </a:lnTo>
                <a:lnTo>
                  <a:pt x="316" y="474"/>
                </a:lnTo>
                <a:lnTo>
                  <a:pt x="316" y="476"/>
                </a:lnTo>
                <a:lnTo>
                  <a:pt x="316" y="478"/>
                </a:lnTo>
                <a:lnTo>
                  <a:pt x="314" y="481"/>
                </a:lnTo>
                <a:lnTo>
                  <a:pt x="312" y="483"/>
                </a:lnTo>
                <a:lnTo>
                  <a:pt x="309" y="484"/>
                </a:lnTo>
                <a:lnTo>
                  <a:pt x="302" y="488"/>
                </a:lnTo>
                <a:lnTo>
                  <a:pt x="299" y="489"/>
                </a:lnTo>
                <a:lnTo>
                  <a:pt x="295" y="491"/>
                </a:lnTo>
                <a:lnTo>
                  <a:pt x="293" y="493"/>
                </a:lnTo>
                <a:lnTo>
                  <a:pt x="289" y="497"/>
                </a:lnTo>
                <a:lnTo>
                  <a:pt x="280" y="507"/>
                </a:lnTo>
                <a:lnTo>
                  <a:pt x="276" y="512"/>
                </a:lnTo>
                <a:lnTo>
                  <a:pt x="274" y="515"/>
                </a:lnTo>
                <a:lnTo>
                  <a:pt x="273" y="518"/>
                </a:lnTo>
                <a:lnTo>
                  <a:pt x="271" y="523"/>
                </a:lnTo>
                <a:lnTo>
                  <a:pt x="271" y="528"/>
                </a:lnTo>
                <a:lnTo>
                  <a:pt x="274" y="528"/>
                </a:lnTo>
                <a:lnTo>
                  <a:pt x="279" y="529"/>
                </a:lnTo>
                <a:lnTo>
                  <a:pt x="284" y="530"/>
                </a:lnTo>
                <a:lnTo>
                  <a:pt x="289" y="532"/>
                </a:lnTo>
                <a:lnTo>
                  <a:pt x="294" y="534"/>
                </a:lnTo>
                <a:lnTo>
                  <a:pt x="299" y="537"/>
                </a:lnTo>
                <a:lnTo>
                  <a:pt x="309" y="543"/>
                </a:lnTo>
                <a:lnTo>
                  <a:pt x="328" y="557"/>
                </a:lnTo>
                <a:lnTo>
                  <a:pt x="344" y="570"/>
                </a:lnTo>
                <a:lnTo>
                  <a:pt x="345" y="564"/>
                </a:lnTo>
                <a:lnTo>
                  <a:pt x="348" y="559"/>
                </a:lnTo>
                <a:lnTo>
                  <a:pt x="348" y="554"/>
                </a:lnTo>
                <a:lnTo>
                  <a:pt x="348" y="550"/>
                </a:lnTo>
                <a:lnTo>
                  <a:pt x="352" y="550"/>
                </a:lnTo>
                <a:lnTo>
                  <a:pt x="355" y="548"/>
                </a:lnTo>
                <a:lnTo>
                  <a:pt x="358" y="546"/>
                </a:lnTo>
                <a:lnTo>
                  <a:pt x="361" y="544"/>
                </a:lnTo>
                <a:lnTo>
                  <a:pt x="363" y="543"/>
                </a:lnTo>
                <a:lnTo>
                  <a:pt x="365" y="540"/>
                </a:lnTo>
                <a:lnTo>
                  <a:pt x="369" y="533"/>
                </a:lnTo>
                <a:lnTo>
                  <a:pt x="372" y="527"/>
                </a:lnTo>
                <a:lnTo>
                  <a:pt x="375" y="520"/>
                </a:lnTo>
                <a:lnTo>
                  <a:pt x="378" y="514"/>
                </a:lnTo>
                <a:lnTo>
                  <a:pt x="381" y="507"/>
                </a:lnTo>
                <a:lnTo>
                  <a:pt x="382" y="507"/>
                </a:lnTo>
                <a:lnTo>
                  <a:pt x="383" y="506"/>
                </a:lnTo>
                <a:lnTo>
                  <a:pt x="385" y="505"/>
                </a:lnTo>
                <a:lnTo>
                  <a:pt x="387" y="504"/>
                </a:lnTo>
                <a:lnTo>
                  <a:pt x="388" y="504"/>
                </a:lnTo>
                <a:lnTo>
                  <a:pt x="389" y="502"/>
                </a:lnTo>
                <a:lnTo>
                  <a:pt x="390" y="501"/>
                </a:lnTo>
                <a:lnTo>
                  <a:pt x="393" y="493"/>
                </a:lnTo>
                <a:lnTo>
                  <a:pt x="394" y="489"/>
                </a:lnTo>
                <a:lnTo>
                  <a:pt x="395" y="486"/>
                </a:lnTo>
                <a:lnTo>
                  <a:pt x="395" y="485"/>
                </a:lnTo>
                <a:lnTo>
                  <a:pt x="394" y="484"/>
                </a:lnTo>
                <a:lnTo>
                  <a:pt x="392" y="483"/>
                </a:lnTo>
                <a:lnTo>
                  <a:pt x="390" y="481"/>
                </a:lnTo>
                <a:lnTo>
                  <a:pt x="388" y="479"/>
                </a:lnTo>
                <a:lnTo>
                  <a:pt x="388" y="457"/>
                </a:lnTo>
                <a:lnTo>
                  <a:pt x="390" y="454"/>
                </a:lnTo>
                <a:lnTo>
                  <a:pt x="393" y="451"/>
                </a:lnTo>
                <a:lnTo>
                  <a:pt x="398" y="445"/>
                </a:lnTo>
                <a:lnTo>
                  <a:pt x="405" y="440"/>
                </a:lnTo>
                <a:lnTo>
                  <a:pt x="412" y="434"/>
                </a:lnTo>
                <a:lnTo>
                  <a:pt x="420" y="430"/>
                </a:lnTo>
                <a:lnTo>
                  <a:pt x="428" y="426"/>
                </a:lnTo>
                <a:lnTo>
                  <a:pt x="436" y="422"/>
                </a:lnTo>
                <a:lnTo>
                  <a:pt x="443" y="421"/>
                </a:lnTo>
                <a:lnTo>
                  <a:pt x="447" y="420"/>
                </a:lnTo>
                <a:lnTo>
                  <a:pt x="452" y="418"/>
                </a:lnTo>
                <a:lnTo>
                  <a:pt x="464" y="418"/>
                </a:lnTo>
                <a:lnTo>
                  <a:pt x="469" y="418"/>
                </a:lnTo>
                <a:lnTo>
                  <a:pt x="474" y="417"/>
                </a:lnTo>
                <a:lnTo>
                  <a:pt x="478" y="416"/>
                </a:lnTo>
                <a:lnTo>
                  <a:pt x="479" y="415"/>
                </a:lnTo>
                <a:lnTo>
                  <a:pt x="481" y="413"/>
                </a:lnTo>
                <a:lnTo>
                  <a:pt x="485" y="408"/>
                </a:lnTo>
                <a:lnTo>
                  <a:pt x="488" y="403"/>
                </a:lnTo>
                <a:lnTo>
                  <a:pt x="492" y="396"/>
                </a:lnTo>
                <a:lnTo>
                  <a:pt x="496" y="391"/>
                </a:lnTo>
                <a:lnTo>
                  <a:pt x="503" y="378"/>
                </a:lnTo>
                <a:lnTo>
                  <a:pt x="508" y="366"/>
                </a:lnTo>
                <a:lnTo>
                  <a:pt x="509" y="362"/>
                </a:lnTo>
                <a:lnTo>
                  <a:pt x="510" y="358"/>
                </a:lnTo>
                <a:lnTo>
                  <a:pt x="510" y="350"/>
                </a:lnTo>
                <a:lnTo>
                  <a:pt x="511" y="346"/>
                </a:lnTo>
                <a:lnTo>
                  <a:pt x="512" y="342"/>
                </a:lnTo>
                <a:lnTo>
                  <a:pt x="514" y="340"/>
                </a:lnTo>
                <a:lnTo>
                  <a:pt x="515" y="338"/>
                </a:lnTo>
                <a:lnTo>
                  <a:pt x="517" y="336"/>
                </a:lnTo>
                <a:lnTo>
                  <a:pt x="512" y="336"/>
                </a:lnTo>
                <a:lnTo>
                  <a:pt x="517" y="322"/>
                </a:lnTo>
                <a:lnTo>
                  <a:pt x="519" y="310"/>
                </a:lnTo>
                <a:lnTo>
                  <a:pt x="518" y="305"/>
                </a:lnTo>
                <a:lnTo>
                  <a:pt x="518" y="299"/>
                </a:lnTo>
                <a:lnTo>
                  <a:pt x="517" y="293"/>
                </a:lnTo>
                <a:lnTo>
                  <a:pt x="515" y="286"/>
                </a:lnTo>
                <a:lnTo>
                  <a:pt x="515" y="283"/>
                </a:lnTo>
                <a:lnTo>
                  <a:pt x="515" y="282"/>
                </a:lnTo>
                <a:lnTo>
                  <a:pt x="514" y="278"/>
                </a:lnTo>
                <a:lnTo>
                  <a:pt x="514" y="276"/>
                </a:lnTo>
                <a:lnTo>
                  <a:pt x="514" y="274"/>
                </a:lnTo>
                <a:lnTo>
                  <a:pt x="514" y="273"/>
                </a:lnTo>
                <a:lnTo>
                  <a:pt x="514" y="270"/>
                </a:lnTo>
                <a:lnTo>
                  <a:pt x="515" y="268"/>
                </a:lnTo>
                <a:lnTo>
                  <a:pt x="515" y="267"/>
                </a:lnTo>
                <a:lnTo>
                  <a:pt x="518" y="266"/>
                </a:lnTo>
                <a:lnTo>
                  <a:pt x="522" y="266"/>
                </a:lnTo>
                <a:lnTo>
                  <a:pt x="527" y="265"/>
                </a:lnTo>
                <a:lnTo>
                  <a:pt x="528" y="264"/>
                </a:lnTo>
                <a:lnTo>
                  <a:pt x="528" y="263"/>
                </a:lnTo>
                <a:lnTo>
                  <a:pt x="531" y="257"/>
                </a:lnTo>
                <a:lnTo>
                  <a:pt x="535" y="253"/>
                </a:lnTo>
                <a:lnTo>
                  <a:pt x="536" y="250"/>
                </a:lnTo>
                <a:lnTo>
                  <a:pt x="536" y="247"/>
                </a:lnTo>
                <a:lnTo>
                  <a:pt x="538" y="243"/>
                </a:lnTo>
                <a:lnTo>
                  <a:pt x="541" y="239"/>
                </a:lnTo>
                <a:lnTo>
                  <a:pt x="548" y="233"/>
                </a:lnTo>
                <a:lnTo>
                  <a:pt x="553" y="226"/>
                </a:lnTo>
                <a:lnTo>
                  <a:pt x="559" y="219"/>
                </a:lnTo>
                <a:lnTo>
                  <a:pt x="562" y="216"/>
                </a:lnTo>
                <a:lnTo>
                  <a:pt x="565" y="211"/>
                </a:lnTo>
                <a:lnTo>
                  <a:pt x="568" y="207"/>
                </a:lnTo>
                <a:lnTo>
                  <a:pt x="570" y="203"/>
                </a:lnTo>
                <a:lnTo>
                  <a:pt x="571" y="198"/>
                </a:lnTo>
                <a:lnTo>
                  <a:pt x="573" y="194"/>
                </a:lnTo>
                <a:lnTo>
                  <a:pt x="575" y="188"/>
                </a:lnTo>
                <a:lnTo>
                  <a:pt x="575" y="182"/>
                </a:lnTo>
                <a:lnTo>
                  <a:pt x="573" y="171"/>
                </a:lnTo>
                <a:lnTo>
                  <a:pt x="572" y="165"/>
                </a:lnTo>
                <a:lnTo>
                  <a:pt x="571" y="161"/>
                </a:lnTo>
                <a:lnTo>
                  <a:pt x="568" y="156"/>
                </a:lnTo>
                <a:lnTo>
                  <a:pt x="568" y="154"/>
                </a:lnTo>
                <a:lnTo>
                  <a:pt x="566" y="152"/>
                </a:lnTo>
                <a:lnTo>
                  <a:pt x="563" y="150"/>
                </a:lnTo>
                <a:lnTo>
                  <a:pt x="558" y="149"/>
                </a:lnTo>
                <a:lnTo>
                  <a:pt x="554" y="149"/>
                </a:lnTo>
                <a:lnTo>
                  <a:pt x="548" y="148"/>
                </a:lnTo>
                <a:lnTo>
                  <a:pt x="545" y="147"/>
                </a:lnTo>
                <a:lnTo>
                  <a:pt x="540" y="145"/>
                </a:lnTo>
                <a:lnTo>
                  <a:pt x="536" y="143"/>
                </a:lnTo>
                <a:lnTo>
                  <a:pt x="533" y="141"/>
                </a:lnTo>
                <a:lnTo>
                  <a:pt x="530" y="138"/>
                </a:lnTo>
                <a:lnTo>
                  <a:pt x="527" y="135"/>
                </a:lnTo>
                <a:lnTo>
                  <a:pt x="521" y="130"/>
                </a:lnTo>
                <a:lnTo>
                  <a:pt x="514" y="125"/>
                </a:lnTo>
                <a:lnTo>
                  <a:pt x="511" y="121"/>
                </a:lnTo>
                <a:lnTo>
                  <a:pt x="506" y="120"/>
                </a:lnTo>
                <a:lnTo>
                  <a:pt x="503" y="118"/>
                </a:lnTo>
                <a:lnTo>
                  <a:pt x="498" y="116"/>
                </a:lnTo>
                <a:lnTo>
                  <a:pt x="493" y="115"/>
                </a:lnTo>
                <a:lnTo>
                  <a:pt x="490" y="115"/>
                </a:lnTo>
                <a:lnTo>
                  <a:pt x="485" y="116"/>
                </a:lnTo>
                <a:lnTo>
                  <a:pt x="481" y="116"/>
                </a:lnTo>
                <a:lnTo>
                  <a:pt x="474" y="117"/>
                </a:lnTo>
                <a:lnTo>
                  <a:pt x="469" y="116"/>
                </a:lnTo>
                <a:lnTo>
                  <a:pt x="465" y="115"/>
                </a:lnTo>
                <a:lnTo>
                  <a:pt x="463" y="115"/>
                </a:lnTo>
                <a:lnTo>
                  <a:pt x="461" y="114"/>
                </a:lnTo>
                <a:lnTo>
                  <a:pt x="458" y="112"/>
                </a:lnTo>
                <a:lnTo>
                  <a:pt x="454" y="109"/>
                </a:lnTo>
                <a:lnTo>
                  <a:pt x="452" y="108"/>
                </a:lnTo>
                <a:lnTo>
                  <a:pt x="448" y="108"/>
                </a:lnTo>
                <a:lnTo>
                  <a:pt x="445" y="108"/>
                </a:lnTo>
                <a:lnTo>
                  <a:pt x="442" y="109"/>
                </a:lnTo>
                <a:lnTo>
                  <a:pt x="439" y="111"/>
                </a:lnTo>
                <a:lnTo>
                  <a:pt x="437" y="112"/>
                </a:lnTo>
                <a:lnTo>
                  <a:pt x="433" y="114"/>
                </a:lnTo>
                <a:lnTo>
                  <a:pt x="430" y="115"/>
                </a:lnTo>
                <a:lnTo>
                  <a:pt x="428" y="115"/>
                </a:lnTo>
                <a:lnTo>
                  <a:pt x="428" y="112"/>
                </a:lnTo>
                <a:lnTo>
                  <a:pt x="427" y="108"/>
                </a:lnTo>
                <a:lnTo>
                  <a:pt x="425" y="106"/>
                </a:lnTo>
                <a:lnTo>
                  <a:pt x="423" y="103"/>
                </a:lnTo>
                <a:lnTo>
                  <a:pt x="421" y="100"/>
                </a:lnTo>
                <a:lnTo>
                  <a:pt x="418" y="98"/>
                </a:lnTo>
                <a:lnTo>
                  <a:pt x="412" y="93"/>
                </a:lnTo>
                <a:lnTo>
                  <a:pt x="406" y="89"/>
                </a:lnTo>
                <a:lnTo>
                  <a:pt x="402" y="88"/>
                </a:lnTo>
                <a:lnTo>
                  <a:pt x="398" y="86"/>
                </a:lnTo>
                <a:lnTo>
                  <a:pt x="392" y="85"/>
                </a:lnTo>
                <a:lnTo>
                  <a:pt x="388" y="85"/>
                </a:lnTo>
                <a:lnTo>
                  <a:pt x="384" y="85"/>
                </a:lnTo>
                <a:lnTo>
                  <a:pt x="380" y="85"/>
                </a:lnTo>
                <a:lnTo>
                  <a:pt x="376" y="84"/>
                </a:lnTo>
                <a:lnTo>
                  <a:pt x="375" y="88"/>
                </a:lnTo>
                <a:lnTo>
                  <a:pt x="374" y="92"/>
                </a:lnTo>
                <a:lnTo>
                  <a:pt x="372" y="95"/>
                </a:lnTo>
                <a:lnTo>
                  <a:pt x="369" y="98"/>
                </a:lnTo>
                <a:lnTo>
                  <a:pt x="363" y="104"/>
                </a:lnTo>
                <a:lnTo>
                  <a:pt x="361" y="107"/>
                </a:lnTo>
                <a:lnTo>
                  <a:pt x="358" y="109"/>
                </a:lnTo>
                <a:lnTo>
                  <a:pt x="357" y="106"/>
                </a:lnTo>
                <a:lnTo>
                  <a:pt x="357" y="102"/>
                </a:lnTo>
                <a:lnTo>
                  <a:pt x="345" y="100"/>
                </a:lnTo>
                <a:lnTo>
                  <a:pt x="336" y="99"/>
                </a:lnTo>
                <a:lnTo>
                  <a:pt x="327" y="98"/>
                </a:lnTo>
                <a:lnTo>
                  <a:pt x="316" y="98"/>
                </a:lnTo>
                <a:lnTo>
                  <a:pt x="323" y="95"/>
                </a:lnTo>
                <a:lnTo>
                  <a:pt x="333" y="91"/>
                </a:lnTo>
                <a:lnTo>
                  <a:pt x="334" y="86"/>
                </a:lnTo>
                <a:lnTo>
                  <a:pt x="325" y="86"/>
                </a:lnTo>
                <a:lnTo>
                  <a:pt x="329" y="79"/>
                </a:lnTo>
                <a:lnTo>
                  <a:pt x="332" y="75"/>
                </a:lnTo>
                <a:lnTo>
                  <a:pt x="335" y="71"/>
                </a:lnTo>
                <a:lnTo>
                  <a:pt x="340" y="66"/>
                </a:lnTo>
                <a:lnTo>
                  <a:pt x="343" y="65"/>
                </a:lnTo>
                <a:lnTo>
                  <a:pt x="345" y="63"/>
                </a:lnTo>
                <a:lnTo>
                  <a:pt x="345" y="60"/>
                </a:lnTo>
                <a:lnTo>
                  <a:pt x="348" y="58"/>
                </a:lnTo>
                <a:lnTo>
                  <a:pt x="350" y="52"/>
                </a:lnTo>
                <a:lnTo>
                  <a:pt x="345" y="49"/>
                </a:lnTo>
                <a:lnTo>
                  <a:pt x="341" y="45"/>
                </a:lnTo>
                <a:lnTo>
                  <a:pt x="339" y="43"/>
                </a:lnTo>
                <a:lnTo>
                  <a:pt x="336" y="41"/>
                </a:lnTo>
                <a:lnTo>
                  <a:pt x="335" y="38"/>
                </a:lnTo>
                <a:lnTo>
                  <a:pt x="334" y="36"/>
                </a:lnTo>
                <a:lnTo>
                  <a:pt x="334" y="32"/>
                </a:lnTo>
                <a:lnTo>
                  <a:pt x="335" y="30"/>
                </a:lnTo>
                <a:lnTo>
                  <a:pt x="335" y="23"/>
                </a:lnTo>
                <a:lnTo>
                  <a:pt x="335" y="21"/>
                </a:lnTo>
                <a:lnTo>
                  <a:pt x="335" y="18"/>
                </a:lnTo>
                <a:lnTo>
                  <a:pt x="333" y="15"/>
                </a:lnTo>
                <a:lnTo>
                  <a:pt x="331" y="13"/>
                </a:lnTo>
                <a:lnTo>
                  <a:pt x="328" y="11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21" name="Freeform 223">
            <a:extLst>
              <a:ext uri="{FF2B5EF4-FFF2-40B4-BE49-F238E27FC236}">
                <a16:creationId xmlns:a16="http://schemas.microsoft.com/office/drawing/2014/main" id="{D496AD3C-AC50-3826-AC82-F5EEF24DD90C}"/>
              </a:ext>
            </a:extLst>
          </p:cNvPr>
          <p:cNvSpPr>
            <a:spLocks/>
          </p:cNvSpPr>
          <p:nvPr/>
        </p:nvSpPr>
        <p:spPr bwMode="auto">
          <a:xfrm>
            <a:off x="3852238" y="4673446"/>
            <a:ext cx="338138" cy="461963"/>
          </a:xfrm>
          <a:custGeom>
            <a:avLst/>
            <a:gdLst>
              <a:gd name="T0" fmla="*/ 2 w 168"/>
              <a:gd name="T1" fmla="*/ 154 h 247"/>
              <a:gd name="T2" fmla="*/ 9 w 168"/>
              <a:gd name="T3" fmla="*/ 145 h 247"/>
              <a:gd name="T4" fmla="*/ 16 w 168"/>
              <a:gd name="T5" fmla="*/ 138 h 247"/>
              <a:gd name="T6" fmla="*/ 23 w 168"/>
              <a:gd name="T7" fmla="*/ 131 h 247"/>
              <a:gd name="T8" fmla="*/ 21 w 168"/>
              <a:gd name="T9" fmla="*/ 108 h 247"/>
              <a:gd name="T10" fmla="*/ 23 w 168"/>
              <a:gd name="T11" fmla="*/ 93 h 247"/>
              <a:gd name="T12" fmla="*/ 21 w 168"/>
              <a:gd name="T13" fmla="*/ 83 h 247"/>
              <a:gd name="T14" fmla="*/ 16 w 168"/>
              <a:gd name="T15" fmla="*/ 74 h 247"/>
              <a:gd name="T16" fmla="*/ 23 w 168"/>
              <a:gd name="T17" fmla="*/ 68 h 247"/>
              <a:gd name="T18" fmla="*/ 21 w 168"/>
              <a:gd name="T19" fmla="*/ 58 h 247"/>
              <a:gd name="T20" fmla="*/ 36 w 168"/>
              <a:gd name="T21" fmla="*/ 61 h 247"/>
              <a:gd name="T22" fmla="*/ 43 w 168"/>
              <a:gd name="T23" fmla="*/ 47 h 247"/>
              <a:gd name="T24" fmla="*/ 52 w 168"/>
              <a:gd name="T25" fmla="*/ 39 h 247"/>
              <a:gd name="T26" fmla="*/ 58 w 168"/>
              <a:gd name="T27" fmla="*/ 23 h 247"/>
              <a:gd name="T28" fmla="*/ 65 w 168"/>
              <a:gd name="T29" fmla="*/ 19 h 247"/>
              <a:gd name="T30" fmla="*/ 74 w 168"/>
              <a:gd name="T31" fmla="*/ 15 h 247"/>
              <a:gd name="T32" fmla="*/ 94 w 168"/>
              <a:gd name="T33" fmla="*/ 9 h 247"/>
              <a:gd name="T34" fmla="*/ 117 w 168"/>
              <a:gd name="T35" fmla="*/ 0 h 247"/>
              <a:gd name="T36" fmla="*/ 112 w 168"/>
              <a:gd name="T37" fmla="*/ 8 h 247"/>
              <a:gd name="T38" fmla="*/ 108 w 168"/>
              <a:gd name="T39" fmla="*/ 16 h 247"/>
              <a:gd name="T40" fmla="*/ 90 w 168"/>
              <a:gd name="T41" fmla="*/ 33 h 247"/>
              <a:gd name="T42" fmla="*/ 85 w 168"/>
              <a:gd name="T43" fmla="*/ 47 h 247"/>
              <a:gd name="T44" fmla="*/ 89 w 168"/>
              <a:gd name="T45" fmla="*/ 52 h 247"/>
              <a:gd name="T46" fmla="*/ 94 w 168"/>
              <a:gd name="T47" fmla="*/ 61 h 247"/>
              <a:gd name="T48" fmla="*/ 96 w 168"/>
              <a:gd name="T49" fmla="*/ 68 h 247"/>
              <a:gd name="T50" fmla="*/ 92 w 168"/>
              <a:gd name="T51" fmla="*/ 73 h 247"/>
              <a:gd name="T52" fmla="*/ 96 w 168"/>
              <a:gd name="T53" fmla="*/ 79 h 247"/>
              <a:gd name="T54" fmla="*/ 117 w 168"/>
              <a:gd name="T55" fmla="*/ 85 h 247"/>
              <a:gd name="T56" fmla="*/ 134 w 168"/>
              <a:gd name="T57" fmla="*/ 93 h 247"/>
              <a:gd name="T58" fmla="*/ 143 w 168"/>
              <a:gd name="T59" fmla="*/ 97 h 247"/>
              <a:gd name="T60" fmla="*/ 160 w 168"/>
              <a:gd name="T61" fmla="*/ 93 h 247"/>
              <a:gd name="T62" fmla="*/ 158 w 168"/>
              <a:gd name="T63" fmla="*/ 114 h 247"/>
              <a:gd name="T64" fmla="*/ 158 w 168"/>
              <a:gd name="T65" fmla="*/ 126 h 247"/>
              <a:gd name="T66" fmla="*/ 163 w 168"/>
              <a:gd name="T67" fmla="*/ 133 h 247"/>
              <a:gd name="T68" fmla="*/ 163 w 168"/>
              <a:gd name="T69" fmla="*/ 141 h 247"/>
              <a:gd name="T70" fmla="*/ 161 w 168"/>
              <a:gd name="T71" fmla="*/ 146 h 247"/>
              <a:gd name="T72" fmla="*/ 161 w 168"/>
              <a:gd name="T73" fmla="*/ 157 h 247"/>
              <a:gd name="T74" fmla="*/ 135 w 168"/>
              <a:gd name="T75" fmla="*/ 164 h 247"/>
              <a:gd name="T76" fmla="*/ 130 w 168"/>
              <a:gd name="T77" fmla="*/ 167 h 247"/>
              <a:gd name="T78" fmla="*/ 134 w 168"/>
              <a:gd name="T79" fmla="*/ 170 h 247"/>
              <a:gd name="T80" fmla="*/ 134 w 168"/>
              <a:gd name="T81" fmla="*/ 178 h 247"/>
              <a:gd name="T82" fmla="*/ 124 w 168"/>
              <a:gd name="T83" fmla="*/ 184 h 247"/>
              <a:gd name="T84" fmla="*/ 129 w 168"/>
              <a:gd name="T85" fmla="*/ 195 h 247"/>
              <a:gd name="T86" fmla="*/ 134 w 168"/>
              <a:gd name="T87" fmla="*/ 204 h 247"/>
              <a:gd name="T88" fmla="*/ 130 w 168"/>
              <a:gd name="T89" fmla="*/ 246 h 247"/>
              <a:gd name="T90" fmla="*/ 117 w 168"/>
              <a:gd name="T91" fmla="*/ 241 h 247"/>
              <a:gd name="T92" fmla="*/ 121 w 168"/>
              <a:gd name="T93" fmla="*/ 232 h 247"/>
              <a:gd name="T94" fmla="*/ 121 w 168"/>
              <a:gd name="T95" fmla="*/ 223 h 247"/>
              <a:gd name="T96" fmla="*/ 111 w 168"/>
              <a:gd name="T97" fmla="*/ 223 h 247"/>
              <a:gd name="T98" fmla="*/ 104 w 168"/>
              <a:gd name="T99" fmla="*/ 221 h 247"/>
              <a:gd name="T100" fmla="*/ 98 w 168"/>
              <a:gd name="T101" fmla="*/ 223 h 247"/>
              <a:gd name="T102" fmla="*/ 80 w 168"/>
              <a:gd name="T103" fmla="*/ 218 h 247"/>
              <a:gd name="T104" fmla="*/ 68 w 168"/>
              <a:gd name="T105" fmla="*/ 200 h 247"/>
              <a:gd name="T106" fmla="*/ 51 w 168"/>
              <a:gd name="T107" fmla="*/ 191 h 247"/>
              <a:gd name="T108" fmla="*/ 45 w 168"/>
              <a:gd name="T109" fmla="*/ 186 h 247"/>
              <a:gd name="T110" fmla="*/ 26 w 168"/>
              <a:gd name="T111" fmla="*/ 181 h 247"/>
              <a:gd name="T112" fmla="*/ 2 w 168"/>
              <a:gd name="T113" fmla="*/ 169 h 2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68" h="247">
                <a:moveTo>
                  <a:pt x="0" y="165"/>
                </a:moveTo>
                <a:lnTo>
                  <a:pt x="0" y="160"/>
                </a:lnTo>
                <a:lnTo>
                  <a:pt x="1" y="157"/>
                </a:lnTo>
                <a:lnTo>
                  <a:pt x="2" y="154"/>
                </a:lnTo>
                <a:lnTo>
                  <a:pt x="4" y="150"/>
                </a:lnTo>
                <a:lnTo>
                  <a:pt x="5" y="149"/>
                </a:lnTo>
                <a:lnTo>
                  <a:pt x="6" y="147"/>
                </a:lnTo>
                <a:lnTo>
                  <a:pt x="9" y="145"/>
                </a:lnTo>
                <a:lnTo>
                  <a:pt x="11" y="144"/>
                </a:lnTo>
                <a:lnTo>
                  <a:pt x="16" y="143"/>
                </a:lnTo>
                <a:lnTo>
                  <a:pt x="16" y="141"/>
                </a:lnTo>
                <a:lnTo>
                  <a:pt x="16" y="138"/>
                </a:lnTo>
                <a:lnTo>
                  <a:pt x="19" y="137"/>
                </a:lnTo>
                <a:lnTo>
                  <a:pt x="19" y="135"/>
                </a:lnTo>
                <a:lnTo>
                  <a:pt x="22" y="132"/>
                </a:lnTo>
                <a:lnTo>
                  <a:pt x="23" y="131"/>
                </a:lnTo>
                <a:lnTo>
                  <a:pt x="24" y="127"/>
                </a:lnTo>
                <a:lnTo>
                  <a:pt x="23" y="120"/>
                </a:lnTo>
                <a:lnTo>
                  <a:pt x="22" y="114"/>
                </a:lnTo>
                <a:lnTo>
                  <a:pt x="21" y="108"/>
                </a:lnTo>
                <a:lnTo>
                  <a:pt x="20" y="101"/>
                </a:lnTo>
                <a:lnTo>
                  <a:pt x="21" y="99"/>
                </a:lnTo>
                <a:lnTo>
                  <a:pt x="22" y="96"/>
                </a:lnTo>
                <a:lnTo>
                  <a:pt x="23" y="93"/>
                </a:lnTo>
                <a:lnTo>
                  <a:pt x="24" y="91"/>
                </a:lnTo>
                <a:lnTo>
                  <a:pt x="23" y="88"/>
                </a:lnTo>
                <a:lnTo>
                  <a:pt x="22" y="85"/>
                </a:lnTo>
                <a:lnTo>
                  <a:pt x="21" y="83"/>
                </a:lnTo>
                <a:lnTo>
                  <a:pt x="19" y="82"/>
                </a:lnTo>
                <a:lnTo>
                  <a:pt x="16" y="78"/>
                </a:lnTo>
                <a:lnTo>
                  <a:pt x="16" y="75"/>
                </a:lnTo>
                <a:lnTo>
                  <a:pt x="16" y="74"/>
                </a:lnTo>
                <a:lnTo>
                  <a:pt x="16" y="73"/>
                </a:lnTo>
                <a:lnTo>
                  <a:pt x="16" y="71"/>
                </a:lnTo>
                <a:lnTo>
                  <a:pt x="19" y="69"/>
                </a:lnTo>
                <a:lnTo>
                  <a:pt x="23" y="68"/>
                </a:lnTo>
                <a:lnTo>
                  <a:pt x="26" y="66"/>
                </a:lnTo>
                <a:lnTo>
                  <a:pt x="22" y="62"/>
                </a:lnTo>
                <a:lnTo>
                  <a:pt x="21" y="60"/>
                </a:lnTo>
                <a:lnTo>
                  <a:pt x="21" y="58"/>
                </a:lnTo>
                <a:lnTo>
                  <a:pt x="22" y="57"/>
                </a:lnTo>
                <a:lnTo>
                  <a:pt x="23" y="57"/>
                </a:lnTo>
                <a:lnTo>
                  <a:pt x="28" y="58"/>
                </a:lnTo>
                <a:lnTo>
                  <a:pt x="36" y="61"/>
                </a:lnTo>
                <a:lnTo>
                  <a:pt x="38" y="52"/>
                </a:lnTo>
                <a:lnTo>
                  <a:pt x="40" y="50"/>
                </a:lnTo>
                <a:lnTo>
                  <a:pt x="41" y="49"/>
                </a:lnTo>
                <a:lnTo>
                  <a:pt x="43" y="47"/>
                </a:lnTo>
                <a:lnTo>
                  <a:pt x="46" y="46"/>
                </a:lnTo>
                <a:lnTo>
                  <a:pt x="49" y="45"/>
                </a:lnTo>
                <a:lnTo>
                  <a:pt x="49" y="43"/>
                </a:lnTo>
                <a:lnTo>
                  <a:pt x="52" y="39"/>
                </a:lnTo>
                <a:lnTo>
                  <a:pt x="54" y="35"/>
                </a:lnTo>
                <a:lnTo>
                  <a:pt x="55" y="30"/>
                </a:lnTo>
                <a:lnTo>
                  <a:pt x="55" y="26"/>
                </a:lnTo>
                <a:lnTo>
                  <a:pt x="58" y="23"/>
                </a:lnTo>
                <a:lnTo>
                  <a:pt x="58" y="22"/>
                </a:lnTo>
                <a:lnTo>
                  <a:pt x="60" y="21"/>
                </a:lnTo>
                <a:lnTo>
                  <a:pt x="62" y="20"/>
                </a:lnTo>
                <a:lnTo>
                  <a:pt x="65" y="19"/>
                </a:lnTo>
                <a:lnTo>
                  <a:pt x="68" y="19"/>
                </a:lnTo>
                <a:lnTo>
                  <a:pt x="72" y="19"/>
                </a:lnTo>
                <a:lnTo>
                  <a:pt x="73" y="16"/>
                </a:lnTo>
                <a:lnTo>
                  <a:pt x="74" y="15"/>
                </a:lnTo>
                <a:lnTo>
                  <a:pt x="76" y="15"/>
                </a:lnTo>
                <a:lnTo>
                  <a:pt x="82" y="13"/>
                </a:lnTo>
                <a:lnTo>
                  <a:pt x="88" y="11"/>
                </a:lnTo>
                <a:lnTo>
                  <a:pt x="94" y="9"/>
                </a:lnTo>
                <a:lnTo>
                  <a:pt x="98" y="6"/>
                </a:lnTo>
                <a:lnTo>
                  <a:pt x="108" y="2"/>
                </a:lnTo>
                <a:lnTo>
                  <a:pt x="112" y="1"/>
                </a:lnTo>
                <a:lnTo>
                  <a:pt x="117" y="0"/>
                </a:lnTo>
                <a:lnTo>
                  <a:pt x="117" y="3"/>
                </a:lnTo>
                <a:lnTo>
                  <a:pt x="116" y="4"/>
                </a:lnTo>
                <a:lnTo>
                  <a:pt x="114" y="6"/>
                </a:lnTo>
                <a:lnTo>
                  <a:pt x="112" y="8"/>
                </a:lnTo>
                <a:lnTo>
                  <a:pt x="110" y="10"/>
                </a:lnTo>
                <a:lnTo>
                  <a:pt x="109" y="11"/>
                </a:lnTo>
                <a:lnTo>
                  <a:pt x="108" y="13"/>
                </a:lnTo>
                <a:lnTo>
                  <a:pt x="108" y="16"/>
                </a:lnTo>
                <a:lnTo>
                  <a:pt x="104" y="17"/>
                </a:lnTo>
                <a:lnTo>
                  <a:pt x="99" y="22"/>
                </a:lnTo>
                <a:lnTo>
                  <a:pt x="94" y="28"/>
                </a:lnTo>
                <a:lnTo>
                  <a:pt x="90" y="33"/>
                </a:lnTo>
                <a:lnTo>
                  <a:pt x="86" y="39"/>
                </a:lnTo>
                <a:lnTo>
                  <a:pt x="85" y="42"/>
                </a:lnTo>
                <a:lnTo>
                  <a:pt x="85" y="44"/>
                </a:lnTo>
                <a:lnTo>
                  <a:pt x="85" y="47"/>
                </a:lnTo>
                <a:lnTo>
                  <a:pt x="85" y="48"/>
                </a:lnTo>
                <a:lnTo>
                  <a:pt x="85" y="49"/>
                </a:lnTo>
                <a:lnTo>
                  <a:pt x="86" y="51"/>
                </a:lnTo>
                <a:lnTo>
                  <a:pt x="89" y="52"/>
                </a:lnTo>
                <a:lnTo>
                  <a:pt x="89" y="53"/>
                </a:lnTo>
                <a:lnTo>
                  <a:pt x="90" y="55"/>
                </a:lnTo>
                <a:lnTo>
                  <a:pt x="92" y="59"/>
                </a:lnTo>
                <a:lnTo>
                  <a:pt x="94" y="61"/>
                </a:lnTo>
                <a:lnTo>
                  <a:pt x="95" y="62"/>
                </a:lnTo>
                <a:lnTo>
                  <a:pt x="96" y="65"/>
                </a:lnTo>
                <a:lnTo>
                  <a:pt x="96" y="66"/>
                </a:lnTo>
                <a:lnTo>
                  <a:pt x="96" y="68"/>
                </a:lnTo>
                <a:lnTo>
                  <a:pt x="95" y="68"/>
                </a:lnTo>
                <a:lnTo>
                  <a:pt x="94" y="70"/>
                </a:lnTo>
                <a:lnTo>
                  <a:pt x="92" y="72"/>
                </a:lnTo>
                <a:lnTo>
                  <a:pt x="92" y="73"/>
                </a:lnTo>
                <a:lnTo>
                  <a:pt x="92" y="75"/>
                </a:lnTo>
                <a:lnTo>
                  <a:pt x="94" y="77"/>
                </a:lnTo>
                <a:lnTo>
                  <a:pt x="94" y="78"/>
                </a:lnTo>
                <a:lnTo>
                  <a:pt x="96" y="79"/>
                </a:lnTo>
                <a:lnTo>
                  <a:pt x="101" y="82"/>
                </a:lnTo>
                <a:lnTo>
                  <a:pt x="105" y="83"/>
                </a:lnTo>
                <a:lnTo>
                  <a:pt x="112" y="84"/>
                </a:lnTo>
                <a:lnTo>
                  <a:pt x="117" y="85"/>
                </a:lnTo>
                <a:lnTo>
                  <a:pt x="127" y="85"/>
                </a:lnTo>
                <a:lnTo>
                  <a:pt x="130" y="89"/>
                </a:lnTo>
                <a:lnTo>
                  <a:pt x="131" y="92"/>
                </a:lnTo>
                <a:lnTo>
                  <a:pt x="134" y="93"/>
                </a:lnTo>
                <a:lnTo>
                  <a:pt x="135" y="95"/>
                </a:lnTo>
                <a:lnTo>
                  <a:pt x="138" y="96"/>
                </a:lnTo>
                <a:lnTo>
                  <a:pt x="140" y="96"/>
                </a:lnTo>
                <a:lnTo>
                  <a:pt x="143" y="97"/>
                </a:lnTo>
                <a:lnTo>
                  <a:pt x="147" y="97"/>
                </a:lnTo>
                <a:lnTo>
                  <a:pt x="149" y="96"/>
                </a:lnTo>
                <a:lnTo>
                  <a:pt x="154" y="95"/>
                </a:lnTo>
                <a:lnTo>
                  <a:pt x="160" y="93"/>
                </a:lnTo>
                <a:lnTo>
                  <a:pt x="163" y="93"/>
                </a:lnTo>
                <a:lnTo>
                  <a:pt x="166" y="93"/>
                </a:lnTo>
                <a:lnTo>
                  <a:pt x="160" y="108"/>
                </a:lnTo>
                <a:lnTo>
                  <a:pt x="158" y="114"/>
                </a:lnTo>
                <a:lnTo>
                  <a:pt x="157" y="118"/>
                </a:lnTo>
                <a:lnTo>
                  <a:pt x="157" y="121"/>
                </a:lnTo>
                <a:lnTo>
                  <a:pt x="157" y="124"/>
                </a:lnTo>
                <a:lnTo>
                  <a:pt x="158" y="126"/>
                </a:lnTo>
                <a:lnTo>
                  <a:pt x="159" y="127"/>
                </a:lnTo>
                <a:lnTo>
                  <a:pt x="161" y="128"/>
                </a:lnTo>
                <a:lnTo>
                  <a:pt x="163" y="131"/>
                </a:lnTo>
                <a:lnTo>
                  <a:pt x="163" y="133"/>
                </a:lnTo>
                <a:lnTo>
                  <a:pt x="165" y="135"/>
                </a:lnTo>
                <a:lnTo>
                  <a:pt x="165" y="137"/>
                </a:lnTo>
                <a:lnTo>
                  <a:pt x="163" y="137"/>
                </a:lnTo>
                <a:lnTo>
                  <a:pt x="163" y="141"/>
                </a:lnTo>
                <a:lnTo>
                  <a:pt x="161" y="142"/>
                </a:lnTo>
                <a:lnTo>
                  <a:pt x="161" y="143"/>
                </a:lnTo>
                <a:lnTo>
                  <a:pt x="160" y="144"/>
                </a:lnTo>
                <a:lnTo>
                  <a:pt x="161" y="146"/>
                </a:lnTo>
                <a:lnTo>
                  <a:pt x="163" y="147"/>
                </a:lnTo>
                <a:lnTo>
                  <a:pt x="165" y="150"/>
                </a:lnTo>
                <a:lnTo>
                  <a:pt x="167" y="154"/>
                </a:lnTo>
                <a:lnTo>
                  <a:pt x="161" y="157"/>
                </a:lnTo>
                <a:lnTo>
                  <a:pt x="156" y="159"/>
                </a:lnTo>
                <a:lnTo>
                  <a:pt x="150" y="160"/>
                </a:lnTo>
                <a:lnTo>
                  <a:pt x="144" y="162"/>
                </a:lnTo>
                <a:lnTo>
                  <a:pt x="135" y="164"/>
                </a:lnTo>
                <a:lnTo>
                  <a:pt x="131" y="164"/>
                </a:lnTo>
                <a:lnTo>
                  <a:pt x="127" y="167"/>
                </a:lnTo>
                <a:lnTo>
                  <a:pt x="130" y="165"/>
                </a:lnTo>
                <a:lnTo>
                  <a:pt x="130" y="167"/>
                </a:lnTo>
                <a:lnTo>
                  <a:pt x="131" y="167"/>
                </a:lnTo>
                <a:lnTo>
                  <a:pt x="132" y="168"/>
                </a:lnTo>
                <a:lnTo>
                  <a:pt x="134" y="169"/>
                </a:lnTo>
                <a:lnTo>
                  <a:pt x="134" y="170"/>
                </a:lnTo>
                <a:lnTo>
                  <a:pt x="136" y="171"/>
                </a:lnTo>
                <a:lnTo>
                  <a:pt x="138" y="172"/>
                </a:lnTo>
                <a:lnTo>
                  <a:pt x="138" y="178"/>
                </a:lnTo>
                <a:lnTo>
                  <a:pt x="134" y="178"/>
                </a:lnTo>
                <a:lnTo>
                  <a:pt x="129" y="180"/>
                </a:lnTo>
                <a:lnTo>
                  <a:pt x="127" y="181"/>
                </a:lnTo>
                <a:lnTo>
                  <a:pt x="125" y="182"/>
                </a:lnTo>
                <a:lnTo>
                  <a:pt x="124" y="184"/>
                </a:lnTo>
                <a:lnTo>
                  <a:pt x="124" y="186"/>
                </a:lnTo>
                <a:lnTo>
                  <a:pt x="125" y="189"/>
                </a:lnTo>
                <a:lnTo>
                  <a:pt x="126" y="190"/>
                </a:lnTo>
                <a:lnTo>
                  <a:pt x="129" y="195"/>
                </a:lnTo>
                <a:lnTo>
                  <a:pt x="130" y="196"/>
                </a:lnTo>
                <a:lnTo>
                  <a:pt x="132" y="199"/>
                </a:lnTo>
                <a:lnTo>
                  <a:pt x="134" y="201"/>
                </a:lnTo>
                <a:lnTo>
                  <a:pt x="134" y="204"/>
                </a:lnTo>
                <a:lnTo>
                  <a:pt x="134" y="213"/>
                </a:lnTo>
                <a:lnTo>
                  <a:pt x="134" y="223"/>
                </a:lnTo>
                <a:lnTo>
                  <a:pt x="131" y="235"/>
                </a:lnTo>
                <a:lnTo>
                  <a:pt x="130" y="246"/>
                </a:lnTo>
                <a:lnTo>
                  <a:pt x="125" y="245"/>
                </a:lnTo>
                <a:lnTo>
                  <a:pt x="121" y="244"/>
                </a:lnTo>
                <a:lnTo>
                  <a:pt x="118" y="242"/>
                </a:lnTo>
                <a:lnTo>
                  <a:pt x="117" y="241"/>
                </a:lnTo>
                <a:lnTo>
                  <a:pt x="117" y="239"/>
                </a:lnTo>
                <a:lnTo>
                  <a:pt x="117" y="238"/>
                </a:lnTo>
                <a:lnTo>
                  <a:pt x="118" y="236"/>
                </a:lnTo>
                <a:lnTo>
                  <a:pt x="121" y="232"/>
                </a:lnTo>
                <a:lnTo>
                  <a:pt x="125" y="229"/>
                </a:lnTo>
                <a:lnTo>
                  <a:pt x="126" y="227"/>
                </a:lnTo>
                <a:lnTo>
                  <a:pt x="127" y="225"/>
                </a:lnTo>
                <a:lnTo>
                  <a:pt x="121" y="223"/>
                </a:lnTo>
                <a:lnTo>
                  <a:pt x="117" y="222"/>
                </a:lnTo>
                <a:lnTo>
                  <a:pt x="114" y="221"/>
                </a:lnTo>
                <a:lnTo>
                  <a:pt x="113" y="222"/>
                </a:lnTo>
                <a:lnTo>
                  <a:pt x="111" y="223"/>
                </a:lnTo>
                <a:lnTo>
                  <a:pt x="110" y="223"/>
                </a:lnTo>
                <a:lnTo>
                  <a:pt x="110" y="225"/>
                </a:lnTo>
                <a:lnTo>
                  <a:pt x="107" y="222"/>
                </a:lnTo>
                <a:lnTo>
                  <a:pt x="104" y="221"/>
                </a:lnTo>
                <a:lnTo>
                  <a:pt x="103" y="220"/>
                </a:lnTo>
                <a:lnTo>
                  <a:pt x="101" y="221"/>
                </a:lnTo>
                <a:lnTo>
                  <a:pt x="99" y="222"/>
                </a:lnTo>
                <a:lnTo>
                  <a:pt x="98" y="223"/>
                </a:lnTo>
                <a:lnTo>
                  <a:pt x="94" y="223"/>
                </a:lnTo>
                <a:lnTo>
                  <a:pt x="81" y="223"/>
                </a:lnTo>
                <a:lnTo>
                  <a:pt x="81" y="221"/>
                </a:lnTo>
                <a:lnTo>
                  <a:pt x="80" y="218"/>
                </a:lnTo>
                <a:lnTo>
                  <a:pt x="77" y="213"/>
                </a:lnTo>
                <a:lnTo>
                  <a:pt x="75" y="209"/>
                </a:lnTo>
                <a:lnTo>
                  <a:pt x="73" y="206"/>
                </a:lnTo>
                <a:lnTo>
                  <a:pt x="68" y="200"/>
                </a:lnTo>
                <a:lnTo>
                  <a:pt x="62" y="196"/>
                </a:lnTo>
                <a:lnTo>
                  <a:pt x="56" y="193"/>
                </a:lnTo>
                <a:lnTo>
                  <a:pt x="54" y="191"/>
                </a:lnTo>
                <a:lnTo>
                  <a:pt x="51" y="191"/>
                </a:lnTo>
                <a:lnTo>
                  <a:pt x="46" y="191"/>
                </a:lnTo>
                <a:lnTo>
                  <a:pt x="45" y="189"/>
                </a:lnTo>
                <a:lnTo>
                  <a:pt x="45" y="187"/>
                </a:lnTo>
                <a:lnTo>
                  <a:pt x="45" y="186"/>
                </a:lnTo>
                <a:lnTo>
                  <a:pt x="46" y="185"/>
                </a:lnTo>
                <a:lnTo>
                  <a:pt x="40" y="185"/>
                </a:lnTo>
                <a:lnTo>
                  <a:pt x="32" y="183"/>
                </a:lnTo>
                <a:lnTo>
                  <a:pt x="26" y="181"/>
                </a:lnTo>
                <a:lnTo>
                  <a:pt x="19" y="180"/>
                </a:lnTo>
                <a:lnTo>
                  <a:pt x="12" y="176"/>
                </a:lnTo>
                <a:lnTo>
                  <a:pt x="6" y="173"/>
                </a:lnTo>
                <a:lnTo>
                  <a:pt x="2" y="169"/>
                </a:lnTo>
                <a:lnTo>
                  <a:pt x="0" y="167"/>
                </a:lnTo>
                <a:lnTo>
                  <a:pt x="0" y="165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22" name="Freeform 224">
            <a:extLst>
              <a:ext uri="{FF2B5EF4-FFF2-40B4-BE49-F238E27FC236}">
                <a16:creationId xmlns:a16="http://schemas.microsoft.com/office/drawing/2014/main" id="{890A89B4-2FFA-5209-5C80-902D9F16165D}"/>
              </a:ext>
            </a:extLst>
          </p:cNvPr>
          <p:cNvSpPr>
            <a:spLocks/>
          </p:cNvSpPr>
          <p:nvPr/>
        </p:nvSpPr>
        <p:spPr bwMode="auto">
          <a:xfrm>
            <a:off x="3788738" y="4983009"/>
            <a:ext cx="158750" cy="179388"/>
          </a:xfrm>
          <a:custGeom>
            <a:avLst/>
            <a:gdLst>
              <a:gd name="T0" fmla="*/ 8 w 79"/>
              <a:gd name="T1" fmla="*/ 70 h 95"/>
              <a:gd name="T2" fmla="*/ 9 w 79"/>
              <a:gd name="T3" fmla="*/ 73 h 95"/>
              <a:gd name="T4" fmla="*/ 9 w 79"/>
              <a:gd name="T5" fmla="*/ 79 h 95"/>
              <a:gd name="T6" fmla="*/ 8 w 79"/>
              <a:gd name="T7" fmla="*/ 83 h 95"/>
              <a:gd name="T8" fmla="*/ 9 w 79"/>
              <a:gd name="T9" fmla="*/ 87 h 95"/>
              <a:gd name="T10" fmla="*/ 22 w 79"/>
              <a:gd name="T11" fmla="*/ 93 h 95"/>
              <a:gd name="T12" fmla="*/ 28 w 79"/>
              <a:gd name="T13" fmla="*/ 94 h 95"/>
              <a:gd name="T14" fmla="*/ 32 w 79"/>
              <a:gd name="T15" fmla="*/ 90 h 95"/>
              <a:gd name="T16" fmla="*/ 35 w 79"/>
              <a:gd name="T17" fmla="*/ 86 h 95"/>
              <a:gd name="T18" fmla="*/ 39 w 79"/>
              <a:gd name="T19" fmla="*/ 75 h 95"/>
              <a:gd name="T20" fmla="*/ 42 w 79"/>
              <a:gd name="T21" fmla="*/ 70 h 95"/>
              <a:gd name="T22" fmla="*/ 45 w 79"/>
              <a:gd name="T23" fmla="*/ 66 h 95"/>
              <a:gd name="T24" fmla="*/ 49 w 79"/>
              <a:gd name="T25" fmla="*/ 64 h 95"/>
              <a:gd name="T26" fmla="*/ 61 w 79"/>
              <a:gd name="T27" fmla="*/ 59 h 95"/>
              <a:gd name="T28" fmla="*/ 69 w 79"/>
              <a:gd name="T29" fmla="*/ 51 h 95"/>
              <a:gd name="T30" fmla="*/ 75 w 79"/>
              <a:gd name="T31" fmla="*/ 43 h 95"/>
              <a:gd name="T32" fmla="*/ 77 w 79"/>
              <a:gd name="T33" fmla="*/ 33 h 95"/>
              <a:gd name="T34" fmla="*/ 78 w 79"/>
              <a:gd name="T35" fmla="*/ 29 h 95"/>
              <a:gd name="T36" fmla="*/ 76 w 79"/>
              <a:gd name="T37" fmla="*/ 23 h 95"/>
              <a:gd name="T38" fmla="*/ 76 w 79"/>
              <a:gd name="T39" fmla="*/ 21 h 95"/>
              <a:gd name="T40" fmla="*/ 71 w 79"/>
              <a:gd name="T41" fmla="*/ 19 h 95"/>
              <a:gd name="T42" fmla="*/ 57 w 79"/>
              <a:gd name="T43" fmla="*/ 16 h 95"/>
              <a:gd name="T44" fmla="*/ 42 w 79"/>
              <a:gd name="T45" fmla="*/ 10 h 95"/>
              <a:gd name="T46" fmla="*/ 32 w 79"/>
              <a:gd name="T47" fmla="*/ 3 h 95"/>
              <a:gd name="T48" fmla="*/ 24 w 79"/>
              <a:gd name="T49" fmla="*/ 0 h 95"/>
              <a:gd name="T50" fmla="*/ 18 w 79"/>
              <a:gd name="T51" fmla="*/ 1 h 95"/>
              <a:gd name="T52" fmla="*/ 13 w 79"/>
              <a:gd name="T53" fmla="*/ 4 h 95"/>
              <a:gd name="T54" fmla="*/ 11 w 79"/>
              <a:gd name="T55" fmla="*/ 8 h 95"/>
              <a:gd name="T56" fmla="*/ 10 w 79"/>
              <a:gd name="T57" fmla="*/ 15 h 95"/>
              <a:gd name="T58" fmla="*/ 5 w 79"/>
              <a:gd name="T59" fmla="*/ 31 h 95"/>
              <a:gd name="T60" fmla="*/ 0 w 79"/>
              <a:gd name="T61" fmla="*/ 47 h 95"/>
              <a:gd name="T62" fmla="*/ 0 w 79"/>
              <a:gd name="T63" fmla="*/ 52 h 95"/>
              <a:gd name="T64" fmla="*/ 5 w 79"/>
              <a:gd name="T65" fmla="*/ 56 h 95"/>
              <a:gd name="T66" fmla="*/ 10 w 79"/>
              <a:gd name="T67" fmla="*/ 56 h 95"/>
              <a:gd name="T68" fmla="*/ 16 w 79"/>
              <a:gd name="T69" fmla="*/ 52 h 95"/>
              <a:gd name="T70" fmla="*/ 17 w 79"/>
              <a:gd name="T71" fmla="*/ 58 h 95"/>
              <a:gd name="T72" fmla="*/ 16 w 79"/>
              <a:gd name="T73" fmla="*/ 62 h 95"/>
              <a:gd name="T74" fmla="*/ 13 w 79"/>
              <a:gd name="T75" fmla="*/ 66 h 95"/>
              <a:gd name="T76" fmla="*/ 9 w 79"/>
              <a:gd name="T77" fmla="*/ 68 h 95"/>
              <a:gd name="T78" fmla="*/ 9 w 79"/>
              <a:gd name="T79" fmla="*/ 67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79" h="95">
                <a:moveTo>
                  <a:pt x="9" y="67"/>
                </a:moveTo>
                <a:lnTo>
                  <a:pt x="8" y="70"/>
                </a:lnTo>
                <a:lnTo>
                  <a:pt x="8" y="71"/>
                </a:lnTo>
                <a:lnTo>
                  <a:pt x="9" y="73"/>
                </a:lnTo>
                <a:lnTo>
                  <a:pt x="9" y="77"/>
                </a:lnTo>
                <a:lnTo>
                  <a:pt x="9" y="79"/>
                </a:lnTo>
                <a:lnTo>
                  <a:pt x="9" y="81"/>
                </a:lnTo>
                <a:lnTo>
                  <a:pt x="8" y="83"/>
                </a:lnTo>
                <a:lnTo>
                  <a:pt x="6" y="84"/>
                </a:lnTo>
                <a:lnTo>
                  <a:pt x="9" y="87"/>
                </a:lnTo>
                <a:lnTo>
                  <a:pt x="16" y="89"/>
                </a:lnTo>
                <a:lnTo>
                  <a:pt x="22" y="93"/>
                </a:lnTo>
                <a:lnTo>
                  <a:pt x="26" y="94"/>
                </a:lnTo>
                <a:lnTo>
                  <a:pt x="28" y="94"/>
                </a:lnTo>
                <a:lnTo>
                  <a:pt x="30" y="93"/>
                </a:lnTo>
                <a:lnTo>
                  <a:pt x="32" y="90"/>
                </a:lnTo>
                <a:lnTo>
                  <a:pt x="33" y="87"/>
                </a:lnTo>
                <a:lnTo>
                  <a:pt x="35" y="86"/>
                </a:lnTo>
                <a:lnTo>
                  <a:pt x="36" y="81"/>
                </a:lnTo>
                <a:lnTo>
                  <a:pt x="39" y="75"/>
                </a:lnTo>
                <a:lnTo>
                  <a:pt x="40" y="73"/>
                </a:lnTo>
                <a:lnTo>
                  <a:pt x="42" y="70"/>
                </a:lnTo>
                <a:lnTo>
                  <a:pt x="44" y="68"/>
                </a:lnTo>
                <a:lnTo>
                  <a:pt x="45" y="66"/>
                </a:lnTo>
                <a:lnTo>
                  <a:pt x="47" y="64"/>
                </a:lnTo>
                <a:lnTo>
                  <a:pt x="49" y="64"/>
                </a:lnTo>
                <a:lnTo>
                  <a:pt x="55" y="61"/>
                </a:lnTo>
                <a:lnTo>
                  <a:pt x="61" y="59"/>
                </a:lnTo>
                <a:lnTo>
                  <a:pt x="66" y="55"/>
                </a:lnTo>
                <a:lnTo>
                  <a:pt x="69" y="51"/>
                </a:lnTo>
                <a:lnTo>
                  <a:pt x="73" y="48"/>
                </a:lnTo>
                <a:lnTo>
                  <a:pt x="75" y="43"/>
                </a:lnTo>
                <a:lnTo>
                  <a:pt x="77" y="38"/>
                </a:lnTo>
                <a:lnTo>
                  <a:pt x="77" y="33"/>
                </a:lnTo>
                <a:lnTo>
                  <a:pt x="78" y="30"/>
                </a:lnTo>
                <a:lnTo>
                  <a:pt x="78" y="29"/>
                </a:lnTo>
                <a:lnTo>
                  <a:pt x="77" y="25"/>
                </a:lnTo>
                <a:lnTo>
                  <a:pt x="76" y="23"/>
                </a:lnTo>
                <a:lnTo>
                  <a:pt x="75" y="22"/>
                </a:lnTo>
                <a:lnTo>
                  <a:pt x="76" y="21"/>
                </a:lnTo>
                <a:lnTo>
                  <a:pt x="77" y="19"/>
                </a:lnTo>
                <a:lnTo>
                  <a:pt x="71" y="19"/>
                </a:lnTo>
                <a:lnTo>
                  <a:pt x="63" y="17"/>
                </a:lnTo>
                <a:lnTo>
                  <a:pt x="57" y="16"/>
                </a:lnTo>
                <a:lnTo>
                  <a:pt x="49" y="14"/>
                </a:lnTo>
                <a:lnTo>
                  <a:pt x="42" y="10"/>
                </a:lnTo>
                <a:lnTo>
                  <a:pt x="37" y="7"/>
                </a:lnTo>
                <a:lnTo>
                  <a:pt x="32" y="3"/>
                </a:lnTo>
                <a:lnTo>
                  <a:pt x="30" y="1"/>
                </a:lnTo>
                <a:lnTo>
                  <a:pt x="24" y="0"/>
                </a:lnTo>
                <a:lnTo>
                  <a:pt x="22" y="1"/>
                </a:lnTo>
                <a:lnTo>
                  <a:pt x="18" y="1"/>
                </a:lnTo>
                <a:lnTo>
                  <a:pt x="15" y="3"/>
                </a:lnTo>
                <a:lnTo>
                  <a:pt x="13" y="4"/>
                </a:lnTo>
                <a:lnTo>
                  <a:pt x="11" y="6"/>
                </a:lnTo>
                <a:lnTo>
                  <a:pt x="11" y="8"/>
                </a:lnTo>
                <a:lnTo>
                  <a:pt x="10" y="9"/>
                </a:lnTo>
                <a:lnTo>
                  <a:pt x="10" y="15"/>
                </a:lnTo>
                <a:lnTo>
                  <a:pt x="9" y="19"/>
                </a:lnTo>
                <a:lnTo>
                  <a:pt x="5" y="31"/>
                </a:lnTo>
                <a:lnTo>
                  <a:pt x="1" y="42"/>
                </a:lnTo>
                <a:lnTo>
                  <a:pt x="0" y="47"/>
                </a:lnTo>
                <a:lnTo>
                  <a:pt x="0" y="51"/>
                </a:lnTo>
                <a:lnTo>
                  <a:pt x="0" y="52"/>
                </a:lnTo>
                <a:lnTo>
                  <a:pt x="2" y="55"/>
                </a:lnTo>
                <a:lnTo>
                  <a:pt x="5" y="56"/>
                </a:lnTo>
                <a:lnTo>
                  <a:pt x="9" y="57"/>
                </a:lnTo>
                <a:lnTo>
                  <a:pt x="10" y="56"/>
                </a:lnTo>
                <a:lnTo>
                  <a:pt x="13" y="55"/>
                </a:lnTo>
                <a:lnTo>
                  <a:pt x="16" y="52"/>
                </a:lnTo>
                <a:lnTo>
                  <a:pt x="17" y="55"/>
                </a:lnTo>
                <a:lnTo>
                  <a:pt x="17" y="58"/>
                </a:lnTo>
                <a:lnTo>
                  <a:pt x="16" y="61"/>
                </a:lnTo>
                <a:lnTo>
                  <a:pt x="16" y="62"/>
                </a:lnTo>
                <a:lnTo>
                  <a:pt x="14" y="64"/>
                </a:lnTo>
                <a:lnTo>
                  <a:pt x="13" y="66"/>
                </a:lnTo>
                <a:lnTo>
                  <a:pt x="10" y="67"/>
                </a:lnTo>
                <a:lnTo>
                  <a:pt x="9" y="68"/>
                </a:lnTo>
                <a:lnTo>
                  <a:pt x="6" y="69"/>
                </a:lnTo>
                <a:lnTo>
                  <a:pt x="9" y="67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23" name="Freeform 225">
            <a:extLst>
              <a:ext uri="{FF2B5EF4-FFF2-40B4-BE49-F238E27FC236}">
                <a16:creationId xmlns:a16="http://schemas.microsoft.com/office/drawing/2014/main" id="{F8D42664-02AA-7710-4F58-B4A19BA1D2F2}"/>
              </a:ext>
            </a:extLst>
          </p:cNvPr>
          <p:cNvSpPr>
            <a:spLocks/>
          </p:cNvSpPr>
          <p:nvPr/>
        </p:nvSpPr>
        <p:spPr bwMode="auto">
          <a:xfrm>
            <a:off x="3780800" y="5029046"/>
            <a:ext cx="382588" cy="511175"/>
          </a:xfrm>
          <a:custGeom>
            <a:avLst/>
            <a:gdLst>
              <a:gd name="T0" fmla="*/ 155 w 189"/>
              <a:gd name="T1" fmla="*/ 257 h 273"/>
              <a:gd name="T2" fmla="*/ 123 w 189"/>
              <a:gd name="T3" fmla="*/ 236 h 273"/>
              <a:gd name="T4" fmla="*/ 85 w 189"/>
              <a:gd name="T5" fmla="*/ 215 h 273"/>
              <a:gd name="T6" fmla="*/ 76 w 189"/>
              <a:gd name="T7" fmla="*/ 196 h 273"/>
              <a:gd name="T8" fmla="*/ 54 w 189"/>
              <a:gd name="T9" fmla="*/ 157 h 273"/>
              <a:gd name="T10" fmla="*/ 41 w 189"/>
              <a:gd name="T11" fmla="*/ 129 h 273"/>
              <a:gd name="T12" fmla="*/ 19 w 189"/>
              <a:gd name="T13" fmla="*/ 93 h 273"/>
              <a:gd name="T14" fmla="*/ 5 w 189"/>
              <a:gd name="T15" fmla="*/ 86 h 273"/>
              <a:gd name="T16" fmla="*/ 0 w 189"/>
              <a:gd name="T17" fmla="*/ 82 h 273"/>
              <a:gd name="T18" fmla="*/ 0 w 189"/>
              <a:gd name="T19" fmla="*/ 53 h 273"/>
              <a:gd name="T20" fmla="*/ 6 w 189"/>
              <a:gd name="T21" fmla="*/ 46 h 273"/>
              <a:gd name="T22" fmla="*/ 11 w 189"/>
              <a:gd name="T23" fmla="*/ 46 h 273"/>
              <a:gd name="T24" fmla="*/ 12 w 189"/>
              <a:gd name="T25" fmla="*/ 56 h 273"/>
              <a:gd name="T26" fmla="*/ 19 w 189"/>
              <a:gd name="T27" fmla="*/ 64 h 273"/>
              <a:gd name="T28" fmla="*/ 33 w 189"/>
              <a:gd name="T29" fmla="*/ 68 h 273"/>
              <a:gd name="T30" fmla="*/ 39 w 189"/>
              <a:gd name="T31" fmla="*/ 56 h 273"/>
              <a:gd name="T32" fmla="*/ 47 w 189"/>
              <a:gd name="T33" fmla="*/ 43 h 273"/>
              <a:gd name="T34" fmla="*/ 58 w 189"/>
              <a:gd name="T35" fmla="*/ 36 h 273"/>
              <a:gd name="T36" fmla="*/ 76 w 189"/>
              <a:gd name="T37" fmla="*/ 23 h 273"/>
              <a:gd name="T38" fmla="*/ 81 w 189"/>
              <a:gd name="T39" fmla="*/ 5 h 273"/>
              <a:gd name="T40" fmla="*/ 84 w 189"/>
              <a:gd name="T41" fmla="*/ 0 h 273"/>
              <a:gd name="T42" fmla="*/ 101 w 189"/>
              <a:gd name="T43" fmla="*/ 9 h 273"/>
              <a:gd name="T44" fmla="*/ 113 w 189"/>
              <a:gd name="T45" fmla="*/ 27 h 273"/>
              <a:gd name="T46" fmla="*/ 131 w 189"/>
              <a:gd name="T47" fmla="*/ 32 h 273"/>
              <a:gd name="T48" fmla="*/ 138 w 189"/>
              <a:gd name="T49" fmla="*/ 30 h 273"/>
              <a:gd name="T50" fmla="*/ 143 w 189"/>
              <a:gd name="T51" fmla="*/ 33 h 273"/>
              <a:gd name="T52" fmla="*/ 151 w 189"/>
              <a:gd name="T53" fmla="*/ 31 h 273"/>
              <a:gd name="T54" fmla="*/ 158 w 189"/>
              <a:gd name="T55" fmla="*/ 39 h 273"/>
              <a:gd name="T56" fmla="*/ 151 w 189"/>
              <a:gd name="T57" fmla="*/ 47 h 273"/>
              <a:gd name="T58" fmla="*/ 155 w 189"/>
              <a:gd name="T59" fmla="*/ 53 h 273"/>
              <a:gd name="T60" fmla="*/ 161 w 189"/>
              <a:gd name="T61" fmla="*/ 58 h 273"/>
              <a:gd name="T62" fmla="*/ 136 w 189"/>
              <a:gd name="T63" fmla="*/ 64 h 273"/>
              <a:gd name="T64" fmla="*/ 124 w 189"/>
              <a:gd name="T65" fmla="*/ 69 h 273"/>
              <a:gd name="T66" fmla="*/ 119 w 189"/>
              <a:gd name="T67" fmla="*/ 79 h 273"/>
              <a:gd name="T68" fmla="*/ 115 w 189"/>
              <a:gd name="T69" fmla="*/ 97 h 273"/>
              <a:gd name="T70" fmla="*/ 106 w 189"/>
              <a:gd name="T71" fmla="*/ 102 h 273"/>
              <a:gd name="T72" fmla="*/ 106 w 189"/>
              <a:gd name="T73" fmla="*/ 112 h 273"/>
              <a:gd name="T74" fmla="*/ 116 w 189"/>
              <a:gd name="T75" fmla="*/ 124 h 273"/>
              <a:gd name="T76" fmla="*/ 120 w 189"/>
              <a:gd name="T77" fmla="*/ 134 h 273"/>
              <a:gd name="T78" fmla="*/ 129 w 189"/>
              <a:gd name="T79" fmla="*/ 139 h 273"/>
              <a:gd name="T80" fmla="*/ 142 w 189"/>
              <a:gd name="T81" fmla="*/ 146 h 273"/>
              <a:gd name="T82" fmla="*/ 148 w 189"/>
              <a:gd name="T83" fmla="*/ 142 h 273"/>
              <a:gd name="T84" fmla="*/ 158 w 189"/>
              <a:gd name="T85" fmla="*/ 156 h 273"/>
              <a:gd name="T86" fmla="*/ 161 w 189"/>
              <a:gd name="T87" fmla="*/ 160 h 273"/>
              <a:gd name="T88" fmla="*/ 172 w 189"/>
              <a:gd name="T89" fmla="*/ 162 h 273"/>
              <a:gd name="T90" fmla="*/ 186 w 189"/>
              <a:gd name="T91" fmla="*/ 179 h 273"/>
              <a:gd name="T92" fmla="*/ 184 w 189"/>
              <a:gd name="T93" fmla="*/ 202 h 273"/>
              <a:gd name="T94" fmla="*/ 182 w 189"/>
              <a:gd name="T95" fmla="*/ 216 h 273"/>
              <a:gd name="T96" fmla="*/ 181 w 189"/>
              <a:gd name="T97" fmla="*/ 230 h 273"/>
              <a:gd name="T98" fmla="*/ 182 w 189"/>
              <a:gd name="T99" fmla="*/ 238 h 273"/>
              <a:gd name="T100" fmla="*/ 182 w 189"/>
              <a:gd name="T101" fmla="*/ 249 h 273"/>
              <a:gd name="T102" fmla="*/ 180 w 189"/>
              <a:gd name="T103" fmla="*/ 262 h 273"/>
              <a:gd name="T104" fmla="*/ 174 w 189"/>
              <a:gd name="T105" fmla="*/ 266 h 273"/>
              <a:gd name="T106" fmla="*/ 168 w 189"/>
              <a:gd name="T107" fmla="*/ 272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89" h="273">
                <a:moveTo>
                  <a:pt x="168" y="272"/>
                </a:moveTo>
                <a:lnTo>
                  <a:pt x="165" y="268"/>
                </a:lnTo>
                <a:lnTo>
                  <a:pt x="163" y="264"/>
                </a:lnTo>
                <a:lnTo>
                  <a:pt x="155" y="257"/>
                </a:lnTo>
                <a:lnTo>
                  <a:pt x="147" y="251"/>
                </a:lnTo>
                <a:lnTo>
                  <a:pt x="138" y="245"/>
                </a:lnTo>
                <a:lnTo>
                  <a:pt x="131" y="240"/>
                </a:lnTo>
                <a:lnTo>
                  <a:pt x="123" y="236"/>
                </a:lnTo>
                <a:lnTo>
                  <a:pt x="105" y="228"/>
                </a:lnTo>
                <a:lnTo>
                  <a:pt x="97" y="224"/>
                </a:lnTo>
                <a:lnTo>
                  <a:pt x="89" y="219"/>
                </a:lnTo>
                <a:lnTo>
                  <a:pt x="85" y="215"/>
                </a:lnTo>
                <a:lnTo>
                  <a:pt x="83" y="213"/>
                </a:lnTo>
                <a:lnTo>
                  <a:pt x="81" y="209"/>
                </a:lnTo>
                <a:lnTo>
                  <a:pt x="79" y="205"/>
                </a:lnTo>
                <a:lnTo>
                  <a:pt x="76" y="196"/>
                </a:lnTo>
                <a:lnTo>
                  <a:pt x="72" y="188"/>
                </a:lnTo>
                <a:lnTo>
                  <a:pt x="68" y="180"/>
                </a:lnTo>
                <a:lnTo>
                  <a:pt x="63" y="172"/>
                </a:lnTo>
                <a:lnTo>
                  <a:pt x="54" y="157"/>
                </a:lnTo>
                <a:lnTo>
                  <a:pt x="50" y="149"/>
                </a:lnTo>
                <a:lnTo>
                  <a:pt x="47" y="142"/>
                </a:lnTo>
                <a:lnTo>
                  <a:pt x="44" y="134"/>
                </a:lnTo>
                <a:lnTo>
                  <a:pt x="41" y="129"/>
                </a:lnTo>
                <a:lnTo>
                  <a:pt x="34" y="117"/>
                </a:lnTo>
                <a:lnTo>
                  <a:pt x="27" y="107"/>
                </a:lnTo>
                <a:lnTo>
                  <a:pt x="22" y="96"/>
                </a:lnTo>
                <a:lnTo>
                  <a:pt x="19" y="93"/>
                </a:lnTo>
                <a:lnTo>
                  <a:pt x="16" y="91"/>
                </a:lnTo>
                <a:lnTo>
                  <a:pt x="12" y="89"/>
                </a:lnTo>
                <a:lnTo>
                  <a:pt x="9" y="89"/>
                </a:lnTo>
                <a:lnTo>
                  <a:pt x="5" y="86"/>
                </a:lnTo>
                <a:lnTo>
                  <a:pt x="3" y="86"/>
                </a:lnTo>
                <a:lnTo>
                  <a:pt x="1" y="85"/>
                </a:lnTo>
                <a:lnTo>
                  <a:pt x="0" y="83"/>
                </a:lnTo>
                <a:lnTo>
                  <a:pt x="0" y="82"/>
                </a:lnTo>
                <a:lnTo>
                  <a:pt x="0" y="80"/>
                </a:lnTo>
                <a:lnTo>
                  <a:pt x="0" y="67"/>
                </a:lnTo>
                <a:lnTo>
                  <a:pt x="0" y="58"/>
                </a:lnTo>
                <a:lnTo>
                  <a:pt x="0" y="53"/>
                </a:lnTo>
                <a:lnTo>
                  <a:pt x="0" y="52"/>
                </a:lnTo>
                <a:lnTo>
                  <a:pt x="1" y="49"/>
                </a:lnTo>
                <a:lnTo>
                  <a:pt x="3" y="49"/>
                </a:lnTo>
                <a:lnTo>
                  <a:pt x="6" y="46"/>
                </a:lnTo>
                <a:lnTo>
                  <a:pt x="9" y="44"/>
                </a:lnTo>
                <a:lnTo>
                  <a:pt x="12" y="42"/>
                </a:lnTo>
                <a:lnTo>
                  <a:pt x="11" y="45"/>
                </a:lnTo>
                <a:lnTo>
                  <a:pt x="11" y="46"/>
                </a:lnTo>
                <a:lnTo>
                  <a:pt x="12" y="48"/>
                </a:lnTo>
                <a:lnTo>
                  <a:pt x="12" y="53"/>
                </a:lnTo>
                <a:lnTo>
                  <a:pt x="12" y="54"/>
                </a:lnTo>
                <a:lnTo>
                  <a:pt x="12" y="56"/>
                </a:lnTo>
                <a:lnTo>
                  <a:pt x="11" y="58"/>
                </a:lnTo>
                <a:lnTo>
                  <a:pt x="9" y="59"/>
                </a:lnTo>
                <a:lnTo>
                  <a:pt x="12" y="62"/>
                </a:lnTo>
                <a:lnTo>
                  <a:pt x="19" y="64"/>
                </a:lnTo>
                <a:lnTo>
                  <a:pt x="25" y="68"/>
                </a:lnTo>
                <a:lnTo>
                  <a:pt x="29" y="69"/>
                </a:lnTo>
                <a:lnTo>
                  <a:pt x="31" y="69"/>
                </a:lnTo>
                <a:lnTo>
                  <a:pt x="33" y="68"/>
                </a:lnTo>
                <a:lnTo>
                  <a:pt x="35" y="66"/>
                </a:lnTo>
                <a:lnTo>
                  <a:pt x="36" y="63"/>
                </a:lnTo>
                <a:lnTo>
                  <a:pt x="38" y="61"/>
                </a:lnTo>
                <a:lnTo>
                  <a:pt x="39" y="56"/>
                </a:lnTo>
                <a:lnTo>
                  <a:pt x="42" y="50"/>
                </a:lnTo>
                <a:lnTo>
                  <a:pt x="43" y="48"/>
                </a:lnTo>
                <a:lnTo>
                  <a:pt x="45" y="45"/>
                </a:lnTo>
                <a:lnTo>
                  <a:pt x="47" y="43"/>
                </a:lnTo>
                <a:lnTo>
                  <a:pt x="48" y="41"/>
                </a:lnTo>
                <a:lnTo>
                  <a:pt x="50" y="39"/>
                </a:lnTo>
                <a:lnTo>
                  <a:pt x="52" y="39"/>
                </a:lnTo>
                <a:lnTo>
                  <a:pt x="58" y="36"/>
                </a:lnTo>
                <a:lnTo>
                  <a:pt x="64" y="34"/>
                </a:lnTo>
                <a:lnTo>
                  <a:pt x="69" y="30"/>
                </a:lnTo>
                <a:lnTo>
                  <a:pt x="72" y="26"/>
                </a:lnTo>
                <a:lnTo>
                  <a:pt x="76" y="23"/>
                </a:lnTo>
                <a:lnTo>
                  <a:pt x="78" y="18"/>
                </a:lnTo>
                <a:lnTo>
                  <a:pt x="80" y="13"/>
                </a:lnTo>
                <a:lnTo>
                  <a:pt x="80" y="8"/>
                </a:lnTo>
                <a:lnTo>
                  <a:pt x="81" y="5"/>
                </a:lnTo>
                <a:lnTo>
                  <a:pt x="81" y="3"/>
                </a:lnTo>
                <a:lnTo>
                  <a:pt x="80" y="0"/>
                </a:lnTo>
                <a:lnTo>
                  <a:pt x="83" y="0"/>
                </a:lnTo>
                <a:lnTo>
                  <a:pt x="84" y="0"/>
                </a:lnTo>
                <a:lnTo>
                  <a:pt x="87" y="0"/>
                </a:lnTo>
                <a:lnTo>
                  <a:pt x="90" y="3"/>
                </a:lnTo>
                <a:lnTo>
                  <a:pt x="96" y="5"/>
                </a:lnTo>
                <a:lnTo>
                  <a:pt x="101" y="9"/>
                </a:lnTo>
                <a:lnTo>
                  <a:pt x="104" y="13"/>
                </a:lnTo>
                <a:lnTo>
                  <a:pt x="106" y="16"/>
                </a:lnTo>
                <a:lnTo>
                  <a:pt x="110" y="22"/>
                </a:lnTo>
                <a:lnTo>
                  <a:pt x="113" y="27"/>
                </a:lnTo>
                <a:lnTo>
                  <a:pt x="114" y="30"/>
                </a:lnTo>
                <a:lnTo>
                  <a:pt x="115" y="33"/>
                </a:lnTo>
                <a:lnTo>
                  <a:pt x="128" y="33"/>
                </a:lnTo>
                <a:lnTo>
                  <a:pt x="131" y="32"/>
                </a:lnTo>
                <a:lnTo>
                  <a:pt x="132" y="31"/>
                </a:lnTo>
                <a:lnTo>
                  <a:pt x="134" y="30"/>
                </a:lnTo>
                <a:lnTo>
                  <a:pt x="136" y="29"/>
                </a:lnTo>
                <a:lnTo>
                  <a:pt x="138" y="30"/>
                </a:lnTo>
                <a:lnTo>
                  <a:pt x="140" y="31"/>
                </a:lnTo>
                <a:lnTo>
                  <a:pt x="142" y="33"/>
                </a:lnTo>
                <a:lnTo>
                  <a:pt x="143" y="34"/>
                </a:lnTo>
                <a:lnTo>
                  <a:pt x="143" y="33"/>
                </a:lnTo>
                <a:lnTo>
                  <a:pt x="145" y="32"/>
                </a:lnTo>
                <a:lnTo>
                  <a:pt x="146" y="31"/>
                </a:lnTo>
                <a:lnTo>
                  <a:pt x="147" y="30"/>
                </a:lnTo>
                <a:lnTo>
                  <a:pt x="151" y="31"/>
                </a:lnTo>
                <a:lnTo>
                  <a:pt x="154" y="32"/>
                </a:lnTo>
                <a:lnTo>
                  <a:pt x="160" y="34"/>
                </a:lnTo>
                <a:lnTo>
                  <a:pt x="159" y="36"/>
                </a:lnTo>
                <a:lnTo>
                  <a:pt x="158" y="39"/>
                </a:lnTo>
                <a:lnTo>
                  <a:pt x="155" y="41"/>
                </a:lnTo>
                <a:lnTo>
                  <a:pt x="154" y="43"/>
                </a:lnTo>
                <a:lnTo>
                  <a:pt x="152" y="45"/>
                </a:lnTo>
                <a:lnTo>
                  <a:pt x="151" y="47"/>
                </a:lnTo>
                <a:lnTo>
                  <a:pt x="151" y="49"/>
                </a:lnTo>
                <a:lnTo>
                  <a:pt x="151" y="50"/>
                </a:lnTo>
                <a:lnTo>
                  <a:pt x="152" y="52"/>
                </a:lnTo>
                <a:lnTo>
                  <a:pt x="155" y="53"/>
                </a:lnTo>
                <a:lnTo>
                  <a:pt x="158" y="54"/>
                </a:lnTo>
                <a:lnTo>
                  <a:pt x="163" y="55"/>
                </a:lnTo>
                <a:lnTo>
                  <a:pt x="162" y="57"/>
                </a:lnTo>
                <a:lnTo>
                  <a:pt x="161" y="58"/>
                </a:lnTo>
                <a:lnTo>
                  <a:pt x="158" y="59"/>
                </a:lnTo>
                <a:lnTo>
                  <a:pt x="153" y="62"/>
                </a:lnTo>
                <a:lnTo>
                  <a:pt x="147" y="63"/>
                </a:lnTo>
                <a:lnTo>
                  <a:pt x="136" y="64"/>
                </a:lnTo>
                <a:lnTo>
                  <a:pt x="132" y="66"/>
                </a:lnTo>
                <a:lnTo>
                  <a:pt x="128" y="67"/>
                </a:lnTo>
                <a:lnTo>
                  <a:pt x="126" y="68"/>
                </a:lnTo>
                <a:lnTo>
                  <a:pt x="124" y="69"/>
                </a:lnTo>
                <a:lnTo>
                  <a:pt x="123" y="72"/>
                </a:lnTo>
                <a:lnTo>
                  <a:pt x="121" y="74"/>
                </a:lnTo>
                <a:lnTo>
                  <a:pt x="120" y="75"/>
                </a:lnTo>
                <a:lnTo>
                  <a:pt x="119" y="79"/>
                </a:lnTo>
                <a:lnTo>
                  <a:pt x="119" y="86"/>
                </a:lnTo>
                <a:lnTo>
                  <a:pt x="118" y="90"/>
                </a:lnTo>
                <a:lnTo>
                  <a:pt x="116" y="96"/>
                </a:lnTo>
                <a:lnTo>
                  <a:pt x="115" y="97"/>
                </a:lnTo>
                <a:lnTo>
                  <a:pt x="113" y="98"/>
                </a:lnTo>
                <a:lnTo>
                  <a:pt x="110" y="99"/>
                </a:lnTo>
                <a:lnTo>
                  <a:pt x="109" y="101"/>
                </a:lnTo>
                <a:lnTo>
                  <a:pt x="106" y="102"/>
                </a:lnTo>
                <a:lnTo>
                  <a:pt x="106" y="104"/>
                </a:lnTo>
                <a:lnTo>
                  <a:pt x="106" y="107"/>
                </a:lnTo>
                <a:lnTo>
                  <a:pt x="106" y="109"/>
                </a:lnTo>
                <a:lnTo>
                  <a:pt x="106" y="112"/>
                </a:lnTo>
                <a:lnTo>
                  <a:pt x="107" y="116"/>
                </a:lnTo>
                <a:lnTo>
                  <a:pt x="110" y="118"/>
                </a:lnTo>
                <a:lnTo>
                  <a:pt x="113" y="121"/>
                </a:lnTo>
                <a:lnTo>
                  <a:pt x="116" y="124"/>
                </a:lnTo>
                <a:lnTo>
                  <a:pt x="119" y="128"/>
                </a:lnTo>
                <a:lnTo>
                  <a:pt x="119" y="129"/>
                </a:lnTo>
                <a:lnTo>
                  <a:pt x="119" y="131"/>
                </a:lnTo>
                <a:lnTo>
                  <a:pt x="120" y="134"/>
                </a:lnTo>
                <a:lnTo>
                  <a:pt x="120" y="137"/>
                </a:lnTo>
                <a:lnTo>
                  <a:pt x="124" y="137"/>
                </a:lnTo>
                <a:lnTo>
                  <a:pt x="127" y="138"/>
                </a:lnTo>
                <a:lnTo>
                  <a:pt x="129" y="139"/>
                </a:lnTo>
                <a:lnTo>
                  <a:pt x="132" y="142"/>
                </a:lnTo>
                <a:lnTo>
                  <a:pt x="137" y="145"/>
                </a:lnTo>
                <a:lnTo>
                  <a:pt x="140" y="146"/>
                </a:lnTo>
                <a:lnTo>
                  <a:pt x="142" y="146"/>
                </a:lnTo>
                <a:lnTo>
                  <a:pt x="145" y="146"/>
                </a:lnTo>
                <a:lnTo>
                  <a:pt x="146" y="145"/>
                </a:lnTo>
                <a:lnTo>
                  <a:pt x="147" y="145"/>
                </a:lnTo>
                <a:lnTo>
                  <a:pt x="148" y="142"/>
                </a:lnTo>
                <a:lnTo>
                  <a:pt x="150" y="139"/>
                </a:lnTo>
                <a:lnTo>
                  <a:pt x="158" y="139"/>
                </a:lnTo>
                <a:lnTo>
                  <a:pt x="156" y="153"/>
                </a:lnTo>
                <a:lnTo>
                  <a:pt x="158" y="156"/>
                </a:lnTo>
                <a:lnTo>
                  <a:pt x="158" y="158"/>
                </a:lnTo>
                <a:lnTo>
                  <a:pt x="158" y="159"/>
                </a:lnTo>
                <a:lnTo>
                  <a:pt x="159" y="160"/>
                </a:lnTo>
                <a:lnTo>
                  <a:pt x="161" y="160"/>
                </a:lnTo>
                <a:lnTo>
                  <a:pt x="164" y="160"/>
                </a:lnTo>
                <a:lnTo>
                  <a:pt x="165" y="160"/>
                </a:lnTo>
                <a:lnTo>
                  <a:pt x="169" y="162"/>
                </a:lnTo>
                <a:lnTo>
                  <a:pt x="172" y="162"/>
                </a:lnTo>
                <a:lnTo>
                  <a:pt x="181" y="172"/>
                </a:lnTo>
                <a:lnTo>
                  <a:pt x="183" y="174"/>
                </a:lnTo>
                <a:lnTo>
                  <a:pt x="185" y="176"/>
                </a:lnTo>
                <a:lnTo>
                  <a:pt x="186" y="179"/>
                </a:lnTo>
                <a:lnTo>
                  <a:pt x="186" y="183"/>
                </a:lnTo>
                <a:lnTo>
                  <a:pt x="186" y="189"/>
                </a:lnTo>
                <a:lnTo>
                  <a:pt x="185" y="196"/>
                </a:lnTo>
                <a:lnTo>
                  <a:pt x="184" y="202"/>
                </a:lnTo>
                <a:lnTo>
                  <a:pt x="184" y="209"/>
                </a:lnTo>
                <a:lnTo>
                  <a:pt x="183" y="214"/>
                </a:lnTo>
                <a:lnTo>
                  <a:pt x="182" y="215"/>
                </a:lnTo>
                <a:lnTo>
                  <a:pt x="182" y="216"/>
                </a:lnTo>
                <a:lnTo>
                  <a:pt x="181" y="218"/>
                </a:lnTo>
                <a:lnTo>
                  <a:pt x="181" y="219"/>
                </a:lnTo>
                <a:lnTo>
                  <a:pt x="181" y="224"/>
                </a:lnTo>
                <a:lnTo>
                  <a:pt x="181" y="230"/>
                </a:lnTo>
                <a:lnTo>
                  <a:pt x="181" y="232"/>
                </a:lnTo>
                <a:lnTo>
                  <a:pt x="181" y="235"/>
                </a:lnTo>
                <a:lnTo>
                  <a:pt x="181" y="237"/>
                </a:lnTo>
                <a:lnTo>
                  <a:pt x="182" y="238"/>
                </a:lnTo>
                <a:lnTo>
                  <a:pt x="185" y="240"/>
                </a:lnTo>
                <a:lnTo>
                  <a:pt x="188" y="241"/>
                </a:lnTo>
                <a:lnTo>
                  <a:pt x="184" y="245"/>
                </a:lnTo>
                <a:lnTo>
                  <a:pt x="182" y="249"/>
                </a:lnTo>
                <a:lnTo>
                  <a:pt x="181" y="252"/>
                </a:lnTo>
                <a:lnTo>
                  <a:pt x="181" y="256"/>
                </a:lnTo>
                <a:lnTo>
                  <a:pt x="181" y="259"/>
                </a:lnTo>
                <a:lnTo>
                  <a:pt x="180" y="262"/>
                </a:lnTo>
                <a:lnTo>
                  <a:pt x="178" y="264"/>
                </a:lnTo>
                <a:lnTo>
                  <a:pt x="177" y="265"/>
                </a:lnTo>
                <a:lnTo>
                  <a:pt x="175" y="266"/>
                </a:lnTo>
                <a:lnTo>
                  <a:pt x="174" y="266"/>
                </a:lnTo>
                <a:lnTo>
                  <a:pt x="171" y="268"/>
                </a:lnTo>
                <a:lnTo>
                  <a:pt x="168" y="268"/>
                </a:lnTo>
                <a:lnTo>
                  <a:pt x="165" y="269"/>
                </a:lnTo>
                <a:lnTo>
                  <a:pt x="168" y="272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24" name="Freeform 226">
            <a:extLst>
              <a:ext uri="{FF2B5EF4-FFF2-40B4-BE49-F238E27FC236}">
                <a16:creationId xmlns:a16="http://schemas.microsoft.com/office/drawing/2014/main" id="{45AFA760-293C-AB8C-E655-B9E1A0BBA8C4}"/>
              </a:ext>
            </a:extLst>
          </p:cNvPr>
          <p:cNvSpPr>
            <a:spLocks/>
          </p:cNvSpPr>
          <p:nvPr/>
        </p:nvSpPr>
        <p:spPr bwMode="auto">
          <a:xfrm>
            <a:off x="4125288" y="5295746"/>
            <a:ext cx="369888" cy="366713"/>
          </a:xfrm>
          <a:custGeom>
            <a:avLst/>
            <a:gdLst>
              <a:gd name="T0" fmla="*/ 7 w 183"/>
              <a:gd name="T1" fmla="*/ 24 h 196"/>
              <a:gd name="T2" fmla="*/ 15 w 183"/>
              <a:gd name="T3" fmla="*/ 33 h 196"/>
              <a:gd name="T4" fmla="*/ 16 w 183"/>
              <a:gd name="T5" fmla="*/ 46 h 196"/>
              <a:gd name="T6" fmla="*/ 15 w 183"/>
              <a:gd name="T7" fmla="*/ 67 h 196"/>
              <a:gd name="T8" fmla="*/ 12 w 183"/>
              <a:gd name="T9" fmla="*/ 75 h 196"/>
              <a:gd name="T10" fmla="*/ 11 w 183"/>
              <a:gd name="T11" fmla="*/ 87 h 196"/>
              <a:gd name="T12" fmla="*/ 12 w 183"/>
              <a:gd name="T13" fmla="*/ 94 h 196"/>
              <a:gd name="T14" fmla="*/ 18 w 183"/>
              <a:gd name="T15" fmla="*/ 98 h 196"/>
              <a:gd name="T16" fmla="*/ 13 w 183"/>
              <a:gd name="T17" fmla="*/ 108 h 196"/>
              <a:gd name="T18" fmla="*/ 16 w 183"/>
              <a:gd name="T19" fmla="*/ 123 h 196"/>
              <a:gd name="T20" fmla="*/ 22 w 183"/>
              <a:gd name="T21" fmla="*/ 131 h 196"/>
              <a:gd name="T22" fmla="*/ 25 w 183"/>
              <a:gd name="T23" fmla="*/ 146 h 196"/>
              <a:gd name="T24" fmla="*/ 27 w 183"/>
              <a:gd name="T25" fmla="*/ 162 h 196"/>
              <a:gd name="T26" fmla="*/ 34 w 183"/>
              <a:gd name="T27" fmla="*/ 167 h 196"/>
              <a:gd name="T28" fmla="*/ 36 w 183"/>
              <a:gd name="T29" fmla="*/ 170 h 196"/>
              <a:gd name="T30" fmla="*/ 42 w 183"/>
              <a:gd name="T31" fmla="*/ 188 h 196"/>
              <a:gd name="T32" fmla="*/ 47 w 183"/>
              <a:gd name="T33" fmla="*/ 195 h 196"/>
              <a:gd name="T34" fmla="*/ 53 w 183"/>
              <a:gd name="T35" fmla="*/ 194 h 196"/>
              <a:gd name="T36" fmla="*/ 62 w 183"/>
              <a:gd name="T37" fmla="*/ 184 h 196"/>
              <a:gd name="T38" fmla="*/ 72 w 183"/>
              <a:gd name="T39" fmla="*/ 184 h 196"/>
              <a:gd name="T40" fmla="*/ 89 w 183"/>
              <a:gd name="T41" fmla="*/ 191 h 196"/>
              <a:gd name="T42" fmla="*/ 94 w 183"/>
              <a:gd name="T43" fmla="*/ 192 h 196"/>
              <a:gd name="T44" fmla="*/ 98 w 183"/>
              <a:gd name="T45" fmla="*/ 188 h 196"/>
              <a:gd name="T46" fmla="*/ 110 w 183"/>
              <a:gd name="T47" fmla="*/ 185 h 196"/>
              <a:gd name="T48" fmla="*/ 119 w 183"/>
              <a:gd name="T49" fmla="*/ 167 h 196"/>
              <a:gd name="T50" fmla="*/ 122 w 183"/>
              <a:gd name="T51" fmla="*/ 153 h 196"/>
              <a:gd name="T52" fmla="*/ 129 w 183"/>
              <a:gd name="T53" fmla="*/ 145 h 196"/>
              <a:gd name="T54" fmla="*/ 141 w 183"/>
              <a:gd name="T55" fmla="*/ 141 h 196"/>
              <a:gd name="T56" fmla="*/ 158 w 183"/>
              <a:gd name="T57" fmla="*/ 141 h 196"/>
              <a:gd name="T58" fmla="*/ 171 w 183"/>
              <a:gd name="T59" fmla="*/ 144 h 196"/>
              <a:gd name="T60" fmla="*/ 177 w 183"/>
              <a:gd name="T61" fmla="*/ 141 h 196"/>
              <a:gd name="T62" fmla="*/ 182 w 183"/>
              <a:gd name="T63" fmla="*/ 130 h 196"/>
              <a:gd name="T64" fmla="*/ 181 w 183"/>
              <a:gd name="T65" fmla="*/ 121 h 196"/>
              <a:gd name="T66" fmla="*/ 176 w 183"/>
              <a:gd name="T67" fmla="*/ 114 h 196"/>
              <a:gd name="T68" fmla="*/ 168 w 183"/>
              <a:gd name="T69" fmla="*/ 108 h 196"/>
              <a:gd name="T70" fmla="*/ 167 w 183"/>
              <a:gd name="T71" fmla="*/ 103 h 196"/>
              <a:gd name="T72" fmla="*/ 151 w 183"/>
              <a:gd name="T73" fmla="*/ 94 h 196"/>
              <a:gd name="T74" fmla="*/ 142 w 183"/>
              <a:gd name="T75" fmla="*/ 87 h 196"/>
              <a:gd name="T76" fmla="*/ 140 w 183"/>
              <a:gd name="T77" fmla="*/ 77 h 196"/>
              <a:gd name="T78" fmla="*/ 137 w 183"/>
              <a:gd name="T79" fmla="*/ 73 h 196"/>
              <a:gd name="T80" fmla="*/ 134 w 183"/>
              <a:gd name="T81" fmla="*/ 60 h 196"/>
              <a:gd name="T82" fmla="*/ 129 w 183"/>
              <a:gd name="T83" fmla="*/ 55 h 196"/>
              <a:gd name="T84" fmla="*/ 120 w 183"/>
              <a:gd name="T85" fmla="*/ 55 h 196"/>
              <a:gd name="T86" fmla="*/ 110 w 183"/>
              <a:gd name="T87" fmla="*/ 56 h 196"/>
              <a:gd name="T88" fmla="*/ 106 w 183"/>
              <a:gd name="T89" fmla="*/ 53 h 196"/>
              <a:gd name="T90" fmla="*/ 101 w 183"/>
              <a:gd name="T91" fmla="*/ 49 h 196"/>
              <a:gd name="T92" fmla="*/ 94 w 183"/>
              <a:gd name="T93" fmla="*/ 42 h 196"/>
              <a:gd name="T94" fmla="*/ 83 w 183"/>
              <a:gd name="T95" fmla="*/ 42 h 196"/>
              <a:gd name="T96" fmla="*/ 71 w 183"/>
              <a:gd name="T97" fmla="*/ 36 h 196"/>
              <a:gd name="T98" fmla="*/ 64 w 183"/>
              <a:gd name="T99" fmla="*/ 26 h 196"/>
              <a:gd name="T100" fmla="*/ 62 w 183"/>
              <a:gd name="T101" fmla="*/ 15 h 196"/>
              <a:gd name="T102" fmla="*/ 61 w 183"/>
              <a:gd name="T103" fmla="*/ 3 h 196"/>
              <a:gd name="T104" fmla="*/ 58 w 183"/>
              <a:gd name="T105" fmla="*/ 0 h 196"/>
              <a:gd name="T106" fmla="*/ 51 w 183"/>
              <a:gd name="T107" fmla="*/ 0 h 196"/>
              <a:gd name="T108" fmla="*/ 42 w 183"/>
              <a:gd name="T109" fmla="*/ 3 h 196"/>
              <a:gd name="T110" fmla="*/ 24 w 183"/>
              <a:gd name="T111" fmla="*/ 16 h 196"/>
              <a:gd name="T112" fmla="*/ 13 w 183"/>
              <a:gd name="T113" fmla="*/ 20 h 196"/>
              <a:gd name="T114" fmla="*/ 0 w 183"/>
              <a:gd name="T115" fmla="*/ 18 h 1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83" h="196">
                <a:moveTo>
                  <a:pt x="0" y="17"/>
                </a:moveTo>
                <a:lnTo>
                  <a:pt x="4" y="22"/>
                </a:lnTo>
                <a:lnTo>
                  <a:pt x="7" y="24"/>
                </a:lnTo>
                <a:lnTo>
                  <a:pt x="10" y="27"/>
                </a:lnTo>
                <a:lnTo>
                  <a:pt x="13" y="31"/>
                </a:lnTo>
                <a:lnTo>
                  <a:pt x="15" y="33"/>
                </a:lnTo>
                <a:lnTo>
                  <a:pt x="16" y="36"/>
                </a:lnTo>
                <a:lnTo>
                  <a:pt x="16" y="40"/>
                </a:lnTo>
                <a:lnTo>
                  <a:pt x="16" y="46"/>
                </a:lnTo>
                <a:lnTo>
                  <a:pt x="16" y="53"/>
                </a:lnTo>
                <a:lnTo>
                  <a:pt x="15" y="60"/>
                </a:lnTo>
                <a:lnTo>
                  <a:pt x="15" y="67"/>
                </a:lnTo>
                <a:lnTo>
                  <a:pt x="13" y="71"/>
                </a:lnTo>
                <a:lnTo>
                  <a:pt x="13" y="73"/>
                </a:lnTo>
                <a:lnTo>
                  <a:pt x="12" y="75"/>
                </a:lnTo>
                <a:lnTo>
                  <a:pt x="11" y="77"/>
                </a:lnTo>
                <a:lnTo>
                  <a:pt x="11" y="81"/>
                </a:lnTo>
                <a:lnTo>
                  <a:pt x="11" y="87"/>
                </a:lnTo>
                <a:lnTo>
                  <a:pt x="11" y="90"/>
                </a:lnTo>
                <a:lnTo>
                  <a:pt x="11" y="92"/>
                </a:lnTo>
                <a:lnTo>
                  <a:pt x="12" y="94"/>
                </a:lnTo>
                <a:lnTo>
                  <a:pt x="13" y="96"/>
                </a:lnTo>
                <a:lnTo>
                  <a:pt x="16" y="97"/>
                </a:lnTo>
                <a:lnTo>
                  <a:pt x="18" y="98"/>
                </a:lnTo>
                <a:lnTo>
                  <a:pt x="15" y="103"/>
                </a:lnTo>
                <a:lnTo>
                  <a:pt x="13" y="105"/>
                </a:lnTo>
                <a:lnTo>
                  <a:pt x="13" y="108"/>
                </a:lnTo>
                <a:lnTo>
                  <a:pt x="12" y="113"/>
                </a:lnTo>
                <a:lnTo>
                  <a:pt x="12" y="118"/>
                </a:lnTo>
                <a:lnTo>
                  <a:pt x="16" y="123"/>
                </a:lnTo>
                <a:lnTo>
                  <a:pt x="19" y="127"/>
                </a:lnTo>
                <a:lnTo>
                  <a:pt x="21" y="130"/>
                </a:lnTo>
                <a:lnTo>
                  <a:pt x="22" y="131"/>
                </a:lnTo>
                <a:lnTo>
                  <a:pt x="23" y="134"/>
                </a:lnTo>
                <a:lnTo>
                  <a:pt x="23" y="136"/>
                </a:lnTo>
                <a:lnTo>
                  <a:pt x="25" y="146"/>
                </a:lnTo>
                <a:lnTo>
                  <a:pt x="26" y="153"/>
                </a:lnTo>
                <a:lnTo>
                  <a:pt x="26" y="161"/>
                </a:lnTo>
                <a:lnTo>
                  <a:pt x="27" y="162"/>
                </a:lnTo>
                <a:lnTo>
                  <a:pt x="29" y="163"/>
                </a:lnTo>
                <a:lnTo>
                  <a:pt x="31" y="165"/>
                </a:lnTo>
                <a:lnTo>
                  <a:pt x="34" y="167"/>
                </a:lnTo>
                <a:lnTo>
                  <a:pt x="35" y="168"/>
                </a:lnTo>
                <a:lnTo>
                  <a:pt x="36" y="168"/>
                </a:lnTo>
                <a:lnTo>
                  <a:pt x="36" y="170"/>
                </a:lnTo>
                <a:lnTo>
                  <a:pt x="38" y="176"/>
                </a:lnTo>
                <a:lnTo>
                  <a:pt x="39" y="184"/>
                </a:lnTo>
                <a:lnTo>
                  <a:pt x="42" y="188"/>
                </a:lnTo>
                <a:lnTo>
                  <a:pt x="43" y="192"/>
                </a:lnTo>
                <a:lnTo>
                  <a:pt x="45" y="194"/>
                </a:lnTo>
                <a:lnTo>
                  <a:pt x="47" y="195"/>
                </a:lnTo>
                <a:lnTo>
                  <a:pt x="49" y="195"/>
                </a:lnTo>
                <a:lnTo>
                  <a:pt x="51" y="195"/>
                </a:lnTo>
                <a:lnTo>
                  <a:pt x="53" y="194"/>
                </a:lnTo>
                <a:lnTo>
                  <a:pt x="56" y="192"/>
                </a:lnTo>
                <a:lnTo>
                  <a:pt x="57" y="189"/>
                </a:lnTo>
                <a:lnTo>
                  <a:pt x="62" y="184"/>
                </a:lnTo>
                <a:lnTo>
                  <a:pt x="66" y="179"/>
                </a:lnTo>
                <a:lnTo>
                  <a:pt x="69" y="181"/>
                </a:lnTo>
                <a:lnTo>
                  <a:pt x="72" y="184"/>
                </a:lnTo>
                <a:lnTo>
                  <a:pt x="79" y="185"/>
                </a:lnTo>
                <a:lnTo>
                  <a:pt x="86" y="188"/>
                </a:lnTo>
                <a:lnTo>
                  <a:pt x="89" y="191"/>
                </a:lnTo>
                <a:lnTo>
                  <a:pt x="92" y="192"/>
                </a:lnTo>
                <a:lnTo>
                  <a:pt x="93" y="194"/>
                </a:lnTo>
                <a:lnTo>
                  <a:pt x="94" y="192"/>
                </a:lnTo>
                <a:lnTo>
                  <a:pt x="95" y="190"/>
                </a:lnTo>
                <a:lnTo>
                  <a:pt x="96" y="188"/>
                </a:lnTo>
                <a:lnTo>
                  <a:pt x="98" y="188"/>
                </a:lnTo>
                <a:lnTo>
                  <a:pt x="102" y="186"/>
                </a:lnTo>
                <a:lnTo>
                  <a:pt x="105" y="185"/>
                </a:lnTo>
                <a:lnTo>
                  <a:pt x="110" y="185"/>
                </a:lnTo>
                <a:lnTo>
                  <a:pt x="116" y="185"/>
                </a:lnTo>
                <a:lnTo>
                  <a:pt x="118" y="176"/>
                </a:lnTo>
                <a:lnTo>
                  <a:pt x="119" y="167"/>
                </a:lnTo>
                <a:lnTo>
                  <a:pt x="119" y="159"/>
                </a:lnTo>
                <a:lnTo>
                  <a:pt x="121" y="156"/>
                </a:lnTo>
                <a:lnTo>
                  <a:pt x="122" y="153"/>
                </a:lnTo>
                <a:lnTo>
                  <a:pt x="125" y="150"/>
                </a:lnTo>
                <a:lnTo>
                  <a:pt x="127" y="147"/>
                </a:lnTo>
                <a:lnTo>
                  <a:pt x="129" y="145"/>
                </a:lnTo>
                <a:lnTo>
                  <a:pt x="132" y="144"/>
                </a:lnTo>
                <a:lnTo>
                  <a:pt x="136" y="141"/>
                </a:lnTo>
                <a:lnTo>
                  <a:pt x="141" y="141"/>
                </a:lnTo>
                <a:lnTo>
                  <a:pt x="145" y="141"/>
                </a:lnTo>
                <a:lnTo>
                  <a:pt x="151" y="140"/>
                </a:lnTo>
                <a:lnTo>
                  <a:pt x="158" y="141"/>
                </a:lnTo>
                <a:lnTo>
                  <a:pt x="161" y="141"/>
                </a:lnTo>
                <a:lnTo>
                  <a:pt x="165" y="141"/>
                </a:lnTo>
                <a:lnTo>
                  <a:pt x="171" y="144"/>
                </a:lnTo>
                <a:lnTo>
                  <a:pt x="176" y="146"/>
                </a:lnTo>
                <a:lnTo>
                  <a:pt x="176" y="144"/>
                </a:lnTo>
                <a:lnTo>
                  <a:pt x="177" y="141"/>
                </a:lnTo>
                <a:lnTo>
                  <a:pt x="178" y="137"/>
                </a:lnTo>
                <a:lnTo>
                  <a:pt x="181" y="132"/>
                </a:lnTo>
                <a:lnTo>
                  <a:pt x="182" y="130"/>
                </a:lnTo>
                <a:lnTo>
                  <a:pt x="182" y="127"/>
                </a:lnTo>
                <a:lnTo>
                  <a:pt x="182" y="124"/>
                </a:lnTo>
                <a:lnTo>
                  <a:pt x="181" y="121"/>
                </a:lnTo>
                <a:lnTo>
                  <a:pt x="180" y="119"/>
                </a:lnTo>
                <a:lnTo>
                  <a:pt x="178" y="117"/>
                </a:lnTo>
                <a:lnTo>
                  <a:pt x="176" y="114"/>
                </a:lnTo>
                <a:lnTo>
                  <a:pt x="173" y="112"/>
                </a:lnTo>
                <a:lnTo>
                  <a:pt x="171" y="109"/>
                </a:lnTo>
                <a:lnTo>
                  <a:pt x="168" y="108"/>
                </a:lnTo>
                <a:lnTo>
                  <a:pt x="168" y="107"/>
                </a:lnTo>
                <a:lnTo>
                  <a:pt x="168" y="104"/>
                </a:lnTo>
                <a:lnTo>
                  <a:pt x="167" y="103"/>
                </a:lnTo>
                <a:lnTo>
                  <a:pt x="168" y="98"/>
                </a:lnTo>
                <a:lnTo>
                  <a:pt x="155" y="96"/>
                </a:lnTo>
                <a:lnTo>
                  <a:pt x="151" y="94"/>
                </a:lnTo>
                <a:lnTo>
                  <a:pt x="147" y="94"/>
                </a:lnTo>
                <a:lnTo>
                  <a:pt x="143" y="90"/>
                </a:lnTo>
                <a:lnTo>
                  <a:pt x="142" y="87"/>
                </a:lnTo>
                <a:lnTo>
                  <a:pt x="141" y="85"/>
                </a:lnTo>
                <a:lnTo>
                  <a:pt x="141" y="83"/>
                </a:lnTo>
                <a:lnTo>
                  <a:pt x="140" y="77"/>
                </a:lnTo>
                <a:lnTo>
                  <a:pt x="138" y="75"/>
                </a:lnTo>
                <a:lnTo>
                  <a:pt x="138" y="73"/>
                </a:lnTo>
                <a:lnTo>
                  <a:pt x="137" y="73"/>
                </a:lnTo>
                <a:lnTo>
                  <a:pt x="137" y="69"/>
                </a:lnTo>
                <a:lnTo>
                  <a:pt x="136" y="64"/>
                </a:lnTo>
                <a:lnTo>
                  <a:pt x="134" y="60"/>
                </a:lnTo>
                <a:lnTo>
                  <a:pt x="132" y="57"/>
                </a:lnTo>
                <a:lnTo>
                  <a:pt x="131" y="56"/>
                </a:lnTo>
                <a:lnTo>
                  <a:pt x="129" y="55"/>
                </a:lnTo>
                <a:lnTo>
                  <a:pt x="127" y="54"/>
                </a:lnTo>
                <a:lnTo>
                  <a:pt x="125" y="54"/>
                </a:lnTo>
                <a:lnTo>
                  <a:pt x="120" y="55"/>
                </a:lnTo>
                <a:lnTo>
                  <a:pt x="115" y="55"/>
                </a:lnTo>
                <a:lnTo>
                  <a:pt x="112" y="56"/>
                </a:lnTo>
                <a:lnTo>
                  <a:pt x="110" y="56"/>
                </a:lnTo>
                <a:lnTo>
                  <a:pt x="109" y="55"/>
                </a:lnTo>
                <a:lnTo>
                  <a:pt x="107" y="55"/>
                </a:lnTo>
                <a:lnTo>
                  <a:pt x="106" y="53"/>
                </a:lnTo>
                <a:lnTo>
                  <a:pt x="106" y="50"/>
                </a:lnTo>
                <a:lnTo>
                  <a:pt x="104" y="50"/>
                </a:lnTo>
                <a:lnTo>
                  <a:pt x="101" y="49"/>
                </a:lnTo>
                <a:lnTo>
                  <a:pt x="97" y="46"/>
                </a:lnTo>
                <a:lnTo>
                  <a:pt x="95" y="43"/>
                </a:lnTo>
                <a:lnTo>
                  <a:pt x="94" y="42"/>
                </a:lnTo>
                <a:lnTo>
                  <a:pt x="92" y="42"/>
                </a:lnTo>
                <a:lnTo>
                  <a:pt x="88" y="44"/>
                </a:lnTo>
                <a:lnTo>
                  <a:pt x="83" y="42"/>
                </a:lnTo>
                <a:lnTo>
                  <a:pt x="79" y="40"/>
                </a:lnTo>
                <a:lnTo>
                  <a:pt x="75" y="37"/>
                </a:lnTo>
                <a:lnTo>
                  <a:pt x="71" y="36"/>
                </a:lnTo>
                <a:lnTo>
                  <a:pt x="69" y="32"/>
                </a:lnTo>
                <a:lnTo>
                  <a:pt x="66" y="29"/>
                </a:lnTo>
                <a:lnTo>
                  <a:pt x="64" y="26"/>
                </a:lnTo>
                <a:lnTo>
                  <a:pt x="62" y="23"/>
                </a:lnTo>
                <a:lnTo>
                  <a:pt x="62" y="20"/>
                </a:lnTo>
                <a:lnTo>
                  <a:pt x="62" y="15"/>
                </a:lnTo>
                <a:lnTo>
                  <a:pt x="62" y="8"/>
                </a:lnTo>
                <a:lnTo>
                  <a:pt x="62" y="4"/>
                </a:lnTo>
                <a:lnTo>
                  <a:pt x="61" y="3"/>
                </a:lnTo>
                <a:lnTo>
                  <a:pt x="61" y="1"/>
                </a:lnTo>
                <a:lnTo>
                  <a:pt x="60" y="0"/>
                </a:lnTo>
                <a:lnTo>
                  <a:pt x="58" y="0"/>
                </a:lnTo>
                <a:lnTo>
                  <a:pt x="56" y="0"/>
                </a:lnTo>
                <a:lnTo>
                  <a:pt x="55" y="0"/>
                </a:lnTo>
                <a:lnTo>
                  <a:pt x="51" y="0"/>
                </a:lnTo>
                <a:lnTo>
                  <a:pt x="48" y="0"/>
                </a:lnTo>
                <a:lnTo>
                  <a:pt x="44" y="1"/>
                </a:lnTo>
                <a:lnTo>
                  <a:pt x="42" y="3"/>
                </a:lnTo>
                <a:lnTo>
                  <a:pt x="36" y="8"/>
                </a:lnTo>
                <a:lnTo>
                  <a:pt x="29" y="13"/>
                </a:lnTo>
                <a:lnTo>
                  <a:pt x="24" y="16"/>
                </a:lnTo>
                <a:lnTo>
                  <a:pt x="20" y="18"/>
                </a:lnTo>
                <a:lnTo>
                  <a:pt x="16" y="19"/>
                </a:lnTo>
                <a:lnTo>
                  <a:pt x="13" y="20"/>
                </a:lnTo>
                <a:lnTo>
                  <a:pt x="9" y="20"/>
                </a:lnTo>
                <a:lnTo>
                  <a:pt x="4" y="20"/>
                </a:lnTo>
                <a:lnTo>
                  <a:pt x="0" y="18"/>
                </a:lnTo>
                <a:lnTo>
                  <a:pt x="6" y="20"/>
                </a:lnTo>
                <a:lnTo>
                  <a:pt x="0" y="17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25" name="Freeform 227">
            <a:extLst>
              <a:ext uri="{FF2B5EF4-FFF2-40B4-BE49-F238E27FC236}">
                <a16:creationId xmlns:a16="http://schemas.microsoft.com/office/drawing/2014/main" id="{38D07B29-7051-6C1C-2716-586E0506DFD1}"/>
              </a:ext>
            </a:extLst>
          </p:cNvPr>
          <p:cNvSpPr>
            <a:spLocks/>
          </p:cNvSpPr>
          <p:nvPr/>
        </p:nvSpPr>
        <p:spPr bwMode="auto">
          <a:xfrm>
            <a:off x="4360238" y="5557684"/>
            <a:ext cx="249238" cy="236538"/>
          </a:xfrm>
          <a:custGeom>
            <a:avLst/>
            <a:gdLst>
              <a:gd name="T0" fmla="*/ 122 w 124"/>
              <a:gd name="T1" fmla="*/ 100 h 126"/>
              <a:gd name="T2" fmla="*/ 123 w 124"/>
              <a:gd name="T3" fmla="*/ 106 h 126"/>
              <a:gd name="T4" fmla="*/ 119 w 124"/>
              <a:gd name="T5" fmla="*/ 113 h 126"/>
              <a:gd name="T6" fmla="*/ 113 w 124"/>
              <a:gd name="T7" fmla="*/ 120 h 126"/>
              <a:gd name="T8" fmla="*/ 109 w 124"/>
              <a:gd name="T9" fmla="*/ 121 h 126"/>
              <a:gd name="T10" fmla="*/ 98 w 124"/>
              <a:gd name="T11" fmla="*/ 125 h 126"/>
              <a:gd name="T12" fmla="*/ 86 w 124"/>
              <a:gd name="T13" fmla="*/ 125 h 126"/>
              <a:gd name="T14" fmla="*/ 74 w 124"/>
              <a:gd name="T15" fmla="*/ 121 h 126"/>
              <a:gd name="T16" fmla="*/ 68 w 124"/>
              <a:gd name="T17" fmla="*/ 117 h 126"/>
              <a:gd name="T18" fmla="*/ 70 w 124"/>
              <a:gd name="T19" fmla="*/ 109 h 126"/>
              <a:gd name="T20" fmla="*/ 76 w 124"/>
              <a:gd name="T21" fmla="*/ 102 h 126"/>
              <a:gd name="T22" fmla="*/ 77 w 124"/>
              <a:gd name="T23" fmla="*/ 95 h 126"/>
              <a:gd name="T24" fmla="*/ 76 w 124"/>
              <a:gd name="T25" fmla="*/ 91 h 126"/>
              <a:gd name="T26" fmla="*/ 74 w 124"/>
              <a:gd name="T27" fmla="*/ 89 h 126"/>
              <a:gd name="T28" fmla="*/ 66 w 124"/>
              <a:gd name="T29" fmla="*/ 85 h 126"/>
              <a:gd name="T30" fmla="*/ 57 w 124"/>
              <a:gd name="T31" fmla="*/ 82 h 126"/>
              <a:gd name="T32" fmla="*/ 56 w 124"/>
              <a:gd name="T33" fmla="*/ 79 h 126"/>
              <a:gd name="T34" fmla="*/ 52 w 124"/>
              <a:gd name="T35" fmla="*/ 76 h 126"/>
              <a:gd name="T36" fmla="*/ 43 w 124"/>
              <a:gd name="T37" fmla="*/ 73 h 126"/>
              <a:gd name="T38" fmla="*/ 33 w 124"/>
              <a:gd name="T39" fmla="*/ 72 h 126"/>
              <a:gd name="T40" fmla="*/ 25 w 124"/>
              <a:gd name="T41" fmla="*/ 68 h 126"/>
              <a:gd name="T42" fmla="*/ 16 w 124"/>
              <a:gd name="T43" fmla="*/ 60 h 126"/>
              <a:gd name="T44" fmla="*/ 6 w 124"/>
              <a:gd name="T45" fmla="*/ 50 h 126"/>
              <a:gd name="T46" fmla="*/ 3 w 124"/>
              <a:gd name="T47" fmla="*/ 48 h 126"/>
              <a:gd name="T48" fmla="*/ 3 w 124"/>
              <a:gd name="T49" fmla="*/ 45 h 126"/>
              <a:gd name="T50" fmla="*/ 1 w 124"/>
              <a:gd name="T51" fmla="*/ 36 h 126"/>
              <a:gd name="T52" fmla="*/ 3 w 124"/>
              <a:gd name="T53" fmla="*/ 19 h 126"/>
              <a:gd name="T54" fmla="*/ 6 w 124"/>
              <a:gd name="T55" fmla="*/ 13 h 126"/>
              <a:gd name="T56" fmla="*/ 10 w 124"/>
              <a:gd name="T57" fmla="*/ 7 h 126"/>
              <a:gd name="T58" fmla="*/ 16 w 124"/>
              <a:gd name="T59" fmla="*/ 3 h 126"/>
              <a:gd name="T60" fmla="*/ 24 w 124"/>
              <a:gd name="T61" fmla="*/ 0 h 126"/>
              <a:gd name="T62" fmla="*/ 34 w 124"/>
              <a:gd name="T63" fmla="*/ 0 h 126"/>
              <a:gd name="T64" fmla="*/ 48 w 124"/>
              <a:gd name="T65" fmla="*/ 3 h 126"/>
              <a:gd name="T66" fmla="*/ 59 w 124"/>
              <a:gd name="T67" fmla="*/ 7 h 126"/>
              <a:gd name="T68" fmla="*/ 64 w 124"/>
              <a:gd name="T69" fmla="*/ 28 h 126"/>
              <a:gd name="T70" fmla="*/ 69 w 124"/>
              <a:gd name="T71" fmla="*/ 40 h 126"/>
              <a:gd name="T72" fmla="*/ 71 w 124"/>
              <a:gd name="T73" fmla="*/ 44 h 126"/>
              <a:gd name="T74" fmla="*/ 75 w 124"/>
              <a:gd name="T75" fmla="*/ 45 h 126"/>
              <a:gd name="T76" fmla="*/ 84 w 124"/>
              <a:gd name="T77" fmla="*/ 46 h 126"/>
              <a:gd name="T78" fmla="*/ 96 w 124"/>
              <a:gd name="T79" fmla="*/ 50 h 126"/>
              <a:gd name="T80" fmla="*/ 99 w 124"/>
              <a:gd name="T81" fmla="*/ 55 h 126"/>
              <a:gd name="T82" fmla="*/ 104 w 124"/>
              <a:gd name="T83" fmla="*/ 64 h 126"/>
              <a:gd name="T84" fmla="*/ 109 w 124"/>
              <a:gd name="T85" fmla="*/ 74 h 126"/>
              <a:gd name="T86" fmla="*/ 113 w 124"/>
              <a:gd name="T87" fmla="*/ 71 h 126"/>
              <a:gd name="T88" fmla="*/ 117 w 124"/>
              <a:gd name="T89" fmla="*/ 68 h 126"/>
              <a:gd name="T90" fmla="*/ 119 w 124"/>
              <a:gd name="T91" fmla="*/ 69 h 126"/>
              <a:gd name="T92" fmla="*/ 120 w 124"/>
              <a:gd name="T93" fmla="*/ 72 h 126"/>
              <a:gd name="T94" fmla="*/ 120 w 124"/>
              <a:gd name="T95" fmla="*/ 77 h 126"/>
              <a:gd name="T96" fmla="*/ 119 w 124"/>
              <a:gd name="T97" fmla="*/ 95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24" h="126">
                <a:moveTo>
                  <a:pt x="119" y="95"/>
                </a:moveTo>
                <a:lnTo>
                  <a:pt x="122" y="100"/>
                </a:lnTo>
                <a:lnTo>
                  <a:pt x="122" y="103"/>
                </a:lnTo>
                <a:lnTo>
                  <a:pt x="123" y="106"/>
                </a:lnTo>
                <a:lnTo>
                  <a:pt x="122" y="109"/>
                </a:lnTo>
                <a:lnTo>
                  <a:pt x="119" y="113"/>
                </a:lnTo>
                <a:lnTo>
                  <a:pt x="116" y="117"/>
                </a:lnTo>
                <a:lnTo>
                  <a:pt x="113" y="120"/>
                </a:lnTo>
                <a:lnTo>
                  <a:pt x="110" y="121"/>
                </a:lnTo>
                <a:lnTo>
                  <a:pt x="109" y="121"/>
                </a:lnTo>
                <a:lnTo>
                  <a:pt x="103" y="123"/>
                </a:lnTo>
                <a:lnTo>
                  <a:pt x="98" y="125"/>
                </a:lnTo>
                <a:lnTo>
                  <a:pt x="93" y="125"/>
                </a:lnTo>
                <a:lnTo>
                  <a:pt x="86" y="125"/>
                </a:lnTo>
                <a:lnTo>
                  <a:pt x="79" y="122"/>
                </a:lnTo>
                <a:lnTo>
                  <a:pt x="74" y="121"/>
                </a:lnTo>
                <a:lnTo>
                  <a:pt x="68" y="121"/>
                </a:lnTo>
                <a:lnTo>
                  <a:pt x="68" y="117"/>
                </a:lnTo>
                <a:lnTo>
                  <a:pt x="69" y="113"/>
                </a:lnTo>
                <a:lnTo>
                  <a:pt x="70" y="109"/>
                </a:lnTo>
                <a:lnTo>
                  <a:pt x="73" y="107"/>
                </a:lnTo>
                <a:lnTo>
                  <a:pt x="76" y="102"/>
                </a:lnTo>
                <a:lnTo>
                  <a:pt x="77" y="98"/>
                </a:lnTo>
                <a:lnTo>
                  <a:pt x="77" y="95"/>
                </a:lnTo>
                <a:lnTo>
                  <a:pt x="77" y="93"/>
                </a:lnTo>
                <a:lnTo>
                  <a:pt x="76" y="91"/>
                </a:lnTo>
                <a:lnTo>
                  <a:pt x="75" y="90"/>
                </a:lnTo>
                <a:lnTo>
                  <a:pt x="74" y="89"/>
                </a:lnTo>
                <a:lnTo>
                  <a:pt x="70" y="87"/>
                </a:lnTo>
                <a:lnTo>
                  <a:pt x="66" y="85"/>
                </a:lnTo>
                <a:lnTo>
                  <a:pt x="59" y="84"/>
                </a:lnTo>
                <a:lnTo>
                  <a:pt x="57" y="82"/>
                </a:lnTo>
                <a:lnTo>
                  <a:pt x="56" y="81"/>
                </a:lnTo>
                <a:lnTo>
                  <a:pt x="56" y="79"/>
                </a:lnTo>
                <a:lnTo>
                  <a:pt x="54" y="77"/>
                </a:lnTo>
                <a:lnTo>
                  <a:pt x="52" y="76"/>
                </a:lnTo>
                <a:lnTo>
                  <a:pt x="49" y="75"/>
                </a:lnTo>
                <a:lnTo>
                  <a:pt x="43" y="73"/>
                </a:lnTo>
                <a:lnTo>
                  <a:pt x="37" y="72"/>
                </a:lnTo>
                <a:lnTo>
                  <a:pt x="33" y="72"/>
                </a:lnTo>
                <a:lnTo>
                  <a:pt x="29" y="70"/>
                </a:lnTo>
                <a:lnTo>
                  <a:pt x="25" y="68"/>
                </a:lnTo>
                <a:lnTo>
                  <a:pt x="21" y="66"/>
                </a:lnTo>
                <a:lnTo>
                  <a:pt x="16" y="60"/>
                </a:lnTo>
                <a:lnTo>
                  <a:pt x="11" y="54"/>
                </a:lnTo>
                <a:lnTo>
                  <a:pt x="6" y="50"/>
                </a:lnTo>
                <a:lnTo>
                  <a:pt x="4" y="50"/>
                </a:lnTo>
                <a:lnTo>
                  <a:pt x="3" y="48"/>
                </a:lnTo>
                <a:lnTo>
                  <a:pt x="3" y="47"/>
                </a:lnTo>
                <a:lnTo>
                  <a:pt x="3" y="45"/>
                </a:lnTo>
                <a:lnTo>
                  <a:pt x="0" y="45"/>
                </a:lnTo>
                <a:lnTo>
                  <a:pt x="1" y="36"/>
                </a:lnTo>
                <a:lnTo>
                  <a:pt x="2" y="27"/>
                </a:lnTo>
                <a:lnTo>
                  <a:pt x="3" y="19"/>
                </a:lnTo>
                <a:lnTo>
                  <a:pt x="4" y="16"/>
                </a:lnTo>
                <a:lnTo>
                  <a:pt x="6" y="13"/>
                </a:lnTo>
                <a:lnTo>
                  <a:pt x="8" y="10"/>
                </a:lnTo>
                <a:lnTo>
                  <a:pt x="10" y="7"/>
                </a:lnTo>
                <a:lnTo>
                  <a:pt x="13" y="5"/>
                </a:lnTo>
                <a:lnTo>
                  <a:pt x="16" y="3"/>
                </a:lnTo>
                <a:lnTo>
                  <a:pt x="19" y="1"/>
                </a:lnTo>
                <a:lnTo>
                  <a:pt x="24" y="0"/>
                </a:lnTo>
                <a:lnTo>
                  <a:pt x="29" y="0"/>
                </a:lnTo>
                <a:lnTo>
                  <a:pt x="34" y="0"/>
                </a:lnTo>
                <a:lnTo>
                  <a:pt x="42" y="0"/>
                </a:lnTo>
                <a:lnTo>
                  <a:pt x="48" y="3"/>
                </a:lnTo>
                <a:lnTo>
                  <a:pt x="54" y="4"/>
                </a:lnTo>
                <a:lnTo>
                  <a:pt x="59" y="7"/>
                </a:lnTo>
                <a:lnTo>
                  <a:pt x="60" y="16"/>
                </a:lnTo>
                <a:lnTo>
                  <a:pt x="64" y="28"/>
                </a:lnTo>
                <a:lnTo>
                  <a:pt x="66" y="35"/>
                </a:lnTo>
                <a:lnTo>
                  <a:pt x="69" y="40"/>
                </a:lnTo>
                <a:lnTo>
                  <a:pt x="70" y="43"/>
                </a:lnTo>
                <a:lnTo>
                  <a:pt x="71" y="44"/>
                </a:lnTo>
                <a:lnTo>
                  <a:pt x="73" y="45"/>
                </a:lnTo>
                <a:lnTo>
                  <a:pt x="75" y="45"/>
                </a:lnTo>
                <a:lnTo>
                  <a:pt x="79" y="46"/>
                </a:lnTo>
                <a:lnTo>
                  <a:pt x="84" y="46"/>
                </a:lnTo>
                <a:lnTo>
                  <a:pt x="91" y="48"/>
                </a:lnTo>
                <a:lnTo>
                  <a:pt x="96" y="50"/>
                </a:lnTo>
                <a:lnTo>
                  <a:pt x="97" y="53"/>
                </a:lnTo>
                <a:lnTo>
                  <a:pt x="99" y="55"/>
                </a:lnTo>
                <a:lnTo>
                  <a:pt x="102" y="59"/>
                </a:lnTo>
                <a:lnTo>
                  <a:pt x="104" y="64"/>
                </a:lnTo>
                <a:lnTo>
                  <a:pt x="106" y="69"/>
                </a:lnTo>
                <a:lnTo>
                  <a:pt x="109" y="74"/>
                </a:lnTo>
                <a:lnTo>
                  <a:pt x="110" y="73"/>
                </a:lnTo>
                <a:lnTo>
                  <a:pt x="113" y="71"/>
                </a:lnTo>
                <a:lnTo>
                  <a:pt x="114" y="69"/>
                </a:lnTo>
                <a:lnTo>
                  <a:pt x="117" y="68"/>
                </a:lnTo>
                <a:lnTo>
                  <a:pt x="119" y="68"/>
                </a:lnTo>
                <a:lnTo>
                  <a:pt x="119" y="69"/>
                </a:lnTo>
                <a:lnTo>
                  <a:pt x="120" y="70"/>
                </a:lnTo>
                <a:lnTo>
                  <a:pt x="120" y="72"/>
                </a:lnTo>
                <a:lnTo>
                  <a:pt x="120" y="75"/>
                </a:lnTo>
                <a:lnTo>
                  <a:pt x="120" y="77"/>
                </a:lnTo>
                <a:lnTo>
                  <a:pt x="119" y="94"/>
                </a:lnTo>
                <a:lnTo>
                  <a:pt x="119" y="95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26" name="Freeform 228">
            <a:extLst>
              <a:ext uri="{FF2B5EF4-FFF2-40B4-BE49-F238E27FC236}">
                <a16:creationId xmlns:a16="http://schemas.microsoft.com/office/drawing/2014/main" id="{2BE84C7B-D5C5-C1FD-E093-2382CE460991}"/>
              </a:ext>
            </a:extLst>
          </p:cNvPr>
          <p:cNvSpPr>
            <a:spLocks/>
          </p:cNvSpPr>
          <p:nvPr/>
        </p:nvSpPr>
        <p:spPr bwMode="auto">
          <a:xfrm>
            <a:off x="4536450" y="5865659"/>
            <a:ext cx="157163" cy="128588"/>
          </a:xfrm>
          <a:custGeom>
            <a:avLst/>
            <a:gdLst>
              <a:gd name="T0" fmla="*/ 3 w 77"/>
              <a:gd name="T1" fmla="*/ 0 h 68"/>
              <a:gd name="T2" fmla="*/ 6 w 77"/>
              <a:gd name="T3" fmla="*/ 0 h 68"/>
              <a:gd name="T4" fmla="*/ 10 w 77"/>
              <a:gd name="T5" fmla="*/ 0 h 68"/>
              <a:gd name="T6" fmla="*/ 16 w 77"/>
              <a:gd name="T7" fmla="*/ 1 h 68"/>
              <a:gd name="T8" fmla="*/ 21 w 77"/>
              <a:gd name="T9" fmla="*/ 3 h 68"/>
              <a:gd name="T10" fmla="*/ 26 w 77"/>
              <a:gd name="T11" fmla="*/ 6 h 68"/>
              <a:gd name="T12" fmla="*/ 31 w 77"/>
              <a:gd name="T13" fmla="*/ 9 h 68"/>
              <a:gd name="T14" fmla="*/ 41 w 77"/>
              <a:gd name="T15" fmla="*/ 14 h 68"/>
              <a:gd name="T16" fmla="*/ 59 w 77"/>
              <a:gd name="T17" fmla="*/ 29 h 68"/>
              <a:gd name="T18" fmla="*/ 76 w 77"/>
              <a:gd name="T19" fmla="*/ 41 h 68"/>
              <a:gd name="T20" fmla="*/ 74 w 77"/>
              <a:gd name="T21" fmla="*/ 46 h 68"/>
              <a:gd name="T22" fmla="*/ 72 w 77"/>
              <a:gd name="T23" fmla="*/ 50 h 68"/>
              <a:gd name="T24" fmla="*/ 69 w 77"/>
              <a:gd name="T25" fmla="*/ 55 h 68"/>
              <a:gd name="T26" fmla="*/ 66 w 77"/>
              <a:gd name="T27" fmla="*/ 59 h 68"/>
              <a:gd name="T28" fmla="*/ 62 w 77"/>
              <a:gd name="T29" fmla="*/ 62 h 68"/>
              <a:gd name="T30" fmla="*/ 59 w 77"/>
              <a:gd name="T31" fmla="*/ 64 h 68"/>
              <a:gd name="T32" fmla="*/ 56 w 77"/>
              <a:gd name="T33" fmla="*/ 67 h 68"/>
              <a:gd name="T34" fmla="*/ 54 w 77"/>
              <a:gd name="T35" fmla="*/ 67 h 68"/>
              <a:gd name="T36" fmla="*/ 52 w 77"/>
              <a:gd name="T37" fmla="*/ 67 h 68"/>
              <a:gd name="T38" fmla="*/ 44 w 77"/>
              <a:gd name="T39" fmla="*/ 67 h 68"/>
              <a:gd name="T40" fmla="*/ 36 w 77"/>
              <a:gd name="T41" fmla="*/ 65 h 68"/>
              <a:gd name="T42" fmla="*/ 23 w 77"/>
              <a:gd name="T43" fmla="*/ 62 h 68"/>
              <a:gd name="T44" fmla="*/ 10 w 77"/>
              <a:gd name="T45" fmla="*/ 57 h 68"/>
              <a:gd name="T46" fmla="*/ 0 w 77"/>
              <a:gd name="T47" fmla="*/ 53 h 68"/>
              <a:gd name="T48" fmla="*/ 3 w 77"/>
              <a:gd name="T49" fmla="*/ 0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77" h="68">
                <a:moveTo>
                  <a:pt x="3" y="0"/>
                </a:moveTo>
                <a:lnTo>
                  <a:pt x="6" y="0"/>
                </a:lnTo>
                <a:lnTo>
                  <a:pt x="10" y="0"/>
                </a:lnTo>
                <a:lnTo>
                  <a:pt x="16" y="1"/>
                </a:lnTo>
                <a:lnTo>
                  <a:pt x="21" y="3"/>
                </a:lnTo>
                <a:lnTo>
                  <a:pt x="26" y="6"/>
                </a:lnTo>
                <a:lnTo>
                  <a:pt x="31" y="9"/>
                </a:lnTo>
                <a:lnTo>
                  <a:pt x="41" y="14"/>
                </a:lnTo>
                <a:lnTo>
                  <a:pt x="59" y="29"/>
                </a:lnTo>
                <a:lnTo>
                  <a:pt x="76" y="41"/>
                </a:lnTo>
                <a:lnTo>
                  <a:pt x="74" y="46"/>
                </a:lnTo>
                <a:lnTo>
                  <a:pt x="72" y="50"/>
                </a:lnTo>
                <a:lnTo>
                  <a:pt x="69" y="55"/>
                </a:lnTo>
                <a:lnTo>
                  <a:pt x="66" y="59"/>
                </a:lnTo>
                <a:lnTo>
                  <a:pt x="62" y="62"/>
                </a:lnTo>
                <a:lnTo>
                  <a:pt x="59" y="64"/>
                </a:lnTo>
                <a:lnTo>
                  <a:pt x="56" y="67"/>
                </a:lnTo>
                <a:lnTo>
                  <a:pt x="54" y="67"/>
                </a:lnTo>
                <a:lnTo>
                  <a:pt x="52" y="67"/>
                </a:lnTo>
                <a:lnTo>
                  <a:pt x="44" y="67"/>
                </a:lnTo>
                <a:lnTo>
                  <a:pt x="36" y="65"/>
                </a:lnTo>
                <a:lnTo>
                  <a:pt x="23" y="62"/>
                </a:lnTo>
                <a:lnTo>
                  <a:pt x="10" y="57"/>
                </a:lnTo>
                <a:lnTo>
                  <a:pt x="0" y="53"/>
                </a:lnTo>
                <a:lnTo>
                  <a:pt x="3" y="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27" name="Freeform 229">
            <a:extLst>
              <a:ext uri="{FF2B5EF4-FFF2-40B4-BE49-F238E27FC236}">
                <a16:creationId xmlns:a16="http://schemas.microsoft.com/office/drawing/2014/main" id="{6C465083-E270-5C90-A1A3-480803CFD389}"/>
              </a:ext>
            </a:extLst>
          </p:cNvPr>
          <p:cNvSpPr>
            <a:spLocks/>
          </p:cNvSpPr>
          <p:nvPr/>
        </p:nvSpPr>
        <p:spPr bwMode="auto">
          <a:xfrm>
            <a:off x="4185613" y="5630709"/>
            <a:ext cx="454025" cy="841375"/>
          </a:xfrm>
          <a:custGeom>
            <a:avLst/>
            <a:gdLst>
              <a:gd name="T0" fmla="*/ 191 w 224"/>
              <a:gd name="T1" fmla="*/ 99 h 450"/>
              <a:gd name="T2" fmla="*/ 218 w 224"/>
              <a:gd name="T3" fmla="*/ 80 h 450"/>
              <a:gd name="T4" fmla="*/ 222 w 224"/>
              <a:gd name="T5" fmla="*/ 63 h 450"/>
              <a:gd name="T6" fmla="*/ 209 w 224"/>
              <a:gd name="T7" fmla="*/ 66 h 450"/>
              <a:gd name="T8" fmla="*/ 196 w 224"/>
              <a:gd name="T9" fmla="*/ 82 h 450"/>
              <a:gd name="T10" fmla="*/ 161 w 224"/>
              <a:gd name="T11" fmla="*/ 82 h 450"/>
              <a:gd name="T12" fmla="*/ 163 w 224"/>
              <a:gd name="T13" fmla="*/ 62 h 450"/>
              <a:gd name="T14" fmla="*/ 161 w 224"/>
              <a:gd name="T15" fmla="*/ 49 h 450"/>
              <a:gd name="T16" fmla="*/ 143 w 224"/>
              <a:gd name="T17" fmla="*/ 39 h 450"/>
              <a:gd name="T18" fmla="*/ 120 w 224"/>
              <a:gd name="T19" fmla="*/ 33 h 450"/>
              <a:gd name="T20" fmla="*/ 95 w 224"/>
              <a:gd name="T21" fmla="*/ 13 h 450"/>
              <a:gd name="T22" fmla="*/ 75 w 224"/>
              <a:gd name="T23" fmla="*/ 6 h 450"/>
              <a:gd name="T24" fmla="*/ 66 w 224"/>
              <a:gd name="T25" fmla="*/ 10 h 450"/>
              <a:gd name="T26" fmla="*/ 42 w 224"/>
              <a:gd name="T27" fmla="*/ 4 h 450"/>
              <a:gd name="T28" fmla="*/ 26 w 224"/>
              <a:gd name="T29" fmla="*/ 18 h 450"/>
              <a:gd name="T30" fmla="*/ 19 w 224"/>
              <a:gd name="T31" fmla="*/ 37 h 450"/>
              <a:gd name="T32" fmla="*/ 10 w 224"/>
              <a:gd name="T33" fmla="*/ 59 h 450"/>
              <a:gd name="T34" fmla="*/ 18 w 224"/>
              <a:gd name="T35" fmla="*/ 75 h 450"/>
              <a:gd name="T36" fmla="*/ 0 w 224"/>
              <a:gd name="T37" fmla="*/ 110 h 450"/>
              <a:gd name="T38" fmla="*/ 6 w 224"/>
              <a:gd name="T39" fmla="*/ 121 h 450"/>
              <a:gd name="T40" fmla="*/ 0 w 224"/>
              <a:gd name="T41" fmla="*/ 141 h 450"/>
              <a:gd name="T42" fmla="*/ 9 w 224"/>
              <a:gd name="T43" fmla="*/ 163 h 450"/>
              <a:gd name="T44" fmla="*/ 18 w 224"/>
              <a:gd name="T45" fmla="*/ 207 h 450"/>
              <a:gd name="T46" fmla="*/ 10 w 224"/>
              <a:gd name="T47" fmla="*/ 221 h 450"/>
              <a:gd name="T48" fmla="*/ 22 w 224"/>
              <a:gd name="T49" fmla="*/ 250 h 450"/>
              <a:gd name="T50" fmla="*/ 17 w 224"/>
              <a:gd name="T51" fmla="*/ 260 h 450"/>
              <a:gd name="T52" fmla="*/ 27 w 224"/>
              <a:gd name="T53" fmla="*/ 297 h 450"/>
              <a:gd name="T54" fmla="*/ 33 w 224"/>
              <a:gd name="T55" fmla="*/ 322 h 450"/>
              <a:gd name="T56" fmla="*/ 46 w 224"/>
              <a:gd name="T57" fmla="*/ 340 h 450"/>
              <a:gd name="T58" fmla="*/ 51 w 224"/>
              <a:gd name="T59" fmla="*/ 363 h 450"/>
              <a:gd name="T60" fmla="*/ 49 w 224"/>
              <a:gd name="T61" fmla="*/ 380 h 450"/>
              <a:gd name="T62" fmla="*/ 51 w 224"/>
              <a:gd name="T63" fmla="*/ 394 h 450"/>
              <a:gd name="T64" fmla="*/ 48 w 224"/>
              <a:gd name="T65" fmla="*/ 414 h 450"/>
              <a:gd name="T66" fmla="*/ 71 w 224"/>
              <a:gd name="T67" fmla="*/ 431 h 450"/>
              <a:gd name="T68" fmla="*/ 81 w 224"/>
              <a:gd name="T69" fmla="*/ 445 h 450"/>
              <a:gd name="T70" fmla="*/ 113 w 224"/>
              <a:gd name="T71" fmla="*/ 428 h 450"/>
              <a:gd name="T72" fmla="*/ 121 w 224"/>
              <a:gd name="T73" fmla="*/ 414 h 450"/>
              <a:gd name="T74" fmla="*/ 121 w 224"/>
              <a:gd name="T75" fmla="*/ 406 h 450"/>
              <a:gd name="T76" fmla="*/ 131 w 224"/>
              <a:gd name="T77" fmla="*/ 392 h 450"/>
              <a:gd name="T78" fmla="*/ 135 w 224"/>
              <a:gd name="T79" fmla="*/ 377 h 450"/>
              <a:gd name="T80" fmla="*/ 107 w 224"/>
              <a:gd name="T81" fmla="*/ 363 h 450"/>
              <a:gd name="T82" fmla="*/ 108 w 224"/>
              <a:gd name="T83" fmla="*/ 347 h 450"/>
              <a:gd name="T84" fmla="*/ 124 w 224"/>
              <a:gd name="T85" fmla="*/ 329 h 450"/>
              <a:gd name="T86" fmla="*/ 126 w 224"/>
              <a:gd name="T87" fmla="*/ 315 h 450"/>
              <a:gd name="T88" fmla="*/ 127 w 224"/>
              <a:gd name="T89" fmla="*/ 307 h 450"/>
              <a:gd name="T90" fmla="*/ 138 w 224"/>
              <a:gd name="T91" fmla="*/ 305 h 450"/>
              <a:gd name="T92" fmla="*/ 126 w 224"/>
              <a:gd name="T93" fmla="*/ 300 h 450"/>
              <a:gd name="T94" fmla="*/ 108 w 224"/>
              <a:gd name="T95" fmla="*/ 280 h 450"/>
              <a:gd name="T96" fmla="*/ 134 w 224"/>
              <a:gd name="T97" fmla="*/ 284 h 450"/>
              <a:gd name="T98" fmla="*/ 144 w 224"/>
              <a:gd name="T99" fmla="*/ 277 h 450"/>
              <a:gd name="T100" fmla="*/ 144 w 224"/>
              <a:gd name="T101" fmla="*/ 262 h 450"/>
              <a:gd name="T102" fmla="*/ 173 w 224"/>
              <a:gd name="T103" fmla="*/ 251 h 450"/>
              <a:gd name="T104" fmla="*/ 202 w 224"/>
              <a:gd name="T105" fmla="*/ 237 h 450"/>
              <a:gd name="T106" fmla="*/ 209 w 224"/>
              <a:gd name="T107" fmla="*/ 216 h 450"/>
              <a:gd name="T108" fmla="*/ 200 w 224"/>
              <a:gd name="T109" fmla="*/ 203 h 450"/>
              <a:gd name="T110" fmla="*/ 176 w 224"/>
              <a:gd name="T111" fmla="*/ 180 h 450"/>
              <a:gd name="T112" fmla="*/ 186 w 224"/>
              <a:gd name="T113" fmla="*/ 104 h 450"/>
              <a:gd name="T114" fmla="*/ 215 w 224"/>
              <a:gd name="T115" fmla="*/ 82 h 450"/>
              <a:gd name="T116" fmla="*/ 223 w 224"/>
              <a:gd name="T117" fmla="*/ 67 h 450"/>
              <a:gd name="T118" fmla="*/ 211 w 224"/>
              <a:gd name="T119" fmla="*/ 56 h 450"/>
              <a:gd name="T120" fmla="*/ 223 w 224"/>
              <a:gd name="T121" fmla="*/ 73 h 450"/>
              <a:gd name="T122" fmla="*/ 205 w 224"/>
              <a:gd name="T123" fmla="*/ 86 h 450"/>
              <a:gd name="T124" fmla="*/ 180 w 224"/>
              <a:gd name="T125" fmla="*/ 112 h 4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24" h="450">
                <a:moveTo>
                  <a:pt x="177" y="125"/>
                </a:moveTo>
                <a:lnTo>
                  <a:pt x="177" y="121"/>
                </a:lnTo>
                <a:lnTo>
                  <a:pt x="180" y="115"/>
                </a:lnTo>
                <a:lnTo>
                  <a:pt x="183" y="109"/>
                </a:lnTo>
                <a:lnTo>
                  <a:pt x="186" y="104"/>
                </a:lnTo>
                <a:lnTo>
                  <a:pt x="191" y="99"/>
                </a:lnTo>
                <a:lnTo>
                  <a:pt x="195" y="95"/>
                </a:lnTo>
                <a:lnTo>
                  <a:pt x="200" y="90"/>
                </a:lnTo>
                <a:lnTo>
                  <a:pt x="202" y="89"/>
                </a:lnTo>
                <a:lnTo>
                  <a:pt x="209" y="85"/>
                </a:lnTo>
                <a:lnTo>
                  <a:pt x="215" y="82"/>
                </a:lnTo>
                <a:lnTo>
                  <a:pt x="218" y="80"/>
                </a:lnTo>
                <a:lnTo>
                  <a:pt x="220" y="78"/>
                </a:lnTo>
                <a:lnTo>
                  <a:pt x="223" y="75"/>
                </a:lnTo>
                <a:lnTo>
                  <a:pt x="223" y="73"/>
                </a:lnTo>
                <a:lnTo>
                  <a:pt x="223" y="71"/>
                </a:lnTo>
                <a:lnTo>
                  <a:pt x="223" y="67"/>
                </a:lnTo>
                <a:lnTo>
                  <a:pt x="222" y="63"/>
                </a:lnTo>
                <a:lnTo>
                  <a:pt x="220" y="59"/>
                </a:lnTo>
                <a:lnTo>
                  <a:pt x="219" y="56"/>
                </a:lnTo>
                <a:lnTo>
                  <a:pt x="211" y="56"/>
                </a:lnTo>
                <a:lnTo>
                  <a:pt x="209" y="59"/>
                </a:lnTo>
                <a:lnTo>
                  <a:pt x="209" y="63"/>
                </a:lnTo>
                <a:lnTo>
                  <a:pt x="209" y="66"/>
                </a:lnTo>
                <a:lnTo>
                  <a:pt x="209" y="69"/>
                </a:lnTo>
                <a:lnTo>
                  <a:pt x="206" y="73"/>
                </a:lnTo>
                <a:lnTo>
                  <a:pt x="203" y="77"/>
                </a:lnTo>
                <a:lnTo>
                  <a:pt x="200" y="80"/>
                </a:lnTo>
                <a:lnTo>
                  <a:pt x="197" y="81"/>
                </a:lnTo>
                <a:lnTo>
                  <a:pt x="196" y="82"/>
                </a:lnTo>
                <a:lnTo>
                  <a:pt x="190" y="83"/>
                </a:lnTo>
                <a:lnTo>
                  <a:pt x="185" y="85"/>
                </a:lnTo>
                <a:lnTo>
                  <a:pt x="180" y="85"/>
                </a:lnTo>
                <a:lnTo>
                  <a:pt x="173" y="85"/>
                </a:lnTo>
                <a:lnTo>
                  <a:pt x="167" y="82"/>
                </a:lnTo>
                <a:lnTo>
                  <a:pt x="161" y="82"/>
                </a:lnTo>
                <a:lnTo>
                  <a:pt x="155" y="81"/>
                </a:lnTo>
                <a:lnTo>
                  <a:pt x="155" y="77"/>
                </a:lnTo>
                <a:lnTo>
                  <a:pt x="156" y="73"/>
                </a:lnTo>
                <a:lnTo>
                  <a:pt x="157" y="69"/>
                </a:lnTo>
                <a:lnTo>
                  <a:pt x="160" y="67"/>
                </a:lnTo>
                <a:lnTo>
                  <a:pt x="163" y="62"/>
                </a:lnTo>
                <a:lnTo>
                  <a:pt x="164" y="59"/>
                </a:lnTo>
                <a:lnTo>
                  <a:pt x="164" y="56"/>
                </a:lnTo>
                <a:lnTo>
                  <a:pt x="164" y="53"/>
                </a:lnTo>
                <a:lnTo>
                  <a:pt x="163" y="51"/>
                </a:lnTo>
                <a:lnTo>
                  <a:pt x="162" y="50"/>
                </a:lnTo>
                <a:lnTo>
                  <a:pt x="161" y="49"/>
                </a:lnTo>
                <a:lnTo>
                  <a:pt x="157" y="47"/>
                </a:lnTo>
                <a:lnTo>
                  <a:pt x="154" y="46"/>
                </a:lnTo>
                <a:lnTo>
                  <a:pt x="147" y="45"/>
                </a:lnTo>
                <a:lnTo>
                  <a:pt x="144" y="42"/>
                </a:lnTo>
                <a:lnTo>
                  <a:pt x="144" y="41"/>
                </a:lnTo>
                <a:lnTo>
                  <a:pt x="143" y="39"/>
                </a:lnTo>
                <a:lnTo>
                  <a:pt x="141" y="38"/>
                </a:lnTo>
                <a:lnTo>
                  <a:pt x="139" y="36"/>
                </a:lnTo>
                <a:lnTo>
                  <a:pt x="136" y="36"/>
                </a:lnTo>
                <a:lnTo>
                  <a:pt x="130" y="33"/>
                </a:lnTo>
                <a:lnTo>
                  <a:pt x="124" y="33"/>
                </a:lnTo>
                <a:lnTo>
                  <a:pt x="120" y="33"/>
                </a:lnTo>
                <a:lnTo>
                  <a:pt x="116" y="31"/>
                </a:lnTo>
                <a:lnTo>
                  <a:pt x="112" y="29"/>
                </a:lnTo>
                <a:lnTo>
                  <a:pt x="108" y="26"/>
                </a:lnTo>
                <a:lnTo>
                  <a:pt x="103" y="20"/>
                </a:lnTo>
                <a:lnTo>
                  <a:pt x="98" y="15"/>
                </a:lnTo>
                <a:lnTo>
                  <a:pt x="95" y="13"/>
                </a:lnTo>
                <a:lnTo>
                  <a:pt x="91" y="11"/>
                </a:lnTo>
                <a:lnTo>
                  <a:pt x="89" y="9"/>
                </a:lnTo>
                <a:lnTo>
                  <a:pt x="88" y="8"/>
                </a:lnTo>
                <a:lnTo>
                  <a:pt x="87" y="6"/>
                </a:lnTo>
                <a:lnTo>
                  <a:pt x="81" y="6"/>
                </a:lnTo>
                <a:lnTo>
                  <a:pt x="75" y="6"/>
                </a:lnTo>
                <a:lnTo>
                  <a:pt x="73" y="6"/>
                </a:lnTo>
                <a:lnTo>
                  <a:pt x="72" y="6"/>
                </a:lnTo>
                <a:lnTo>
                  <a:pt x="71" y="6"/>
                </a:lnTo>
                <a:lnTo>
                  <a:pt x="68" y="8"/>
                </a:lnTo>
                <a:lnTo>
                  <a:pt x="67" y="9"/>
                </a:lnTo>
                <a:lnTo>
                  <a:pt x="66" y="10"/>
                </a:lnTo>
                <a:lnTo>
                  <a:pt x="65" y="13"/>
                </a:lnTo>
                <a:lnTo>
                  <a:pt x="64" y="14"/>
                </a:lnTo>
                <a:lnTo>
                  <a:pt x="60" y="11"/>
                </a:lnTo>
                <a:lnTo>
                  <a:pt x="57" y="9"/>
                </a:lnTo>
                <a:lnTo>
                  <a:pt x="50" y="6"/>
                </a:lnTo>
                <a:lnTo>
                  <a:pt x="42" y="4"/>
                </a:lnTo>
                <a:lnTo>
                  <a:pt x="39" y="2"/>
                </a:lnTo>
                <a:lnTo>
                  <a:pt x="36" y="0"/>
                </a:lnTo>
                <a:lnTo>
                  <a:pt x="31" y="6"/>
                </a:lnTo>
                <a:lnTo>
                  <a:pt x="28" y="10"/>
                </a:lnTo>
                <a:lnTo>
                  <a:pt x="26" y="13"/>
                </a:lnTo>
                <a:lnTo>
                  <a:pt x="26" y="18"/>
                </a:lnTo>
                <a:lnTo>
                  <a:pt x="26" y="23"/>
                </a:lnTo>
                <a:lnTo>
                  <a:pt x="26" y="28"/>
                </a:lnTo>
                <a:lnTo>
                  <a:pt x="26" y="31"/>
                </a:lnTo>
                <a:lnTo>
                  <a:pt x="24" y="33"/>
                </a:lnTo>
                <a:lnTo>
                  <a:pt x="22" y="36"/>
                </a:lnTo>
                <a:lnTo>
                  <a:pt x="19" y="37"/>
                </a:lnTo>
                <a:lnTo>
                  <a:pt x="14" y="40"/>
                </a:lnTo>
                <a:lnTo>
                  <a:pt x="13" y="42"/>
                </a:lnTo>
                <a:lnTo>
                  <a:pt x="11" y="44"/>
                </a:lnTo>
                <a:lnTo>
                  <a:pt x="10" y="47"/>
                </a:lnTo>
                <a:lnTo>
                  <a:pt x="10" y="51"/>
                </a:lnTo>
                <a:lnTo>
                  <a:pt x="10" y="59"/>
                </a:lnTo>
                <a:lnTo>
                  <a:pt x="11" y="62"/>
                </a:lnTo>
                <a:lnTo>
                  <a:pt x="11" y="64"/>
                </a:lnTo>
                <a:lnTo>
                  <a:pt x="13" y="67"/>
                </a:lnTo>
                <a:lnTo>
                  <a:pt x="14" y="69"/>
                </a:lnTo>
                <a:lnTo>
                  <a:pt x="16" y="72"/>
                </a:lnTo>
                <a:lnTo>
                  <a:pt x="18" y="75"/>
                </a:lnTo>
                <a:lnTo>
                  <a:pt x="13" y="82"/>
                </a:lnTo>
                <a:lnTo>
                  <a:pt x="6" y="90"/>
                </a:lnTo>
                <a:lnTo>
                  <a:pt x="3" y="95"/>
                </a:lnTo>
                <a:lnTo>
                  <a:pt x="1" y="100"/>
                </a:lnTo>
                <a:lnTo>
                  <a:pt x="0" y="105"/>
                </a:lnTo>
                <a:lnTo>
                  <a:pt x="0" y="110"/>
                </a:lnTo>
                <a:lnTo>
                  <a:pt x="0" y="112"/>
                </a:lnTo>
                <a:lnTo>
                  <a:pt x="0" y="114"/>
                </a:lnTo>
                <a:lnTo>
                  <a:pt x="3" y="116"/>
                </a:lnTo>
                <a:lnTo>
                  <a:pt x="4" y="118"/>
                </a:lnTo>
                <a:lnTo>
                  <a:pt x="6" y="118"/>
                </a:lnTo>
                <a:lnTo>
                  <a:pt x="6" y="121"/>
                </a:lnTo>
                <a:lnTo>
                  <a:pt x="6" y="123"/>
                </a:lnTo>
                <a:lnTo>
                  <a:pt x="6" y="127"/>
                </a:lnTo>
                <a:lnTo>
                  <a:pt x="3" y="132"/>
                </a:lnTo>
                <a:lnTo>
                  <a:pt x="1" y="137"/>
                </a:lnTo>
                <a:lnTo>
                  <a:pt x="0" y="140"/>
                </a:lnTo>
                <a:lnTo>
                  <a:pt x="0" y="141"/>
                </a:lnTo>
                <a:lnTo>
                  <a:pt x="0" y="145"/>
                </a:lnTo>
                <a:lnTo>
                  <a:pt x="1" y="147"/>
                </a:lnTo>
                <a:lnTo>
                  <a:pt x="3" y="151"/>
                </a:lnTo>
                <a:lnTo>
                  <a:pt x="6" y="155"/>
                </a:lnTo>
                <a:lnTo>
                  <a:pt x="8" y="161"/>
                </a:lnTo>
                <a:lnTo>
                  <a:pt x="9" y="163"/>
                </a:lnTo>
                <a:lnTo>
                  <a:pt x="9" y="166"/>
                </a:lnTo>
                <a:lnTo>
                  <a:pt x="13" y="171"/>
                </a:lnTo>
                <a:lnTo>
                  <a:pt x="16" y="177"/>
                </a:lnTo>
                <a:lnTo>
                  <a:pt x="18" y="180"/>
                </a:lnTo>
                <a:lnTo>
                  <a:pt x="18" y="183"/>
                </a:lnTo>
                <a:lnTo>
                  <a:pt x="18" y="207"/>
                </a:lnTo>
                <a:lnTo>
                  <a:pt x="18" y="211"/>
                </a:lnTo>
                <a:lnTo>
                  <a:pt x="17" y="212"/>
                </a:lnTo>
                <a:lnTo>
                  <a:pt x="15" y="214"/>
                </a:lnTo>
                <a:lnTo>
                  <a:pt x="14" y="216"/>
                </a:lnTo>
                <a:lnTo>
                  <a:pt x="11" y="219"/>
                </a:lnTo>
                <a:lnTo>
                  <a:pt x="10" y="221"/>
                </a:lnTo>
                <a:lnTo>
                  <a:pt x="10" y="225"/>
                </a:lnTo>
                <a:lnTo>
                  <a:pt x="13" y="229"/>
                </a:lnTo>
                <a:lnTo>
                  <a:pt x="17" y="237"/>
                </a:lnTo>
                <a:lnTo>
                  <a:pt x="20" y="244"/>
                </a:lnTo>
                <a:lnTo>
                  <a:pt x="22" y="247"/>
                </a:lnTo>
                <a:lnTo>
                  <a:pt x="22" y="250"/>
                </a:lnTo>
                <a:lnTo>
                  <a:pt x="22" y="251"/>
                </a:lnTo>
                <a:lnTo>
                  <a:pt x="22" y="253"/>
                </a:lnTo>
                <a:lnTo>
                  <a:pt x="19" y="255"/>
                </a:lnTo>
                <a:lnTo>
                  <a:pt x="19" y="256"/>
                </a:lnTo>
                <a:lnTo>
                  <a:pt x="18" y="257"/>
                </a:lnTo>
                <a:lnTo>
                  <a:pt x="17" y="260"/>
                </a:lnTo>
                <a:lnTo>
                  <a:pt x="17" y="261"/>
                </a:lnTo>
                <a:lnTo>
                  <a:pt x="17" y="267"/>
                </a:lnTo>
                <a:lnTo>
                  <a:pt x="19" y="273"/>
                </a:lnTo>
                <a:lnTo>
                  <a:pt x="22" y="283"/>
                </a:lnTo>
                <a:lnTo>
                  <a:pt x="26" y="293"/>
                </a:lnTo>
                <a:lnTo>
                  <a:pt x="27" y="297"/>
                </a:lnTo>
                <a:lnTo>
                  <a:pt x="28" y="301"/>
                </a:lnTo>
                <a:lnTo>
                  <a:pt x="28" y="303"/>
                </a:lnTo>
                <a:lnTo>
                  <a:pt x="26" y="304"/>
                </a:lnTo>
                <a:lnTo>
                  <a:pt x="22" y="305"/>
                </a:lnTo>
                <a:lnTo>
                  <a:pt x="26" y="310"/>
                </a:lnTo>
                <a:lnTo>
                  <a:pt x="33" y="322"/>
                </a:lnTo>
                <a:lnTo>
                  <a:pt x="42" y="332"/>
                </a:lnTo>
                <a:lnTo>
                  <a:pt x="45" y="336"/>
                </a:lnTo>
                <a:lnTo>
                  <a:pt x="48" y="336"/>
                </a:lnTo>
                <a:lnTo>
                  <a:pt x="49" y="336"/>
                </a:lnTo>
                <a:lnTo>
                  <a:pt x="48" y="338"/>
                </a:lnTo>
                <a:lnTo>
                  <a:pt x="46" y="340"/>
                </a:lnTo>
                <a:lnTo>
                  <a:pt x="45" y="342"/>
                </a:lnTo>
                <a:lnTo>
                  <a:pt x="45" y="344"/>
                </a:lnTo>
                <a:lnTo>
                  <a:pt x="45" y="347"/>
                </a:lnTo>
                <a:lnTo>
                  <a:pt x="45" y="350"/>
                </a:lnTo>
                <a:lnTo>
                  <a:pt x="49" y="356"/>
                </a:lnTo>
                <a:lnTo>
                  <a:pt x="51" y="363"/>
                </a:lnTo>
                <a:lnTo>
                  <a:pt x="52" y="367"/>
                </a:lnTo>
                <a:lnTo>
                  <a:pt x="52" y="372"/>
                </a:lnTo>
                <a:lnTo>
                  <a:pt x="52" y="373"/>
                </a:lnTo>
                <a:lnTo>
                  <a:pt x="51" y="376"/>
                </a:lnTo>
                <a:lnTo>
                  <a:pt x="49" y="378"/>
                </a:lnTo>
                <a:lnTo>
                  <a:pt x="49" y="380"/>
                </a:lnTo>
                <a:lnTo>
                  <a:pt x="48" y="382"/>
                </a:lnTo>
                <a:lnTo>
                  <a:pt x="48" y="386"/>
                </a:lnTo>
                <a:lnTo>
                  <a:pt x="49" y="388"/>
                </a:lnTo>
                <a:lnTo>
                  <a:pt x="49" y="389"/>
                </a:lnTo>
                <a:lnTo>
                  <a:pt x="50" y="390"/>
                </a:lnTo>
                <a:lnTo>
                  <a:pt x="51" y="394"/>
                </a:lnTo>
                <a:lnTo>
                  <a:pt x="50" y="399"/>
                </a:lnTo>
                <a:lnTo>
                  <a:pt x="49" y="402"/>
                </a:lnTo>
                <a:lnTo>
                  <a:pt x="48" y="406"/>
                </a:lnTo>
                <a:lnTo>
                  <a:pt x="48" y="409"/>
                </a:lnTo>
                <a:lnTo>
                  <a:pt x="48" y="412"/>
                </a:lnTo>
                <a:lnTo>
                  <a:pt x="48" y="414"/>
                </a:lnTo>
                <a:lnTo>
                  <a:pt x="50" y="418"/>
                </a:lnTo>
                <a:lnTo>
                  <a:pt x="53" y="421"/>
                </a:lnTo>
                <a:lnTo>
                  <a:pt x="55" y="422"/>
                </a:lnTo>
                <a:lnTo>
                  <a:pt x="64" y="426"/>
                </a:lnTo>
                <a:lnTo>
                  <a:pt x="68" y="428"/>
                </a:lnTo>
                <a:lnTo>
                  <a:pt x="71" y="431"/>
                </a:lnTo>
                <a:lnTo>
                  <a:pt x="72" y="432"/>
                </a:lnTo>
                <a:lnTo>
                  <a:pt x="73" y="432"/>
                </a:lnTo>
                <a:lnTo>
                  <a:pt x="75" y="435"/>
                </a:lnTo>
                <a:lnTo>
                  <a:pt x="77" y="439"/>
                </a:lnTo>
                <a:lnTo>
                  <a:pt x="79" y="444"/>
                </a:lnTo>
                <a:lnTo>
                  <a:pt x="81" y="445"/>
                </a:lnTo>
                <a:lnTo>
                  <a:pt x="82" y="448"/>
                </a:lnTo>
                <a:lnTo>
                  <a:pt x="125" y="449"/>
                </a:lnTo>
                <a:lnTo>
                  <a:pt x="121" y="441"/>
                </a:lnTo>
                <a:lnTo>
                  <a:pt x="117" y="432"/>
                </a:lnTo>
                <a:lnTo>
                  <a:pt x="115" y="431"/>
                </a:lnTo>
                <a:lnTo>
                  <a:pt x="113" y="428"/>
                </a:lnTo>
                <a:lnTo>
                  <a:pt x="111" y="425"/>
                </a:lnTo>
                <a:lnTo>
                  <a:pt x="111" y="422"/>
                </a:lnTo>
                <a:lnTo>
                  <a:pt x="111" y="419"/>
                </a:lnTo>
                <a:lnTo>
                  <a:pt x="112" y="418"/>
                </a:lnTo>
                <a:lnTo>
                  <a:pt x="116" y="416"/>
                </a:lnTo>
                <a:lnTo>
                  <a:pt x="121" y="414"/>
                </a:lnTo>
                <a:lnTo>
                  <a:pt x="122" y="413"/>
                </a:lnTo>
                <a:lnTo>
                  <a:pt x="124" y="412"/>
                </a:lnTo>
                <a:lnTo>
                  <a:pt x="124" y="410"/>
                </a:lnTo>
                <a:lnTo>
                  <a:pt x="121" y="409"/>
                </a:lnTo>
                <a:lnTo>
                  <a:pt x="121" y="408"/>
                </a:lnTo>
                <a:lnTo>
                  <a:pt x="121" y="406"/>
                </a:lnTo>
                <a:lnTo>
                  <a:pt x="121" y="403"/>
                </a:lnTo>
                <a:lnTo>
                  <a:pt x="121" y="402"/>
                </a:lnTo>
                <a:lnTo>
                  <a:pt x="124" y="399"/>
                </a:lnTo>
                <a:lnTo>
                  <a:pt x="125" y="396"/>
                </a:lnTo>
                <a:lnTo>
                  <a:pt x="129" y="395"/>
                </a:lnTo>
                <a:lnTo>
                  <a:pt x="131" y="392"/>
                </a:lnTo>
                <a:lnTo>
                  <a:pt x="134" y="389"/>
                </a:lnTo>
                <a:lnTo>
                  <a:pt x="136" y="386"/>
                </a:lnTo>
                <a:lnTo>
                  <a:pt x="136" y="385"/>
                </a:lnTo>
                <a:lnTo>
                  <a:pt x="136" y="382"/>
                </a:lnTo>
                <a:lnTo>
                  <a:pt x="136" y="379"/>
                </a:lnTo>
                <a:lnTo>
                  <a:pt x="135" y="377"/>
                </a:lnTo>
                <a:lnTo>
                  <a:pt x="134" y="373"/>
                </a:lnTo>
                <a:lnTo>
                  <a:pt x="130" y="372"/>
                </a:lnTo>
                <a:lnTo>
                  <a:pt x="125" y="371"/>
                </a:lnTo>
                <a:lnTo>
                  <a:pt x="115" y="367"/>
                </a:lnTo>
                <a:lnTo>
                  <a:pt x="111" y="364"/>
                </a:lnTo>
                <a:lnTo>
                  <a:pt x="107" y="363"/>
                </a:lnTo>
                <a:lnTo>
                  <a:pt x="104" y="359"/>
                </a:lnTo>
                <a:lnTo>
                  <a:pt x="103" y="359"/>
                </a:lnTo>
                <a:lnTo>
                  <a:pt x="103" y="356"/>
                </a:lnTo>
                <a:lnTo>
                  <a:pt x="104" y="354"/>
                </a:lnTo>
                <a:lnTo>
                  <a:pt x="106" y="350"/>
                </a:lnTo>
                <a:lnTo>
                  <a:pt x="108" y="347"/>
                </a:lnTo>
                <a:lnTo>
                  <a:pt x="112" y="345"/>
                </a:lnTo>
                <a:lnTo>
                  <a:pt x="121" y="339"/>
                </a:lnTo>
                <a:lnTo>
                  <a:pt x="124" y="336"/>
                </a:lnTo>
                <a:lnTo>
                  <a:pt x="126" y="333"/>
                </a:lnTo>
                <a:lnTo>
                  <a:pt x="125" y="332"/>
                </a:lnTo>
                <a:lnTo>
                  <a:pt x="124" y="329"/>
                </a:lnTo>
                <a:lnTo>
                  <a:pt x="124" y="326"/>
                </a:lnTo>
                <a:lnTo>
                  <a:pt x="124" y="323"/>
                </a:lnTo>
                <a:lnTo>
                  <a:pt x="124" y="320"/>
                </a:lnTo>
                <a:lnTo>
                  <a:pt x="124" y="318"/>
                </a:lnTo>
                <a:lnTo>
                  <a:pt x="124" y="316"/>
                </a:lnTo>
                <a:lnTo>
                  <a:pt x="126" y="315"/>
                </a:lnTo>
                <a:lnTo>
                  <a:pt x="127" y="314"/>
                </a:lnTo>
                <a:lnTo>
                  <a:pt x="129" y="313"/>
                </a:lnTo>
                <a:lnTo>
                  <a:pt x="126" y="310"/>
                </a:lnTo>
                <a:lnTo>
                  <a:pt x="124" y="307"/>
                </a:lnTo>
                <a:lnTo>
                  <a:pt x="124" y="304"/>
                </a:lnTo>
                <a:lnTo>
                  <a:pt x="127" y="307"/>
                </a:lnTo>
                <a:lnTo>
                  <a:pt x="130" y="310"/>
                </a:lnTo>
                <a:lnTo>
                  <a:pt x="134" y="310"/>
                </a:lnTo>
                <a:lnTo>
                  <a:pt x="135" y="310"/>
                </a:lnTo>
                <a:lnTo>
                  <a:pt x="136" y="309"/>
                </a:lnTo>
                <a:lnTo>
                  <a:pt x="138" y="307"/>
                </a:lnTo>
                <a:lnTo>
                  <a:pt x="138" y="305"/>
                </a:lnTo>
                <a:lnTo>
                  <a:pt x="137" y="302"/>
                </a:lnTo>
                <a:lnTo>
                  <a:pt x="136" y="300"/>
                </a:lnTo>
                <a:lnTo>
                  <a:pt x="134" y="298"/>
                </a:lnTo>
                <a:lnTo>
                  <a:pt x="131" y="297"/>
                </a:lnTo>
                <a:lnTo>
                  <a:pt x="129" y="298"/>
                </a:lnTo>
                <a:lnTo>
                  <a:pt x="126" y="300"/>
                </a:lnTo>
                <a:lnTo>
                  <a:pt x="121" y="301"/>
                </a:lnTo>
                <a:lnTo>
                  <a:pt x="120" y="298"/>
                </a:lnTo>
                <a:lnTo>
                  <a:pt x="118" y="297"/>
                </a:lnTo>
                <a:lnTo>
                  <a:pt x="115" y="291"/>
                </a:lnTo>
                <a:lnTo>
                  <a:pt x="112" y="287"/>
                </a:lnTo>
                <a:lnTo>
                  <a:pt x="108" y="280"/>
                </a:lnTo>
                <a:lnTo>
                  <a:pt x="113" y="280"/>
                </a:lnTo>
                <a:lnTo>
                  <a:pt x="117" y="280"/>
                </a:lnTo>
                <a:lnTo>
                  <a:pt x="120" y="282"/>
                </a:lnTo>
                <a:lnTo>
                  <a:pt x="124" y="283"/>
                </a:lnTo>
                <a:lnTo>
                  <a:pt x="130" y="284"/>
                </a:lnTo>
                <a:lnTo>
                  <a:pt x="134" y="284"/>
                </a:lnTo>
                <a:lnTo>
                  <a:pt x="136" y="286"/>
                </a:lnTo>
                <a:lnTo>
                  <a:pt x="140" y="284"/>
                </a:lnTo>
                <a:lnTo>
                  <a:pt x="144" y="283"/>
                </a:lnTo>
                <a:lnTo>
                  <a:pt x="147" y="282"/>
                </a:lnTo>
                <a:lnTo>
                  <a:pt x="148" y="280"/>
                </a:lnTo>
                <a:lnTo>
                  <a:pt x="144" y="277"/>
                </a:lnTo>
                <a:lnTo>
                  <a:pt x="142" y="274"/>
                </a:lnTo>
                <a:lnTo>
                  <a:pt x="141" y="273"/>
                </a:lnTo>
                <a:lnTo>
                  <a:pt x="141" y="271"/>
                </a:lnTo>
                <a:lnTo>
                  <a:pt x="141" y="268"/>
                </a:lnTo>
                <a:lnTo>
                  <a:pt x="142" y="265"/>
                </a:lnTo>
                <a:lnTo>
                  <a:pt x="144" y="262"/>
                </a:lnTo>
                <a:lnTo>
                  <a:pt x="146" y="260"/>
                </a:lnTo>
                <a:lnTo>
                  <a:pt x="148" y="257"/>
                </a:lnTo>
                <a:lnTo>
                  <a:pt x="151" y="257"/>
                </a:lnTo>
                <a:lnTo>
                  <a:pt x="158" y="254"/>
                </a:lnTo>
                <a:lnTo>
                  <a:pt x="166" y="252"/>
                </a:lnTo>
                <a:lnTo>
                  <a:pt x="173" y="251"/>
                </a:lnTo>
                <a:lnTo>
                  <a:pt x="180" y="250"/>
                </a:lnTo>
                <a:lnTo>
                  <a:pt x="187" y="249"/>
                </a:lnTo>
                <a:lnTo>
                  <a:pt x="191" y="247"/>
                </a:lnTo>
                <a:lnTo>
                  <a:pt x="195" y="244"/>
                </a:lnTo>
                <a:lnTo>
                  <a:pt x="198" y="241"/>
                </a:lnTo>
                <a:lnTo>
                  <a:pt x="202" y="237"/>
                </a:lnTo>
                <a:lnTo>
                  <a:pt x="205" y="232"/>
                </a:lnTo>
                <a:lnTo>
                  <a:pt x="206" y="227"/>
                </a:lnTo>
                <a:lnTo>
                  <a:pt x="209" y="222"/>
                </a:lnTo>
                <a:lnTo>
                  <a:pt x="209" y="221"/>
                </a:lnTo>
                <a:lnTo>
                  <a:pt x="209" y="219"/>
                </a:lnTo>
                <a:lnTo>
                  <a:pt x="209" y="216"/>
                </a:lnTo>
                <a:lnTo>
                  <a:pt x="207" y="213"/>
                </a:lnTo>
                <a:lnTo>
                  <a:pt x="206" y="211"/>
                </a:lnTo>
                <a:lnTo>
                  <a:pt x="204" y="210"/>
                </a:lnTo>
                <a:lnTo>
                  <a:pt x="200" y="206"/>
                </a:lnTo>
                <a:lnTo>
                  <a:pt x="200" y="205"/>
                </a:lnTo>
                <a:lnTo>
                  <a:pt x="200" y="203"/>
                </a:lnTo>
                <a:lnTo>
                  <a:pt x="198" y="201"/>
                </a:lnTo>
                <a:lnTo>
                  <a:pt x="198" y="199"/>
                </a:lnTo>
                <a:lnTo>
                  <a:pt x="200" y="197"/>
                </a:lnTo>
                <a:lnTo>
                  <a:pt x="187" y="188"/>
                </a:lnTo>
                <a:lnTo>
                  <a:pt x="178" y="183"/>
                </a:lnTo>
                <a:lnTo>
                  <a:pt x="176" y="180"/>
                </a:lnTo>
                <a:lnTo>
                  <a:pt x="174" y="178"/>
                </a:lnTo>
                <a:lnTo>
                  <a:pt x="177" y="125"/>
                </a:lnTo>
                <a:lnTo>
                  <a:pt x="177" y="121"/>
                </a:lnTo>
                <a:lnTo>
                  <a:pt x="180" y="115"/>
                </a:lnTo>
                <a:lnTo>
                  <a:pt x="183" y="109"/>
                </a:lnTo>
                <a:lnTo>
                  <a:pt x="186" y="104"/>
                </a:lnTo>
                <a:lnTo>
                  <a:pt x="191" y="99"/>
                </a:lnTo>
                <a:lnTo>
                  <a:pt x="195" y="95"/>
                </a:lnTo>
                <a:lnTo>
                  <a:pt x="200" y="90"/>
                </a:lnTo>
                <a:lnTo>
                  <a:pt x="202" y="89"/>
                </a:lnTo>
                <a:lnTo>
                  <a:pt x="209" y="85"/>
                </a:lnTo>
                <a:lnTo>
                  <a:pt x="215" y="82"/>
                </a:lnTo>
                <a:lnTo>
                  <a:pt x="218" y="80"/>
                </a:lnTo>
                <a:lnTo>
                  <a:pt x="220" y="78"/>
                </a:lnTo>
                <a:lnTo>
                  <a:pt x="223" y="75"/>
                </a:lnTo>
                <a:lnTo>
                  <a:pt x="223" y="73"/>
                </a:lnTo>
                <a:lnTo>
                  <a:pt x="223" y="71"/>
                </a:lnTo>
                <a:lnTo>
                  <a:pt x="223" y="67"/>
                </a:lnTo>
                <a:lnTo>
                  <a:pt x="222" y="63"/>
                </a:lnTo>
                <a:lnTo>
                  <a:pt x="220" y="59"/>
                </a:lnTo>
                <a:lnTo>
                  <a:pt x="219" y="56"/>
                </a:lnTo>
                <a:lnTo>
                  <a:pt x="211" y="56"/>
                </a:lnTo>
                <a:lnTo>
                  <a:pt x="207" y="59"/>
                </a:lnTo>
                <a:lnTo>
                  <a:pt x="211" y="56"/>
                </a:lnTo>
                <a:lnTo>
                  <a:pt x="219" y="56"/>
                </a:lnTo>
                <a:lnTo>
                  <a:pt x="220" y="59"/>
                </a:lnTo>
                <a:lnTo>
                  <a:pt x="222" y="63"/>
                </a:lnTo>
                <a:lnTo>
                  <a:pt x="223" y="67"/>
                </a:lnTo>
                <a:lnTo>
                  <a:pt x="223" y="71"/>
                </a:lnTo>
                <a:lnTo>
                  <a:pt x="223" y="73"/>
                </a:lnTo>
                <a:lnTo>
                  <a:pt x="223" y="75"/>
                </a:lnTo>
                <a:lnTo>
                  <a:pt x="220" y="78"/>
                </a:lnTo>
                <a:lnTo>
                  <a:pt x="218" y="80"/>
                </a:lnTo>
                <a:lnTo>
                  <a:pt x="215" y="82"/>
                </a:lnTo>
                <a:lnTo>
                  <a:pt x="209" y="85"/>
                </a:lnTo>
                <a:lnTo>
                  <a:pt x="205" y="86"/>
                </a:lnTo>
                <a:lnTo>
                  <a:pt x="202" y="89"/>
                </a:lnTo>
                <a:lnTo>
                  <a:pt x="200" y="90"/>
                </a:lnTo>
                <a:lnTo>
                  <a:pt x="195" y="95"/>
                </a:lnTo>
                <a:lnTo>
                  <a:pt x="186" y="104"/>
                </a:lnTo>
                <a:lnTo>
                  <a:pt x="183" y="109"/>
                </a:lnTo>
                <a:lnTo>
                  <a:pt x="180" y="112"/>
                </a:lnTo>
                <a:lnTo>
                  <a:pt x="180" y="115"/>
                </a:lnTo>
                <a:lnTo>
                  <a:pt x="177" y="121"/>
                </a:lnTo>
                <a:lnTo>
                  <a:pt x="177" y="125"/>
                </a:lnTo>
                <a:lnTo>
                  <a:pt x="174" y="178"/>
                </a:lnTo>
                <a:lnTo>
                  <a:pt x="177" y="125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28" name="Freeform 232">
            <a:extLst>
              <a:ext uri="{FF2B5EF4-FFF2-40B4-BE49-F238E27FC236}">
                <a16:creationId xmlns:a16="http://schemas.microsoft.com/office/drawing/2014/main" id="{CCB2636E-2641-6977-4DC8-11D47E966AF8}"/>
              </a:ext>
            </a:extLst>
          </p:cNvPr>
          <p:cNvSpPr>
            <a:spLocks/>
          </p:cNvSpPr>
          <p:nvPr/>
        </p:nvSpPr>
        <p:spPr bwMode="auto">
          <a:xfrm>
            <a:off x="3737938" y="4746471"/>
            <a:ext cx="163513" cy="69850"/>
          </a:xfrm>
          <a:custGeom>
            <a:avLst/>
            <a:gdLst>
              <a:gd name="T0" fmla="*/ 0 w 81"/>
              <a:gd name="T1" fmla="*/ 16 h 37"/>
              <a:gd name="T2" fmla="*/ 0 w 81"/>
              <a:gd name="T3" fmla="*/ 10 h 37"/>
              <a:gd name="T4" fmla="*/ 4 w 81"/>
              <a:gd name="T5" fmla="*/ 6 h 37"/>
              <a:gd name="T6" fmla="*/ 12 w 81"/>
              <a:gd name="T7" fmla="*/ 8 h 37"/>
              <a:gd name="T8" fmla="*/ 20 w 81"/>
              <a:gd name="T9" fmla="*/ 11 h 37"/>
              <a:gd name="T10" fmla="*/ 25 w 81"/>
              <a:gd name="T11" fmla="*/ 12 h 37"/>
              <a:gd name="T12" fmla="*/ 31 w 81"/>
              <a:gd name="T13" fmla="*/ 11 h 37"/>
              <a:gd name="T14" fmla="*/ 35 w 81"/>
              <a:gd name="T15" fmla="*/ 8 h 37"/>
              <a:gd name="T16" fmla="*/ 39 w 81"/>
              <a:gd name="T17" fmla="*/ 3 h 37"/>
              <a:gd name="T18" fmla="*/ 44 w 81"/>
              <a:gd name="T19" fmla="*/ 1 h 37"/>
              <a:gd name="T20" fmla="*/ 52 w 81"/>
              <a:gd name="T21" fmla="*/ 1 h 37"/>
              <a:gd name="T22" fmla="*/ 61 w 81"/>
              <a:gd name="T23" fmla="*/ 3 h 37"/>
              <a:gd name="T24" fmla="*/ 70 w 81"/>
              <a:gd name="T25" fmla="*/ 9 h 37"/>
              <a:gd name="T26" fmla="*/ 76 w 81"/>
              <a:gd name="T27" fmla="*/ 13 h 37"/>
              <a:gd name="T28" fmla="*/ 80 w 81"/>
              <a:gd name="T29" fmla="*/ 16 h 37"/>
              <a:gd name="T30" fmla="*/ 78 w 81"/>
              <a:gd name="T31" fmla="*/ 20 h 37"/>
              <a:gd name="T32" fmla="*/ 80 w 81"/>
              <a:gd name="T33" fmla="*/ 24 h 37"/>
              <a:gd name="T34" fmla="*/ 80 w 81"/>
              <a:gd name="T35" fmla="*/ 28 h 37"/>
              <a:gd name="T36" fmla="*/ 75 w 81"/>
              <a:gd name="T37" fmla="*/ 31 h 37"/>
              <a:gd name="T38" fmla="*/ 67 w 81"/>
              <a:gd name="T39" fmla="*/ 29 h 37"/>
              <a:gd name="T40" fmla="*/ 65 w 81"/>
              <a:gd name="T41" fmla="*/ 25 h 37"/>
              <a:gd name="T42" fmla="*/ 67 w 81"/>
              <a:gd name="T43" fmla="*/ 22 h 37"/>
              <a:gd name="T44" fmla="*/ 66 w 81"/>
              <a:gd name="T45" fmla="*/ 17 h 37"/>
              <a:gd name="T46" fmla="*/ 60 w 81"/>
              <a:gd name="T47" fmla="*/ 13 h 37"/>
              <a:gd name="T48" fmla="*/ 55 w 81"/>
              <a:gd name="T49" fmla="*/ 12 h 37"/>
              <a:gd name="T50" fmla="*/ 50 w 81"/>
              <a:gd name="T51" fmla="*/ 12 h 37"/>
              <a:gd name="T52" fmla="*/ 43 w 81"/>
              <a:gd name="T53" fmla="*/ 17 h 37"/>
              <a:gd name="T54" fmla="*/ 35 w 81"/>
              <a:gd name="T55" fmla="*/ 24 h 37"/>
              <a:gd name="T56" fmla="*/ 38 w 81"/>
              <a:gd name="T57" fmla="*/ 26 h 37"/>
              <a:gd name="T58" fmla="*/ 41 w 81"/>
              <a:gd name="T59" fmla="*/ 30 h 37"/>
              <a:gd name="T60" fmla="*/ 39 w 81"/>
              <a:gd name="T61" fmla="*/ 34 h 37"/>
              <a:gd name="T62" fmla="*/ 33 w 81"/>
              <a:gd name="T63" fmla="*/ 36 h 37"/>
              <a:gd name="T64" fmla="*/ 30 w 81"/>
              <a:gd name="T65" fmla="*/ 36 h 37"/>
              <a:gd name="T66" fmla="*/ 28 w 81"/>
              <a:gd name="T67" fmla="*/ 34 h 37"/>
              <a:gd name="T68" fmla="*/ 28 w 81"/>
              <a:gd name="T69" fmla="*/ 29 h 37"/>
              <a:gd name="T70" fmla="*/ 22 w 81"/>
              <a:gd name="T71" fmla="*/ 29 h 37"/>
              <a:gd name="T72" fmla="*/ 16 w 81"/>
              <a:gd name="T73" fmla="*/ 25 h 37"/>
              <a:gd name="T74" fmla="*/ 0 w 81"/>
              <a:gd name="T75" fmla="*/ 19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81" h="37">
                <a:moveTo>
                  <a:pt x="0" y="18"/>
                </a:moveTo>
                <a:lnTo>
                  <a:pt x="0" y="16"/>
                </a:lnTo>
                <a:lnTo>
                  <a:pt x="0" y="13"/>
                </a:lnTo>
                <a:lnTo>
                  <a:pt x="0" y="10"/>
                </a:lnTo>
                <a:lnTo>
                  <a:pt x="0" y="6"/>
                </a:lnTo>
                <a:lnTo>
                  <a:pt x="4" y="6"/>
                </a:lnTo>
                <a:lnTo>
                  <a:pt x="9" y="6"/>
                </a:lnTo>
                <a:lnTo>
                  <a:pt x="12" y="8"/>
                </a:lnTo>
                <a:lnTo>
                  <a:pt x="16" y="8"/>
                </a:lnTo>
                <a:lnTo>
                  <a:pt x="20" y="11"/>
                </a:lnTo>
                <a:lnTo>
                  <a:pt x="22" y="11"/>
                </a:lnTo>
                <a:lnTo>
                  <a:pt x="25" y="12"/>
                </a:lnTo>
                <a:lnTo>
                  <a:pt x="29" y="11"/>
                </a:lnTo>
                <a:lnTo>
                  <a:pt x="31" y="11"/>
                </a:lnTo>
                <a:lnTo>
                  <a:pt x="32" y="10"/>
                </a:lnTo>
                <a:lnTo>
                  <a:pt x="35" y="8"/>
                </a:lnTo>
                <a:lnTo>
                  <a:pt x="38" y="6"/>
                </a:lnTo>
                <a:lnTo>
                  <a:pt x="39" y="3"/>
                </a:lnTo>
                <a:lnTo>
                  <a:pt x="42" y="2"/>
                </a:lnTo>
                <a:lnTo>
                  <a:pt x="44" y="1"/>
                </a:lnTo>
                <a:lnTo>
                  <a:pt x="48" y="0"/>
                </a:lnTo>
                <a:lnTo>
                  <a:pt x="52" y="1"/>
                </a:lnTo>
                <a:lnTo>
                  <a:pt x="57" y="2"/>
                </a:lnTo>
                <a:lnTo>
                  <a:pt x="61" y="3"/>
                </a:lnTo>
                <a:lnTo>
                  <a:pt x="66" y="6"/>
                </a:lnTo>
                <a:lnTo>
                  <a:pt x="70" y="9"/>
                </a:lnTo>
                <a:lnTo>
                  <a:pt x="73" y="12"/>
                </a:lnTo>
                <a:lnTo>
                  <a:pt x="76" y="13"/>
                </a:lnTo>
                <a:lnTo>
                  <a:pt x="79" y="16"/>
                </a:lnTo>
                <a:lnTo>
                  <a:pt x="80" y="16"/>
                </a:lnTo>
                <a:lnTo>
                  <a:pt x="78" y="17"/>
                </a:lnTo>
                <a:lnTo>
                  <a:pt x="78" y="20"/>
                </a:lnTo>
                <a:lnTo>
                  <a:pt x="79" y="22"/>
                </a:lnTo>
                <a:lnTo>
                  <a:pt x="80" y="24"/>
                </a:lnTo>
                <a:lnTo>
                  <a:pt x="80" y="26"/>
                </a:lnTo>
                <a:lnTo>
                  <a:pt x="80" y="28"/>
                </a:lnTo>
                <a:lnTo>
                  <a:pt x="79" y="29"/>
                </a:lnTo>
                <a:lnTo>
                  <a:pt x="75" y="31"/>
                </a:lnTo>
                <a:lnTo>
                  <a:pt x="70" y="34"/>
                </a:lnTo>
                <a:lnTo>
                  <a:pt x="67" y="29"/>
                </a:lnTo>
                <a:lnTo>
                  <a:pt x="67" y="28"/>
                </a:lnTo>
                <a:lnTo>
                  <a:pt x="65" y="25"/>
                </a:lnTo>
                <a:lnTo>
                  <a:pt x="65" y="22"/>
                </a:lnTo>
                <a:lnTo>
                  <a:pt x="67" y="22"/>
                </a:lnTo>
                <a:lnTo>
                  <a:pt x="70" y="21"/>
                </a:lnTo>
                <a:lnTo>
                  <a:pt x="66" y="17"/>
                </a:lnTo>
                <a:lnTo>
                  <a:pt x="62" y="15"/>
                </a:lnTo>
                <a:lnTo>
                  <a:pt x="60" y="13"/>
                </a:lnTo>
                <a:lnTo>
                  <a:pt x="57" y="12"/>
                </a:lnTo>
                <a:lnTo>
                  <a:pt x="55" y="12"/>
                </a:lnTo>
                <a:lnTo>
                  <a:pt x="52" y="11"/>
                </a:lnTo>
                <a:lnTo>
                  <a:pt x="50" y="12"/>
                </a:lnTo>
                <a:lnTo>
                  <a:pt x="48" y="13"/>
                </a:lnTo>
                <a:lnTo>
                  <a:pt x="43" y="17"/>
                </a:lnTo>
                <a:lnTo>
                  <a:pt x="38" y="22"/>
                </a:lnTo>
                <a:lnTo>
                  <a:pt x="35" y="24"/>
                </a:lnTo>
                <a:lnTo>
                  <a:pt x="35" y="25"/>
                </a:lnTo>
                <a:lnTo>
                  <a:pt x="38" y="26"/>
                </a:lnTo>
                <a:lnTo>
                  <a:pt x="41" y="26"/>
                </a:lnTo>
                <a:lnTo>
                  <a:pt x="41" y="30"/>
                </a:lnTo>
                <a:lnTo>
                  <a:pt x="40" y="32"/>
                </a:lnTo>
                <a:lnTo>
                  <a:pt x="39" y="34"/>
                </a:lnTo>
                <a:lnTo>
                  <a:pt x="36" y="36"/>
                </a:lnTo>
                <a:lnTo>
                  <a:pt x="33" y="36"/>
                </a:lnTo>
                <a:lnTo>
                  <a:pt x="31" y="36"/>
                </a:lnTo>
                <a:lnTo>
                  <a:pt x="30" y="36"/>
                </a:lnTo>
                <a:lnTo>
                  <a:pt x="29" y="35"/>
                </a:lnTo>
                <a:lnTo>
                  <a:pt x="28" y="34"/>
                </a:lnTo>
                <a:lnTo>
                  <a:pt x="28" y="31"/>
                </a:lnTo>
                <a:lnTo>
                  <a:pt x="28" y="29"/>
                </a:lnTo>
                <a:lnTo>
                  <a:pt x="25" y="29"/>
                </a:lnTo>
                <a:lnTo>
                  <a:pt x="22" y="29"/>
                </a:lnTo>
                <a:lnTo>
                  <a:pt x="19" y="26"/>
                </a:lnTo>
                <a:lnTo>
                  <a:pt x="16" y="25"/>
                </a:lnTo>
                <a:lnTo>
                  <a:pt x="12" y="22"/>
                </a:lnTo>
                <a:lnTo>
                  <a:pt x="0" y="19"/>
                </a:lnTo>
                <a:lnTo>
                  <a:pt x="0" y="18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29" name="Freeform 233">
            <a:extLst>
              <a:ext uri="{FF2B5EF4-FFF2-40B4-BE49-F238E27FC236}">
                <a16:creationId xmlns:a16="http://schemas.microsoft.com/office/drawing/2014/main" id="{DD753DF1-80C3-F82E-8791-7170BAE073F9}"/>
              </a:ext>
            </a:extLst>
          </p:cNvPr>
          <p:cNvSpPr>
            <a:spLocks/>
          </p:cNvSpPr>
          <p:nvPr/>
        </p:nvSpPr>
        <p:spPr bwMode="auto">
          <a:xfrm>
            <a:off x="4676150" y="5013171"/>
            <a:ext cx="73025" cy="55563"/>
          </a:xfrm>
          <a:custGeom>
            <a:avLst/>
            <a:gdLst>
              <a:gd name="T0" fmla="*/ 0 w 36"/>
              <a:gd name="T1" fmla="*/ 19 h 30"/>
              <a:gd name="T2" fmla="*/ 1 w 36"/>
              <a:gd name="T3" fmla="*/ 24 h 30"/>
              <a:gd name="T4" fmla="*/ 7 w 36"/>
              <a:gd name="T5" fmla="*/ 26 h 30"/>
              <a:gd name="T6" fmla="*/ 14 w 36"/>
              <a:gd name="T7" fmla="*/ 28 h 30"/>
              <a:gd name="T8" fmla="*/ 19 w 36"/>
              <a:gd name="T9" fmla="*/ 28 h 30"/>
              <a:gd name="T10" fmla="*/ 23 w 36"/>
              <a:gd name="T11" fmla="*/ 29 h 30"/>
              <a:gd name="T12" fmla="*/ 25 w 36"/>
              <a:gd name="T13" fmla="*/ 28 h 30"/>
              <a:gd name="T14" fmla="*/ 26 w 36"/>
              <a:gd name="T15" fmla="*/ 27 h 30"/>
              <a:gd name="T16" fmla="*/ 28 w 36"/>
              <a:gd name="T17" fmla="*/ 26 h 30"/>
              <a:gd name="T18" fmla="*/ 30 w 36"/>
              <a:gd name="T19" fmla="*/ 22 h 30"/>
              <a:gd name="T20" fmla="*/ 32 w 36"/>
              <a:gd name="T21" fmla="*/ 19 h 30"/>
              <a:gd name="T22" fmla="*/ 34 w 36"/>
              <a:gd name="T23" fmla="*/ 11 h 30"/>
              <a:gd name="T24" fmla="*/ 35 w 36"/>
              <a:gd name="T25" fmla="*/ 6 h 30"/>
              <a:gd name="T26" fmla="*/ 30 w 36"/>
              <a:gd name="T27" fmla="*/ 6 h 30"/>
              <a:gd name="T28" fmla="*/ 26 w 36"/>
              <a:gd name="T29" fmla="*/ 5 h 30"/>
              <a:gd name="T30" fmla="*/ 19 w 36"/>
              <a:gd name="T31" fmla="*/ 3 h 30"/>
              <a:gd name="T32" fmla="*/ 12 w 36"/>
              <a:gd name="T33" fmla="*/ 0 h 30"/>
              <a:gd name="T34" fmla="*/ 10 w 36"/>
              <a:gd name="T35" fmla="*/ 0 h 30"/>
              <a:gd name="T36" fmla="*/ 7 w 36"/>
              <a:gd name="T37" fmla="*/ 0 h 30"/>
              <a:gd name="T38" fmla="*/ 5 w 36"/>
              <a:gd name="T39" fmla="*/ 0 h 30"/>
              <a:gd name="T40" fmla="*/ 3 w 36"/>
              <a:gd name="T41" fmla="*/ 2 h 30"/>
              <a:gd name="T42" fmla="*/ 1 w 36"/>
              <a:gd name="T43" fmla="*/ 4 h 30"/>
              <a:gd name="T44" fmla="*/ 1 w 36"/>
              <a:gd name="T45" fmla="*/ 5 h 30"/>
              <a:gd name="T46" fmla="*/ 1 w 36"/>
              <a:gd name="T47" fmla="*/ 9 h 30"/>
              <a:gd name="T48" fmla="*/ 0 w 36"/>
              <a:gd name="T49" fmla="*/ 12 h 30"/>
              <a:gd name="T50" fmla="*/ 0 w 36"/>
              <a:gd name="T51" fmla="*/ 16 h 30"/>
              <a:gd name="T52" fmla="*/ 0 w 36"/>
              <a:gd name="T53" fmla="*/ 19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36" h="30">
                <a:moveTo>
                  <a:pt x="0" y="19"/>
                </a:moveTo>
                <a:lnTo>
                  <a:pt x="1" y="24"/>
                </a:lnTo>
                <a:lnTo>
                  <a:pt x="7" y="26"/>
                </a:lnTo>
                <a:lnTo>
                  <a:pt x="14" y="28"/>
                </a:lnTo>
                <a:lnTo>
                  <a:pt x="19" y="28"/>
                </a:lnTo>
                <a:lnTo>
                  <a:pt x="23" y="29"/>
                </a:lnTo>
                <a:lnTo>
                  <a:pt x="25" y="28"/>
                </a:lnTo>
                <a:lnTo>
                  <a:pt x="26" y="27"/>
                </a:lnTo>
                <a:lnTo>
                  <a:pt x="28" y="26"/>
                </a:lnTo>
                <a:lnTo>
                  <a:pt x="30" y="22"/>
                </a:lnTo>
                <a:lnTo>
                  <a:pt x="32" y="19"/>
                </a:lnTo>
                <a:lnTo>
                  <a:pt x="34" y="11"/>
                </a:lnTo>
                <a:lnTo>
                  <a:pt x="35" y="6"/>
                </a:lnTo>
                <a:lnTo>
                  <a:pt x="30" y="6"/>
                </a:lnTo>
                <a:lnTo>
                  <a:pt x="26" y="5"/>
                </a:lnTo>
                <a:lnTo>
                  <a:pt x="19" y="3"/>
                </a:lnTo>
                <a:lnTo>
                  <a:pt x="12" y="0"/>
                </a:lnTo>
                <a:lnTo>
                  <a:pt x="10" y="0"/>
                </a:lnTo>
                <a:lnTo>
                  <a:pt x="7" y="0"/>
                </a:lnTo>
                <a:lnTo>
                  <a:pt x="5" y="0"/>
                </a:lnTo>
                <a:lnTo>
                  <a:pt x="3" y="2"/>
                </a:lnTo>
                <a:lnTo>
                  <a:pt x="1" y="4"/>
                </a:lnTo>
                <a:lnTo>
                  <a:pt x="1" y="5"/>
                </a:lnTo>
                <a:lnTo>
                  <a:pt x="1" y="9"/>
                </a:lnTo>
                <a:lnTo>
                  <a:pt x="0" y="12"/>
                </a:lnTo>
                <a:lnTo>
                  <a:pt x="0" y="16"/>
                </a:lnTo>
                <a:lnTo>
                  <a:pt x="0" y="19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30" name="Freeform 234">
            <a:extLst>
              <a:ext uri="{FF2B5EF4-FFF2-40B4-BE49-F238E27FC236}">
                <a16:creationId xmlns:a16="http://schemas.microsoft.com/office/drawing/2014/main" id="{8477A7F9-93B4-EFFE-2109-5E96A4133B51}"/>
              </a:ext>
            </a:extLst>
          </p:cNvPr>
          <p:cNvSpPr>
            <a:spLocks/>
          </p:cNvSpPr>
          <p:nvPr/>
        </p:nvSpPr>
        <p:spPr bwMode="auto">
          <a:xfrm>
            <a:off x="4357063" y="4714721"/>
            <a:ext cx="34925" cy="31750"/>
          </a:xfrm>
          <a:custGeom>
            <a:avLst/>
            <a:gdLst>
              <a:gd name="T0" fmla="*/ 10 w 17"/>
              <a:gd name="T1" fmla="*/ 16 h 17"/>
              <a:gd name="T2" fmla="*/ 12 w 17"/>
              <a:gd name="T3" fmla="*/ 16 h 17"/>
              <a:gd name="T4" fmla="*/ 14 w 17"/>
              <a:gd name="T5" fmla="*/ 12 h 17"/>
              <a:gd name="T6" fmla="*/ 16 w 17"/>
              <a:gd name="T7" fmla="*/ 9 h 17"/>
              <a:gd name="T8" fmla="*/ 16 w 17"/>
              <a:gd name="T9" fmla="*/ 6 h 17"/>
              <a:gd name="T10" fmla="*/ 16 w 17"/>
              <a:gd name="T11" fmla="*/ 5 h 17"/>
              <a:gd name="T12" fmla="*/ 12 w 17"/>
              <a:gd name="T13" fmla="*/ 3 h 17"/>
              <a:gd name="T14" fmla="*/ 7 w 17"/>
              <a:gd name="T15" fmla="*/ 0 h 17"/>
              <a:gd name="T16" fmla="*/ 4 w 17"/>
              <a:gd name="T17" fmla="*/ 6 h 17"/>
              <a:gd name="T18" fmla="*/ 0 w 17"/>
              <a:gd name="T19" fmla="*/ 16 h 17"/>
              <a:gd name="T20" fmla="*/ 5 w 17"/>
              <a:gd name="T21" fmla="*/ 16 h 17"/>
              <a:gd name="T22" fmla="*/ 10 w 17"/>
              <a:gd name="T23" fmla="*/ 16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7" h="17">
                <a:moveTo>
                  <a:pt x="10" y="16"/>
                </a:moveTo>
                <a:lnTo>
                  <a:pt x="12" y="16"/>
                </a:lnTo>
                <a:lnTo>
                  <a:pt x="14" y="12"/>
                </a:lnTo>
                <a:lnTo>
                  <a:pt x="16" y="9"/>
                </a:lnTo>
                <a:lnTo>
                  <a:pt x="16" y="6"/>
                </a:lnTo>
                <a:lnTo>
                  <a:pt x="16" y="5"/>
                </a:lnTo>
                <a:lnTo>
                  <a:pt x="12" y="3"/>
                </a:lnTo>
                <a:lnTo>
                  <a:pt x="7" y="0"/>
                </a:lnTo>
                <a:lnTo>
                  <a:pt x="4" y="6"/>
                </a:lnTo>
                <a:lnTo>
                  <a:pt x="0" y="16"/>
                </a:lnTo>
                <a:lnTo>
                  <a:pt x="5" y="16"/>
                </a:lnTo>
                <a:lnTo>
                  <a:pt x="10" y="16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31" name="Freeform 235">
            <a:extLst>
              <a:ext uri="{FF2B5EF4-FFF2-40B4-BE49-F238E27FC236}">
                <a16:creationId xmlns:a16="http://schemas.microsoft.com/office/drawing/2014/main" id="{B43E5C2B-E341-1B8E-07ED-5A6071A3A492}"/>
              </a:ext>
            </a:extLst>
          </p:cNvPr>
          <p:cNvSpPr>
            <a:spLocks/>
          </p:cNvSpPr>
          <p:nvPr/>
        </p:nvSpPr>
        <p:spPr bwMode="auto">
          <a:xfrm>
            <a:off x="3655388" y="4671859"/>
            <a:ext cx="101600" cy="92075"/>
          </a:xfrm>
          <a:custGeom>
            <a:avLst/>
            <a:gdLst>
              <a:gd name="T0" fmla="*/ 34 w 50"/>
              <a:gd name="T1" fmla="*/ 5 h 49"/>
              <a:gd name="T2" fmla="*/ 36 w 50"/>
              <a:gd name="T3" fmla="*/ 12 h 49"/>
              <a:gd name="T4" fmla="*/ 40 w 50"/>
              <a:gd name="T5" fmla="*/ 20 h 49"/>
              <a:gd name="T6" fmla="*/ 45 w 50"/>
              <a:gd name="T7" fmla="*/ 25 h 49"/>
              <a:gd name="T8" fmla="*/ 47 w 50"/>
              <a:gd name="T9" fmla="*/ 28 h 49"/>
              <a:gd name="T10" fmla="*/ 49 w 50"/>
              <a:gd name="T11" fmla="*/ 30 h 49"/>
              <a:gd name="T12" fmla="*/ 43 w 50"/>
              <a:gd name="T13" fmla="*/ 30 h 49"/>
              <a:gd name="T14" fmla="*/ 42 w 50"/>
              <a:gd name="T15" fmla="*/ 30 h 49"/>
              <a:gd name="T16" fmla="*/ 41 w 50"/>
              <a:gd name="T17" fmla="*/ 30 h 49"/>
              <a:gd name="T18" fmla="*/ 40 w 50"/>
              <a:gd name="T19" fmla="*/ 48 h 49"/>
              <a:gd name="T20" fmla="*/ 30 w 50"/>
              <a:gd name="T21" fmla="*/ 42 h 49"/>
              <a:gd name="T22" fmla="*/ 30 w 50"/>
              <a:gd name="T23" fmla="*/ 40 h 49"/>
              <a:gd name="T24" fmla="*/ 30 w 50"/>
              <a:gd name="T25" fmla="*/ 38 h 49"/>
              <a:gd name="T26" fmla="*/ 31 w 50"/>
              <a:gd name="T27" fmla="*/ 35 h 49"/>
              <a:gd name="T28" fmla="*/ 29 w 50"/>
              <a:gd name="T29" fmla="*/ 34 h 49"/>
              <a:gd name="T30" fmla="*/ 26 w 50"/>
              <a:gd name="T31" fmla="*/ 30 h 49"/>
              <a:gd name="T32" fmla="*/ 21 w 50"/>
              <a:gd name="T33" fmla="*/ 24 h 49"/>
              <a:gd name="T34" fmla="*/ 16 w 50"/>
              <a:gd name="T35" fmla="*/ 18 h 49"/>
              <a:gd name="T36" fmla="*/ 13 w 50"/>
              <a:gd name="T37" fmla="*/ 17 h 49"/>
              <a:gd name="T38" fmla="*/ 10 w 50"/>
              <a:gd name="T39" fmla="*/ 16 h 49"/>
              <a:gd name="T40" fmla="*/ 12 w 50"/>
              <a:gd name="T41" fmla="*/ 18 h 49"/>
              <a:gd name="T42" fmla="*/ 12 w 50"/>
              <a:gd name="T43" fmla="*/ 20 h 49"/>
              <a:gd name="T44" fmla="*/ 14 w 50"/>
              <a:gd name="T45" fmla="*/ 25 h 49"/>
              <a:gd name="T46" fmla="*/ 12 w 50"/>
              <a:gd name="T47" fmla="*/ 25 h 49"/>
              <a:gd name="T48" fmla="*/ 10 w 50"/>
              <a:gd name="T49" fmla="*/ 25 h 49"/>
              <a:gd name="T50" fmla="*/ 8 w 50"/>
              <a:gd name="T51" fmla="*/ 24 h 49"/>
              <a:gd name="T52" fmla="*/ 6 w 50"/>
              <a:gd name="T53" fmla="*/ 22 h 49"/>
              <a:gd name="T54" fmla="*/ 4 w 50"/>
              <a:gd name="T55" fmla="*/ 21 h 49"/>
              <a:gd name="T56" fmla="*/ 3 w 50"/>
              <a:gd name="T57" fmla="*/ 19 h 49"/>
              <a:gd name="T58" fmla="*/ 1 w 50"/>
              <a:gd name="T59" fmla="*/ 17 h 49"/>
              <a:gd name="T60" fmla="*/ 0 w 50"/>
              <a:gd name="T61" fmla="*/ 16 h 49"/>
              <a:gd name="T62" fmla="*/ 0 w 50"/>
              <a:gd name="T63" fmla="*/ 13 h 49"/>
              <a:gd name="T64" fmla="*/ 0 w 50"/>
              <a:gd name="T65" fmla="*/ 12 h 49"/>
              <a:gd name="T66" fmla="*/ 0 w 50"/>
              <a:gd name="T67" fmla="*/ 10 h 49"/>
              <a:gd name="T68" fmla="*/ 3 w 50"/>
              <a:gd name="T69" fmla="*/ 7 h 49"/>
              <a:gd name="T70" fmla="*/ 4 w 50"/>
              <a:gd name="T71" fmla="*/ 3 h 49"/>
              <a:gd name="T72" fmla="*/ 4 w 50"/>
              <a:gd name="T73" fmla="*/ 2 h 49"/>
              <a:gd name="T74" fmla="*/ 4 w 50"/>
              <a:gd name="T75" fmla="*/ 0 h 49"/>
              <a:gd name="T76" fmla="*/ 12 w 50"/>
              <a:gd name="T77" fmla="*/ 2 h 49"/>
              <a:gd name="T78" fmla="*/ 18 w 50"/>
              <a:gd name="T79" fmla="*/ 4 h 49"/>
              <a:gd name="T80" fmla="*/ 22 w 50"/>
              <a:gd name="T81" fmla="*/ 4 h 49"/>
              <a:gd name="T82" fmla="*/ 27 w 50"/>
              <a:gd name="T83" fmla="*/ 5 h 49"/>
              <a:gd name="T84" fmla="*/ 35 w 50"/>
              <a:gd name="T85" fmla="*/ 6 h 49"/>
              <a:gd name="T86" fmla="*/ 34 w 50"/>
              <a:gd name="T87" fmla="*/ 5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0" h="49">
                <a:moveTo>
                  <a:pt x="34" y="5"/>
                </a:moveTo>
                <a:lnTo>
                  <a:pt x="36" y="12"/>
                </a:lnTo>
                <a:lnTo>
                  <a:pt x="40" y="20"/>
                </a:lnTo>
                <a:lnTo>
                  <a:pt x="45" y="25"/>
                </a:lnTo>
                <a:lnTo>
                  <a:pt x="47" y="28"/>
                </a:lnTo>
                <a:lnTo>
                  <a:pt x="49" y="30"/>
                </a:lnTo>
                <a:lnTo>
                  <a:pt x="43" y="30"/>
                </a:lnTo>
                <a:lnTo>
                  <a:pt x="42" y="30"/>
                </a:lnTo>
                <a:lnTo>
                  <a:pt x="41" y="30"/>
                </a:lnTo>
                <a:lnTo>
                  <a:pt x="40" y="48"/>
                </a:lnTo>
                <a:lnTo>
                  <a:pt x="30" y="42"/>
                </a:lnTo>
                <a:lnTo>
                  <a:pt x="30" y="40"/>
                </a:lnTo>
                <a:lnTo>
                  <a:pt x="30" y="38"/>
                </a:lnTo>
                <a:lnTo>
                  <a:pt x="31" y="35"/>
                </a:lnTo>
                <a:lnTo>
                  <a:pt x="29" y="34"/>
                </a:lnTo>
                <a:lnTo>
                  <a:pt x="26" y="30"/>
                </a:lnTo>
                <a:lnTo>
                  <a:pt x="21" y="24"/>
                </a:lnTo>
                <a:lnTo>
                  <a:pt x="16" y="18"/>
                </a:lnTo>
                <a:lnTo>
                  <a:pt x="13" y="17"/>
                </a:lnTo>
                <a:lnTo>
                  <a:pt x="10" y="16"/>
                </a:lnTo>
                <a:lnTo>
                  <a:pt x="12" y="18"/>
                </a:lnTo>
                <a:lnTo>
                  <a:pt x="12" y="20"/>
                </a:lnTo>
                <a:lnTo>
                  <a:pt x="14" y="25"/>
                </a:lnTo>
                <a:lnTo>
                  <a:pt x="12" y="25"/>
                </a:lnTo>
                <a:lnTo>
                  <a:pt x="10" y="25"/>
                </a:lnTo>
                <a:lnTo>
                  <a:pt x="8" y="24"/>
                </a:lnTo>
                <a:lnTo>
                  <a:pt x="6" y="22"/>
                </a:lnTo>
                <a:lnTo>
                  <a:pt x="4" y="21"/>
                </a:lnTo>
                <a:lnTo>
                  <a:pt x="3" y="19"/>
                </a:lnTo>
                <a:lnTo>
                  <a:pt x="1" y="17"/>
                </a:lnTo>
                <a:lnTo>
                  <a:pt x="0" y="16"/>
                </a:lnTo>
                <a:lnTo>
                  <a:pt x="0" y="13"/>
                </a:lnTo>
                <a:lnTo>
                  <a:pt x="0" y="12"/>
                </a:lnTo>
                <a:lnTo>
                  <a:pt x="0" y="10"/>
                </a:lnTo>
                <a:lnTo>
                  <a:pt x="3" y="7"/>
                </a:lnTo>
                <a:lnTo>
                  <a:pt x="4" y="3"/>
                </a:lnTo>
                <a:lnTo>
                  <a:pt x="4" y="2"/>
                </a:lnTo>
                <a:lnTo>
                  <a:pt x="4" y="0"/>
                </a:lnTo>
                <a:lnTo>
                  <a:pt x="12" y="2"/>
                </a:lnTo>
                <a:lnTo>
                  <a:pt x="18" y="4"/>
                </a:lnTo>
                <a:lnTo>
                  <a:pt x="22" y="4"/>
                </a:lnTo>
                <a:lnTo>
                  <a:pt x="27" y="5"/>
                </a:lnTo>
                <a:lnTo>
                  <a:pt x="35" y="6"/>
                </a:lnTo>
                <a:lnTo>
                  <a:pt x="34" y="5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32" name="Freeform 236">
            <a:extLst>
              <a:ext uri="{FF2B5EF4-FFF2-40B4-BE49-F238E27FC236}">
                <a16:creationId xmlns:a16="http://schemas.microsoft.com/office/drawing/2014/main" id="{1975DD3E-38BA-8593-39E8-B1753C164576}"/>
              </a:ext>
            </a:extLst>
          </p:cNvPr>
          <p:cNvSpPr>
            <a:spLocks/>
          </p:cNvSpPr>
          <p:nvPr/>
        </p:nvSpPr>
        <p:spPr bwMode="auto">
          <a:xfrm>
            <a:off x="3614113" y="4533746"/>
            <a:ext cx="131763" cy="150813"/>
          </a:xfrm>
          <a:custGeom>
            <a:avLst/>
            <a:gdLst>
              <a:gd name="T0" fmla="*/ 64 w 65"/>
              <a:gd name="T1" fmla="*/ 0 h 81"/>
              <a:gd name="T2" fmla="*/ 64 w 65"/>
              <a:gd name="T3" fmla="*/ 3 h 81"/>
              <a:gd name="T4" fmla="*/ 64 w 65"/>
              <a:gd name="T5" fmla="*/ 6 h 81"/>
              <a:gd name="T6" fmla="*/ 63 w 65"/>
              <a:gd name="T7" fmla="*/ 10 h 81"/>
              <a:gd name="T8" fmla="*/ 60 w 65"/>
              <a:gd name="T9" fmla="*/ 19 h 81"/>
              <a:gd name="T10" fmla="*/ 58 w 65"/>
              <a:gd name="T11" fmla="*/ 28 h 81"/>
              <a:gd name="T12" fmla="*/ 58 w 65"/>
              <a:gd name="T13" fmla="*/ 33 h 81"/>
              <a:gd name="T14" fmla="*/ 57 w 65"/>
              <a:gd name="T15" fmla="*/ 38 h 81"/>
              <a:gd name="T16" fmla="*/ 57 w 65"/>
              <a:gd name="T17" fmla="*/ 42 h 81"/>
              <a:gd name="T18" fmla="*/ 56 w 65"/>
              <a:gd name="T19" fmla="*/ 46 h 81"/>
              <a:gd name="T20" fmla="*/ 55 w 65"/>
              <a:gd name="T21" fmla="*/ 49 h 81"/>
              <a:gd name="T22" fmla="*/ 54 w 65"/>
              <a:gd name="T23" fmla="*/ 51 h 81"/>
              <a:gd name="T24" fmla="*/ 51 w 65"/>
              <a:gd name="T25" fmla="*/ 55 h 81"/>
              <a:gd name="T26" fmla="*/ 51 w 65"/>
              <a:gd name="T27" fmla="*/ 59 h 81"/>
              <a:gd name="T28" fmla="*/ 50 w 65"/>
              <a:gd name="T29" fmla="*/ 63 h 81"/>
              <a:gd name="T30" fmla="*/ 50 w 65"/>
              <a:gd name="T31" fmla="*/ 67 h 81"/>
              <a:gd name="T32" fmla="*/ 51 w 65"/>
              <a:gd name="T33" fmla="*/ 72 h 81"/>
              <a:gd name="T34" fmla="*/ 51 w 65"/>
              <a:gd name="T35" fmla="*/ 75 h 81"/>
              <a:gd name="T36" fmla="*/ 54 w 65"/>
              <a:gd name="T37" fmla="*/ 80 h 81"/>
              <a:gd name="T38" fmla="*/ 45 w 65"/>
              <a:gd name="T39" fmla="*/ 80 h 81"/>
              <a:gd name="T40" fmla="*/ 38 w 65"/>
              <a:gd name="T41" fmla="*/ 78 h 81"/>
              <a:gd name="T42" fmla="*/ 31 w 65"/>
              <a:gd name="T43" fmla="*/ 76 h 81"/>
              <a:gd name="T44" fmla="*/ 23 w 65"/>
              <a:gd name="T45" fmla="*/ 74 h 81"/>
              <a:gd name="T46" fmla="*/ 23 w 65"/>
              <a:gd name="T47" fmla="*/ 72 h 81"/>
              <a:gd name="T48" fmla="*/ 22 w 65"/>
              <a:gd name="T49" fmla="*/ 69 h 81"/>
              <a:gd name="T50" fmla="*/ 22 w 65"/>
              <a:gd name="T51" fmla="*/ 68 h 81"/>
              <a:gd name="T52" fmla="*/ 19 w 65"/>
              <a:gd name="T53" fmla="*/ 66 h 81"/>
              <a:gd name="T54" fmla="*/ 16 w 65"/>
              <a:gd name="T55" fmla="*/ 63 h 81"/>
              <a:gd name="T56" fmla="*/ 14 w 65"/>
              <a:gd name="T57" fmla="*/ 61 h 81"/>
              <a:gd name="T58" fmla="*/ 10 w 65"/>
              <a:gd name="T59" fmla="*/ 56 h 81"/>
              <a:gd name="T60" fmla="*/ 6 w 65"/>
              <a:gd name="T61" fmla="*/ 51 h 81"/>
              <a:gd name="T62" fmla="*/ 3 w 65"/>
              <a:gd name="T63" fmla="*/ 45 h 81"/>
              <a:gd name="T64" fmla="*/ 0 w 65"/>
              <a:gd name="T65" fmla="*/ 38 h 81"/>
              <a:gd name="T66" fmla="*/ 5 w 65"/>
              <a:gd name="T67" fmla="*/ 38 h 81"/>
              <a:gd name="T68" fmla="*/ 7 w 65"/>
              <a:gd name="T69" fmla="*/ 35 h 81"/>
              <a:gd name="T70" fmla="*/ 9 w 65"/>
              <a:gd name="T71" fmla="*/ 32 h 81"/>
              <a:gd name="T72" fmla="*/ 9 w 65"/>
              <a:gd name="T73" fmla="*/ 29 h 81"/>
              <a:gd name="T74" fmla="*/ 10 w 65"/>
              <a:gd name="T75" fmla="*/ 25 h 81"/>
              <a:gd name="T76" fmla="*/ 12 w 65"/>
              <a:gd name="T77" fmla="*/ 23 h 81"/>
              <a:gd name="T78" fmla="*/ 14 w 65"/>
              <a:gd name="T79" fmla="*/ 22 h 81"/>
              <a:gd name="T80" fmla="*/ 16 w 65"/>
              <a:gd name="T81" fmla="*/ 20 h 81"/>
              <a:gd name="T82" fmla="*/ 19 w 65"/>
              <a:gd name="T83" fmla="*/ 20 h 81"/>
              <a:gd name="T84" fmla="*/ 24 w 65"/>
              <a:gd name="T85" fmla="*/ 20 h 81"/>
              <a:gd name="T86" fmla="*/ 27 w 65"/>
              <a:gd name="T87" fmla="*/ 20 h 81"/>
              <a:gd name="T88" fmla="*/ 28 w 65"/>
              <a:gd name="T89" fmla="*/ 18 h 81"/>
              <a:gd name="T90" fmla="*/ 32 w 65"/>
              <a:gd name="T91" fmla="*/ 13 h 81"/>
              <a:gd name="T92" fmla="*/ 35 w 65"/>
              <a:gd name="T93" fmla="*/ 9 h 81"/>
              <a:gd name="T94" fmla="*/ 37 w 65"/>
              <a:gd name="T95" fmla="*/ 6 h 81"/>
              <a:gd name="T96" fmla="*/ 38 w 65"/>
              <a:gd name="T97" fmla="*/ 5 h 81"/>
              <a:gd name="T98" fmla="*/ 40 w 65"/>
              <a:gd name="T99" fmla="*/ 4 h 81"/>
              <a:gd name="T100" fmla="*/ 41 w 65"/>
              <a:gd name="T101" fmla="*/ 3 h 81"/>
              <a:gd name="T102" fmla="*/ 43 w 65"/>
              <a:gd name="T103" fmla="*/ 4 h 81"/>
              <a:gd name="T104" fmla="*/ 44 w 65"/>
              <a:gd name="T105" fmla="*/ 4 h 81"/>
              <a:gd name="T106" fmla="*/ 45 w 65"/>
              <a:gd name="T107" fmla="*/ 5 h 81"/>
              <a:gd name="T108" fmla="*/ 47 w 65"/>
              <a:gd name="T109" fmla="*/ 6 h 81"/>
              <a:gd name="T110" fmla="*/ 50 w 65"/>
              <a:gd name="T111" fmla="*/ 5 h 81"/>
              <a:gd name="T112" fmla="*/ 51 w 65"/>
              <a:gd name="T113" fmla="*/ 5 h 81"/>
              <a:gd name="T114" fmla="*/ 55 w 65"/>
              <a:gd name="T115" fmla="*/ 3 h 81"/>
              <a:gd name="T116" fmla="*/ 59 w 65"/>
              <a:gd name="T117" fmla="*/ 1 h 81"/>
              <a:gd name="T118" fmla="*/ 60 w 65"/>
              <a:gd name="T119" fmla="*/ 0 h 81"/>
              <a:gd name="T120" fmla="*/ 63 w 65"/>
              <a:gd name="T121" fmla="*/ 0 h 81"/>
              <a:gd name="T122" fmla="*/ 64 w 65"/>
              <a:gd name="T123" fmla="*/ 0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5" h="81">
                <a:moveTo>
                  <a:pt x="64" y="0"/>
                </a:moveTo>
                <a:lnTo>
                  <a:pt x="64" y="3"/>
                </a:lnTo>
                <a:lnTo>
                  <a:pt x="64" y="6"/>
                </a:lnTo>
                <a:lnTo>
                  <a:pt x="63" y="10"/>
                </a:lnTo>
                <a:lnTo>
                  <a:pt x="60" y="19"/>
                </a:lnTo>
                <a:lnTo>
                  <a:pt x="58" y="28"/>
                </a:lnTo>
                <a:lnTo>
                  <a:pt x="58" y="33"/>
                </a:lnTo>
                <a:lnTo>
                  <a:pt x="57" y="38"/>
                </a:lnTo>
                <a:lnTo>
                  <a:pt x="57" y="42"/>
                </a:lnTo>
                <a:lnTo>
                  <a:pt x="56" y="46"/>
                </a:lnTo>
                <a:lnTo>
                  <a:pt x="55" y="49"/>
                </a:lnTo>
                <a:lnTo>
                  <a:pt x="54" y="51"/>
                </a:lnTo>
                <a:lnTo>
                  <a:pt x="51" y="55"/>
                </a:lnTo>
                <a:lnTo>
                  <a:pt x="51" y="59"/>
                </a:lnTo>
                <a:lnTo>
                  <a:pt x="50" y="63"/>
                </a:lnTo>
                <a:lnTo>
                  <a:pt x="50" y="67"/>
                </a:lnTo>
                <a:lnTo>
                  <a:pt x="51" y="72"/>
                </a:lnTo>
                <a:lnTo>
                  <a:pt x="51" y="75"/>
                </a:lnTo>
                <a:lnTo>
                  <a:pt x="54" y="80"/>
                </a:lnTo>
                <a:lnTo>
                  <a:pt x="45" y="80"/>
                </a:lnTo>
                <a:lnTo>
                  <a:pt x="38" y="78"/>
                </a:lnTo>
                <a:lnTo>
                  <a:pt x="31" y="76"/>
                </a:lnTo>
                <a:lnTo>
                  <a:pt x="23" y="74"/>
                </a:lnTo>
                <a:lnTo>
                  <a:pt x="23" y="72"/>
                </a:lnTo>
                <a:lnTo>
                  <a:pt x="22" y="69"/>
                </a:lnTo>
                <a:lnTo>
                  <a:pt x="22" y="68"/>
                </a:lnTo>
                <a:lnTo>
                  <a:pt x="19" y="66"/>
                </a:lnTo>
                <a:lnTo>
                  <a:pt x="16" y="63"/>
                </a:lnTo>
                <a:lnTo>
                  <a:pt x="14" y="61"/>
                </a:lnTo>
                <a:lnTo>
                  <a:pt x="10" y="56"/>
                </a:lnTo>
                <a:lnTo>
                  <a:pt x="6" y="51"/>
                </a:lnTo>
                <a:lnTo>
                  <a:pt x="3" y="45"/>
                </a:lnTo>
                <a:lnTo>
                  <a:pt x="0" y="38"/>
                </a:lnTo>
                <a:lnTo>
                  <a:pt x="5" y="38"/>
                </a:lnTo>
                <a:lnTo>
                  <a:pt x="7" y="35"/>
                </a:lnTo>
                <a:lnTo>
                  <a:pt x="9" y="32"/>
                </a:lnTo>
                <a:lnTo>
                  <a:pt x="9" y="29"/>
                </a:lnTo>
                <a:lnTo>
                  <a:pt x="10" y="25"/>
                </a:lnTo>
                <a:lnTo>
                  <a:pt x="12" y="23"/>
                </a:lnTo>
                <a:lnTo>
                  <a:pt x="14" y="22"/>
                </a:lnTo>
                <a:lnTo>
                  <a:pt x="16" y="20"/>
                </a:lnTo>
                <a:lnTo>
                  <a:pt x="19" y="20"/>
                </a:lnTo>
                <a:lnTo>
                  <a:pt x="24" y="20"/>
                </a:lnTo>
                <a:lnTo>
                  <a:pt x="27" y="20"/>
                </a:lnTo>
                <a:lnTo>
                  <a:pt x="28" y="18"/>
                </a:lnTo>
                <a:lnTo>
                  <a:pt x="32" y="13"/>
                </a:lnTo>
                <a:lnTo>
                  <a:pt x="35" y="9"/>
                </a:lnTo>
                <a:lnTo>
                  <a:pt x="37" y="6"/>
                </a:lnTo>
                <a:lnTo>
                  <a:pt x="38" y="5"/>
                </a:lnTo>
                <a:lnTo>
                  <a:pt x="40" y="4"/>
                </a:lnTo>
                <a:lnTo>
                  <a:pt x="41" y="3"/>
                </a:lnTo>
                <a:lnTo>
                  <a:pt x="43" y="4"/>
                </a:lnTo>
                <a:lnTo>
                  <a:pt x="44" y="4"/>
                </a:lnTo>
                <a:lnTo>
                  <a:pt x="45" y="5"/>
                </a:lnTo>
                <a:lnTo>
                  <a:pt x="47" y="6"/>
                </a:lnTo>
                <a:lnTo>
                  <a:pt x="50" y="5"/>
                </a:lnTo>
                <a:lnTo>
                  <a:pt x="51" y="5"/>
                </a:lnTo>
                <a:lnTo>
                  <a:pt x="55" y="3"/>
                </a:lnTo>
                <a:lnTo>
                  <a:pt x="59" y="1"/>
                </a:lnTo>
                <a:lnTo>
                  <a:pt x="60" y="0"/>
                </a:lnTo>
                <a:lnTo>
                  <a:pt x="63" y="0"/>
                </a:lnTo>
                <a:lnTo>
                  <a:pt x="64" y="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33" name="Freeform 237">
            <a:extLst>
              <a:ext uri="{FF2B5EF4-FFF2-40B4-BE49-F238E27FC236}">
                <a16:creationId xmlns:a16="http://schemas.microsoft.com/office/drawing/2014/main" id="{28C08770-6632-3C64-E821-4C102FC6B4CA}"/>
              </a:ext>
            </a:extLst>
          </p:cNvPr>
          <p:cNvSpPr>
            <a:spLocks/>
          </p:cNvSpPr>
          <p:nvPr/>
        </p:nvSpPr>
        <p:spPr bwMode="auto">
          <a:xfrm>
            <a:off x="3542675" y="4557559"/>
            <a:ext cx="71438" cy="36513"/>
          </a:xfrm>
          <a:custGeom>
            <a:avLst/>
            <a:gdLst>
              <a:gd name="T0" fmla="*/ 33 w 35"/>
              <a:gd name="T1" fmla="*/ 18 h 19"/>
              <a:gd name="T2" fmla="*/ 34 w 35"/>
              <a:gd name="T3" fmla="*/ 16 h 19"/>
              <a:gd name="T4" fmla="*/ 20 w 35"/>
              <a:gd name="T5" fmla="*/ 16 h 19"/>
              <a:gd name="T6" fmla="*/ 17 w 35"/>
              <a:gd name="T7" fmla="*/ 15 h 19"/>
              <a:gd name="T8" fmla="*/ 10 w 35"/>
              <a:gd name="T9" fmla="*/ 14 h 19"/>
              <a:gd name="T10" fmla="*/ 3 w 35"/>
              <a:gd name="T11" fmla="*/ 10 h 19"/>
              <a:gd name="T12" fmla="*/ 1 w 35"/>
              <a:gd name="T13" fmla="*/ 9 h 19"/>
              <a:gd name="T14" fmla="*/ 0 w 35"/>
              <a:gd name="T15" fmla="*/ 7 h 19"/>
              <a:gd name="T16" fmla="*/ 2 w 35"/>
              <a:gd name="T17" fmla="*/ 6 h 19"/>
              <a:gd name="T18" fmla="*/ 4 w 35"/>
              <a:gd name="T19" fmla="*/ 4 h 19"/>
              <a:gd name="T20" fmla="*/ 5 w 35"/>
              <a:gd name="T21" fmla="*/ 3 h 19"/>
              <a:gd name="T22" fmla="*/ 5 w 35"/>
              <a:gd name="T23" fmla="*/ 2 h 19"/>
              <a:gd name="T24" fmla="*/ 6 w 35"/>
              <a:gd name="T25" fmla="*/ 1 h 19"/>
              <a:gd name="T26" fmla="*/ 6 w 35"/>
              <a:gd name="T27" fmla="*/ 0 h 19"/>
              <a:gd name="T28" fmla="*/ 11 w 35"/>
              <a:gd name="T29" fmla="*/ 0 h 19"/>
              <a:gd name="T30" fmla="*/ 14 w 35"/>
              <a:gd name="T31" fmla="*/ 0 h 19"/>
              <a:gd name="T32" fmla="*/ 15 w 35"/>
              <a:gd name="T33" fmla="*/ 1 h 19"/>
              <a:gd name="T34" fmla="*/ 18 w 35"/>
              <a:gd name="T35" fmla="*/ 4 h 19"/>
              <a:gd name="T36" fmla="*/ 19 w 35"/>
              <a:gd name="T37" fmla="*/ 5 h 19"/>
              <a:gd name="T38" fmla="*/ 21 w 35"/>
              <a:gd name="T39" fmla="*/ 7 h 19"/>
              <a:gd name="T40" fmla="*/ 24 w 35"/>
              <a:gd name="T41" fmla="*/ 7 h 19"/>
              <a:gd name="T42" fmla="*/ 27 w 35"/>
              <a:gd name="T43" fmla="*/ 7 h 19"/>
              <a:gd name="T44" fmla="*/ 29 w 35"/>
              <a:gd name="T45" fmla="*/ 9 h 19"/>
              <a:gd name="T46" fmla="*/ 31 w 35"/>
              <a:gd name="T47" fmla="*/ 10 h 19"/>
              <a:gd name="T48" fmla="*/ 33 w 35"/>
              <a:gd name="T49" fmla="*/ 12 h 19"/>
              <a:gd name="T50" fmla="*/ 33 w 35"/>
              <a:gd name="T51" fmla="*/ 15 h 19"/>
              <a:gd name="T52" fmla="*/ 33 w 35"/>
              <a:gd name="T53" fmla="*/ 18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35" h="19">
                <a:moveTo>
                  <a:pt x="33" y="18"/>
                </a:moveTo>
                <a:lnTo>
                  <a:pt x="34" y="16"/>
                </a:lnTo>
                <a:lnTo>
                  <a:pt x="20" y="16"/>
                </a:lnTo>
                <a:lnTo>
                  <a:pt x="17" y="15"/>
                </a:lnTo>
                <a:lnTo>
                  <a:pt x="10" y="14"/>
                </a:lnTo>
                <a:lnTo>
                  <a:pt x="3" y="10"/>
                </a:lnTo>
                <a:lnTo>
                  <a:pt x="1" y="9"/>
                </a:lnTo>
                <a:lnTo>
                  <a:pt x="0" y="7"/>
                </a:lnTo>
                <a:lnTo>
                  <a:pt x="2" y="6"/>
                </a:lnTo>
                <a:lnTo>
                  <a:pt x="4" y="4"/>
                </a:lnTo>
                <a:lnTo>
                  <a:pt x="5" y="3"/>
                </a:lnTo>
                <a:lnTo>
                  <a:pt x="5" y="2"/>
                </a:lnTo>
                <a:lnTo>
                  <a:pt x="6" y="1"/>
                </a:lnTo>
                <a:lnTo>
                  <a:pt x="6" y="0"/>
                </a:lnTo>
                <a:lnTo>
                  <a:pt x="11" y="0"/>
                </a:lnTo>
                <a:lnTo>
                  <a:pt x="14" y="0"/>
                </a:lnTo>
                <a:lnTo>
                  <a:pt x="15" y="1"/>
                </a:lnTo>
                <a:lnTo>
                  <a:pt x="18" y="4"/>
                </a:lnTo>
                <a:lnTo>
                  <a:pt x="19" y="5"/>
                </a:lnTo>
                <a:lnTo>
                  <a:pt x="21" y="7"/>
                </a:lnTo>
                <a:lnTo>
                  <a:pt x="24" y="7"/>
                </a:lnTo>
                <a:lnTo>
                  <a:pt x="27" y="7"/>
                </a:lnTo>
                <a:lnTo>
                  <a:pt x="29" y="9"/>
                </a:lnTo>
                <a:lnTo>
                  <a:pt x="31" y="10"/>
                </a:lnTo>
                <a:lnTo>
                  <a:pt x="33" y="12"/>
                </a:lnTo>
                <a:lnTo>
                  <a:pt x="33" y="15"/>
                </a:lnTo>
                <a:lnTo>
                  <a:pt x="33" y="18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34" name="Freeform 238">
            <a:extLst>
              <a:ext uri="{FF2B5EF4-FFF2-40B4-BE49-F238E27FC236}">
                <a16:creationId xmlns:a16="http://schemas.microsoft.com/office/drawing/2014/main" id="{73FA49A0-12BE-F20C-F727-84F2CAF61E13}"/>
              </a:ext>
            </a:extLst>
          </p:cNvPr>
          <p:cNvSpPr>
            <a:spLocks/>
          </p:cNvSpPr>
          <p:nvPr/>
        </p:nvSpPr>
        <p:spPr bwMode="auto">
          <a:xfrm>
            <a:off x="3566488" y="4484534"/>
            <a:ext cx="177800" cy="122238"/>
          </a:xfrm>
          <a:custGeom>
            <a:avLst/>
            <a:gdLst>
              <a:gd name="T0" fmla="*/ 84 w 88"/>
              <a:gd name="T1" fmla="*/ 26 h 65"/>
              <a:gd name="T2" fmla="*/ 79 w 88"/>
              <a:gd name="T3" fmla="*/ 29 h 65"/>
              <a:gd name="T4" fmla="*/ 74 w 88"/>
              <a:gd name="T5" fmla="*/ 31 h 65"/>
              <a:gd name="T6" fmla="*/ 69 w 88"/>
              <a:gd name="T7" fmla="*/ 31 h 65"/>
              <a:gd name="T8" fmla="*/ 67 w 88"/>
              <a:gd name="T9" fmla="*/ 30 h 65"/>
              <a:gd name="T10" fmla="*/ 64 w 88"/>
              <a:gd name="T11" fmla="*/ 30 h 65"/>
              <a:gd name="T12" fmla="*/ 61 w 88"/>
              <a:gd name="T13" fmla="*/ 32 h 65"/>
              <a:gd name="T14" fmla="*/ 55 w 88"/>
              <a:gd name="T15" fmla="*/ 39 h 65"/>
              <a:gd name="T16" fmla="*/ 52 w 88"/>
              <a:gd name="T17" fmla="*/ 45 h 65"/>
              <a:gd name="T18" fmla="*/ 48 w 88"/>
              <a:gd name="T19" fmla="*/ 46 h 65"/>
              <a:gd name="T20" fmla="*/ 40 w 88"/>
              <a:gd name="T21" fmla="*/ 46 h 65"/>
              <a:gd name="T22" fmla="*/ 36 w 88"/>
              <a:gd name="T23" fmla="*/ 49 h 65"/>
              <a:gd name="T24" fmla="*/ 33 w 88"/>
              <a:gd name="T25" fmla="*/ 58 h 65"/>
              <a:gd name="T26" fmla="*/ 29 w 88"/>
              <a:gd name="T27" fmla="*/ 64 h 65"/>
              <a:gd name="T28" fmla="*/ 21 w 88"/>
              <a:gd name="T29" fmla="*/ 60 h 65"/>
              <a:gd name="T30" fmla="*/ 21 w 88"/>
              <a:gd name="T31" fmla="*/ 54 h 65"/>
              <a:gd name="T32" fmla="*/ 21 w 88"/>
              <a:gd name="T33" fmla="*/ 50 h 65"/>
              <a:gd name="T34" fmla="*/ 18 w 88"/>
              <a:gd name="T35" fmla="*/ 48 h 65"/>
              <a:gd name="T36" fmla="*/ 15 w 88"/>
              <a:gd name="T37" fmla="*/ 46 h 65"/>
              <a:gd name="T38" fmla="*/ 9 w 88"/>
              <a:gd name="T39" fmla="*/ 46 h 65"/>
              <a:gd name="T40" fmla="*/ 6 w 88"/>
              <a:gd name="T41" fmla="*/ 43 h 65"/>
              <a:gd name="T42" fmla="*/ 2 w 88"/>
              <a:gd name="T43" fmla="*/ 39 h 65"/>
              <a:gd name="T44" fmla="*/ 0 w 88"/>
              <a:gd name="T45" fmla="*/ 34 h 65"/>
              <a:gd name="T46" fmla="*/ 3 w 88"/>
              <a:gd name="T47" fmla="*/ 27 h 65"/>
              <a:gd name="T48" fmla="*/ 9 w 88"/>
              <a:gd name="T49" fmla="*/ 21 h 65"/>
              <a:gd name="T50" fmla="*/ 16 w 88"/>
              <a:gd name="T51" fmla="*/ 13 h 65"/>
              <a:gd name="T52" fmla="*/ 21 w 88"/>
              <a:gd name="T53" fmla="*/ 5 h 65"/>
              <a:gd name="T54" fmla="*/ 25 w 88"/>
              <a:gd name="T55" fmla="*/ 0 h 65"/>
              <a:gd name="T56" fmla="*/ 71 w 88"/>
              <a:gd name="T57" fmla="*/ 0 h 65"/>
              <a:gd name="T58" fmla="*/ 74 w 88"/>
              <a:gd name="T59" fmla="*/ 7 h 65"/>
              <a:gd name="T60" fmla="*/ 79 w 88"/>
              <a:gd name="T61" fmla="*/ 13 h 65"/>
              <a:gd name="T62" fmla="*/ 83 w 88"/>
              <a:gd name="T63" fmla="*/ 18 h 65"/>
              <a:gd name="T64" fmla="*/ 87 w 88"/>
              <a:gd name="T65" fmla="*/ 26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88" h="65">
                <a:moveTo>
                  <a:pt x="87" y="26"/>
                </a:moveTo>
                <a:lnTo>
                  <a:pt x="84" y="26"/>
                </a:lnTo>
                <a:lnTo>
                  <a:pt x="83" y="27"/>
                </a:lnTo>
                <a:lnTo>
                  <a:pt x="79" y="29"/>
                </a:lnTo>
                <a:lnTo>
                  <a:pt x="75" y="31"/>
                </a:lnTo>
                <a:lnTo>
                  <a:pt x="74" y="31"/>
                </a:lnTo>
                <a:lnTo>
                  <a:pt x="71" y="32"/>
                </a:lnTo>
                <a:lnTo>
                  <a:pt x="69" y="31"/>
                </a:lnTo>
                <a:lnTo>
                  <a:pt x="68" y="30"/>
                </a:lnTo>
                <a:lnTo>
                  <a:pt x="67" y="30"/>
                </a:lnTo>
                <a:lnTo>
                  <a:pt x="65" y="29"/>
                </a:lnTo>
                <a:lnTo>
                  <a:pt x="64" y="30"/>
                </a:lnTo>
                <a:lnTo>
                  <a:pt x="62" y="31"/>
                </a:lnTo>
                <a:lnTo>
                  <a:pt x="61" y="32"/>
                </a:lnTo>
                <a:lnTo>
                  <a:pt x="59" y="35"/>
                </a:lnTo>
                <a:lnTo>
                  <a:pt x="55" y="39"/>
                </a:lnTo>
                <a:lnTo>
                  <a:pt x="52" y="44"/>
                </a:lnTo>
                <a:lnTo>
                  <a:pt x="52" y="45"/>
                </a:lnTo>
                <a:lnTo>
                  <a:pt x="51" y="46"/>
                </a:lnTo>
                <a:lnTo>
                  <a:pt x="48" y="46"/>
                </a:lnTo>
                <a:lnTo>
                  <a:pt x="43" y="46"/>
                </a:lnTo>
                <a:lnTo>
                  <a:pt x="40" y="46"/>
                </a:lnTo>
                <a:lnTo>
                  <a:pt x="38" y="48"/>
                </a:lnTo>
                <a:lnTo>
                  <a:pt x="36" y="49"/>
                </a:lnTo>
                <a:lnTo>
                  <a:pt x="34" y="51"/>
                </a:lnTo>
                <a:lnTo>
                  <a:pt x="33" y="58"/>
                </a:lnTo>
                <a:lnTo>
                  <a:pt x="31" y="61"/>
                </a:lnTo>
                <a:lnTo>
                  <a:pt x="29" y="64"/>
                </a:lnTo>
                <a:lnTo>
                  <a:pt x="24" y="64"/>
                </a:lnTo>
                <a:lnTo>
                  <a:pt x="21" y="60"/>
                </a:lnTo>
                <a:lnTo>
                  <a:pt x="21" y="56"/>
                </a:lnTo>
                <a:lnTo>
                  <a:pt x="21" y="54"/>
                </a:lnTo>
                <a:lnTo>
                  <a:pt x="21" y="51"/>
                </a:lnTo>
                <a:lnTo>
                  <a:pt x="21" y="50"/>
                </a:lnTo>
                <a:lnTo>
                  <a:pt x="20" y="49"/>
                </a:lnTo>
                <a:lnTo>
                  <a:pt x="18" y="48"/>
                </a:lnTo>
                <a:lnTo>
                  <a:pt x="17" y="46"/>
                </a:lnTo>
                <a:lnTo>
                  <a:pt x="15" y="46"/>
                </a:lnTo>
                <a:lnTo>
                  <a:pt x="12" y="46"/>
                </a:lnTo>
                <a:lnTo>
                  <a:pt x="9" y="46"/>
                </a:lnTo>
                <a:lnTo>
                  <a:pt x="8" y="44"/>
                </a:lnTo>
                <a:lnTo>
                  <a:pt x="6" y="43"/>
                </a:lnTo>
                <a:lnTo>
                  <a:pt x="3" y="40"/>
                </a:lnTo>
                <a:lnTo>
                  <a:pt x="2" y="39"/>
                </a:lnTo>
                <a:lnTo>
                  <a:pt x="0" y="39"/>
                </a:lnTo>
                <a:lnTo>
                  <a:pt x="0" y="34"/>
                </a:lnTo>
                <a:lnTo>
                  <a:pt x="3" y="30"/>
                </a:lnTo>
                <a:lnTo>
                  <a:pt x="3" y="27"/>
                </a:lnTo>
                <a:lnTo>
                  <a:pt x="6" y="24"/>
                </a:lnTo>
                <a:lnTo>
                  <a:pt x="9" y="21"/>
                </a:lnTo>
                <a:lnTo>
                  <a:pt x="14" y="16"/>
                </a:lnTo>
                <a:lnTo>
                  <a:pt x="16" y="13"/>
                </a:lnTo>
                <a:lnTo>
                  <a:pt x="18" y="9"/>
                </a:lnTo>
                <a:lnTo>
                  <a:pt x="21" y="5"/>
                </a:lnTo>
                <a:lnTo>
                  <a:pt x="22" y="2"/>
                </a:lnTo>
                <a:lnTo>
                  <a:pt x="25" y="0"/>
                </a:lnTo>
                <a:lnTo>
                  <a:pt x="29" y="0"/>
                </a:lnTo>
                <a:lnTo>
                  <a:pt x="71" y="0"/>
                </a:lnTo>
                <a:lnTo>
                  <a:pt x="73" y="3"/>
                </a:lnTo>
                <a:lnTo>
                  <a:pt x="74" y="7"/>
                </a:lnTo>
                <a:lnTo>
                  <a:pt x="77" y="10"/>
                </a:lnTo>
                <a:lnTo>
                  <a:pt x="79" y="13"/>
                </a:lnTo>
                <a:lnTo>
                  <a:pt x="82" y="16"/>
                </a:lnTo>
                <a:lnTo>
                  <a:pt x="83" y="18"/>
                </a:lnTo>
                <a:lnTo>
                  <a:pt x="86" y="22"/>
                </a:lnTo>
                <a:lnTo>
                  <a:pt x="87" y="26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35" name="Freeform 239">
            <a:extLst>
              <a:ext uri="{FF2B5EF4-FFF2-40B4-BE49-F238E27FC236}">
                <a16:creationId xmlns:a16="http://schemas.microsoft.com/office/drawing/2014/main" id="{4C1F2611-A61A-0F0F-B4B2-AA915CE42AB9}"/>
              </a:ext>
            </a:extLst>
          </p:cNvPr>
          <p:cNvSpPr>
            <a:spLocks/>
          </p:cNvSpPr>
          <p:nvPr/>
        </p:nvSpPr>
        <p:spPr bwMode="auto">
          <a:xfrm>
            <a:off x="3574425" y="4409921"/>
            <a:ext cx="47625" cy="88900"/>
          </a:xfrm>
          <a:custGeom>
            <a:avLst/>
            <a:gdLst>
              <a:gd name="T0" fmla="*/ 23 w 24"/>
              <a:gd name="T1" fmla="*/ 5 h 47"/>
              <a:gd name="T2" fmla="*/ 20 w 24"/>
              <a:gd name="T3" fmla="*/ 9 h 47"/>
              <a:gd name="T4" fmla="*/ 15 w 24"/>
              <a:gd name="T5" fmla="*/ 12 h 47"/>
              <a:gd name="T6" fmla="*/ 16 w 24"/>
              <a:gd name="T7" fmla="*/ 16 h 47"/>
              <a:gd name="T8" fmla="*/ 15 w 24"/>
              <a:gd name="T9" fmla="*/ 19 h 47"/>
              <a:gd name="T10" fmla="*/ 15 w 24"/>
              <a:gd name="T11" fmla="*/ 23 h 47"/>
              <a:gd name="T12" fmla="*/ 14 w 24"/>
              <a:gd name="T13" fmla="*/ 27 h 47"/>
              <a:gd name="T14" fmla="*/ 12 w 24"/>
              <a:gd name="T15" fmla="*/ 33 h 47"/>
              <a:gd name="T16" fmla="*/ 10 w 24"/>
              <a:gd name="T17" fmla="*/ 37 h 47"/>
              <a:gd name="T18" fmla="*/ 9 w 24"/>
              <a:gd name="T19" fmla="*/ 40 h 47"/>
              <a:gd name="T20" fmla="*/ 8 w 24"/>
              <a:gd name="T21" fmla="*/ 43 h 47"/>
              <a:gd name="T22" fmla="*/ 8 w 24"/>
              <a:gd name="T23" fmla="*/ 46 h 47"/>
              <a:gd name="T24" fmla="*/ 0 w 24"/>
              <a:gd name="T25" fmla="*/ 46 h 47"/>
              <a:gd name="T26" fmla="*/ 3 w 24"/>
              <a:gd name="T27" fmla="*/ 12 h 47"/>
              <a:gd name="T28" fmla="*/ 7 w 24"/>
              <a:gd name="T29" fmla="*/ 11 h 47"/>
              <a:gd name="T30" fmla="*/ 8 w 24"/>
              <a:gd name="T31" fmla="*/ 10 h 47"/>
              <a:gd name="T32" fmla="*/ 9 w 24"/>
              <a:gd name="T33" fmla="*/ 8 h 47"/>
              <a:gd name="T34" fmla="*/ 11 w 24"/>
              <a:gd name="T35" fmla="*/ 5 h 47"/>
              <a:gd name="T36" fmla="*/ 12 w 24"/>
              <a:gd name="T37" fmla="*/ 3 h 47"/>
              <a:gd name="T38" fmla="*/ 13 w 24"/>
              <a:gd name="T39" fmla="*/ 1 h 47"/>
              <a:gd name="T40" fmla="*/ 14 w 24"/>
              <a:gd name="T41" fmla="*/ 0 h 47"/>
              <a:gd name="T42" fmla="*/ 17 w 24"/>
              <a:gd name="T43" fmla="*/ 0 h 47"/>
              <a:gd name="T44" fmla="*/ 19 w 24"/>
              <a:gd name="T45" fmla="*/ 0 h 47"/>
              <a:gd name="T46" fmla="*/ 21 w 24"/>
              <a:gd name="T47" fmla="*/ 1 h 47"/>
              <a:gd name="T48" fmla="*/ 21 w 24"/>
              <a:gd name="T49" fmla="*/ 3 h 47"/>
              <a:gd name="T50" fmla="*/ 21 w 24"/>
              <a:gd name="T51" fmla="*/ 5 h 47"/>
              <a:gd name="T52" fmla="*/ 23 w 24"/>
              <a:gd name="T53" fmla="*/ 5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24" h="47">
                <a:moveTo>
                  <a:pt x="23" y="5"/>
                </a:moveTo>
                <a:lnTo>
                  <a:pt x="20" y="9"/>
                </a:lnTo>
                <a:lnTo>
                  <a:pt x="15" y="12"/>
                </a:lnTo>
                <a:lnTo>
                  <a:pt x="16" y="16"/>
                </a:lnTo>
                <a:lnTo>
                  <a:pt x="15" y="19"/>
                </a:lnTo>
                <a:lnTo>
                  <a:pt x="15" y="23"/>
                </a:lnTo>
                <a:lnTo>
                  <a:pt x="14" y="27"/>
                </a:lnTo>
                <a:lnTo>
                  <a:pt x="12" y="33"/>
                </a:lnTo>
                <a:lnTo>
                  <a:pt x="10" y="37"/>
                </a:lnTo>
                <a:lnTo>
                  <a:pt x="9" y="40"/>
                </a:lnTo>
                <a:lnTo>
                  <a:pt x="8" y="43"/>
                </a:lnTo>
                <a:lnTo>
                  <a:pt x="8" y="46"/>
                </a:lnTo>
                <a:lnTo>
                  <a:pt x="0" y="46"/>
                </a:lnTo>
                <a:lnTo>
                  <a:pt x="3" y="12"/>
                </a:lnTo>
                <a:lnTo>
                  <a:pt x="7" y="11"/>
                </a:lnTo>
                <a:lnTo>
                  <a:pt x="8" y="10"/>
                </a:lnTo>
                <a:lnTo>
                  <a:pt x="9" y="8"/>
                </a:lnTo>
                <a:lnTo>
                  <a:pt x="11" y="5"/>
                </a:lnTo>
                <a:lnTo>
                  <a:pt x="12" y="3"/>
                </a:lnTo>
                <a:lnTo>
                  <a:pt x="13" y="1"/>
                </a:lnTo>
                <a:lnTo>
                  <a:pt x="14" y="0"/>
                </a:lnTo>
                <a:lnTo>
                  <a:pt x="17" y="0"/>
                </a:lnTo>
                <a:lnTo>
                  <a:pt x="19" y="0"/>
                </a:lnTo>
                <a:lnTo>
                  <a:pt x="21" y="1"/>
                </a:lnTo>
                <a:lnTo>
                  <a:pt x="21" y="3"/>
                </a:lnTo>
                <a:lnTo>
                  <a:pt x="21" y="5"/>
                </a:lnTo>
                <a:lnTo>
                  <a:pt x="23" y="5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36" name="Freeform 240">
            <a:extLst>
              <a:ext uri="{FF2B5EF4-FFF2-40B4-BE49-F238E27FC236}">
                <a16:creationId xmlns:a16="http://schemas.microsoft.com/office/drawing/2014/main" id="{DA37BB42-1A32-02DC-439B-C445BC5E476D}"/>
              </a:ext>
            </a:extLst>
          </p:cNvPr>
          <p:cNvSpPr>
            <a:spLocks/>
          </p:cNvSpPr>
          <p:nvPr/>
        </p:nvSpPr>
        <p:spPr bwMode="auto">
          <a:xfrm>
            <a:off x="3482350" y="4430559"/>
            <a:ext cx="131763" cy="141288"/>
          </a:xfrm>
          <a:custGeom>
            <a:avLst/>
            <a:gdLst>
              <a:gd name="T0" fmla="*/ 64 w 65"/>
              <a:gd name="T1" fmla="*/ 31 h 76"/>
              <a:gd name="T2" fmla="*/ 59 w 65"/>
              <a:gd name="T3" fmla="*/ 33 h 76"/>
              <a:gd name="T4" fmla="*/ 57 w 65"/>
              <a:gd name="T5" fmla="*/ 34 h 76"/>
              <a:gd name="T6" fmla="*/ 54 w 65"/>
              <a:gd name="T7" fmla="*/ 34 h 76"/>
              <a:gd name="T8" fmla="*/ 45 w 65"/>
              <a:gd name="T9" fmla="*/ 34 h 76"/>
              <a:gd name="T10" fmla="*/ 49 w 65"/>
              <a:gd name="T11" fmla="*/ 0 h 76"/>
              <a:gd name="T12" fmla="*/ 27 w 65"/>
              <a:gd name="T13" fmla="*/ 0 h 76"/>
              <a:gd name="T14" fmla="*/ 26 w 65"/>
              <a:gd name="T15" fmla="*/ 0 h 76"/>
              <a:gd name="T16" fmla="*/ 24 w 65"/>
              <a:gd name="T17" fmla="*/ 2 h 76"/>
              <a:gd name="T18" fmla="*/ 21 w 65"/>
              <a:gd name="T19" fmla="*/ 6 h 76"/>
              <a:gd name="T20" fmla="*/ 18 w 65"/>
              <a:gd name="T21" fmla="*/ 10 h 76"/>
              <a:gd name="T22" fmla="*/ 17 w 65"/>
              <a:gd name="T23" fmla="*/ 13 h 76"/>
              <a:gd name="T24" fmla="*/ 17 w 65"/>
              <a:gd name="T25" fmla="*/ 16 h 76"/>
              <a:gd name="T26" fmla="*/ 18 w 65"/>
              <a:gd name="T27" fmla="*/ 18 h 76"/>
              <a:gd name="T28" fmla="*/ 19 w 65"/>
              <a:gd name="T29" fmla="*/ 20 h 76"/>
              <a:gd name="T30" fmla="*/ 22 w 65"/>
              <a:gd name="T31" fmla="*/ 20 h 76"/>
              <a:gd name="T32" fmla="*/ 24 w 65"/>
              <a:gd name="T33" fmla="*/ 24 h 76"/>
              <a:gd name="T34" fmla="*/ 25 w 65"/>
              <a:gd name="T35" fmla="*/ 27 h 76"/>
              <a:gd name="T36" fmla="*/ 25 w 65"/>
              <a:gd name="T37" fmla="*/ 29 h 76"/>
              <a:gd name="T38" fmla="*/ 25 w 65"/>
              <a:gd name="T39" fmla="*/ 36 h 76"/>
              <a:gd name="T40" fmla="*/ 8 w 65"/>
              <a:gd name="T41" fmla="*/ 36 h 76"/>
              <a:gd name="T42" fmla="*/ 6 w 65"/>
              <a:gd name="T43" fmla="*/ 37 h 76"/>
              <a:gd name="T44" fmla="*/ 4 w 65"/>
              <a:gd name="T45" fmla="*/ 40 h 76"/>
              <a:gd name="T46" fmla="*/ 3 w 65"/>
              <a:gd name="T47" fmla="*/ 43 h 76"/>
              <a:gd name="T48" fmla="*/ 2 w 65"/>
              <a:gd name="T49" fmla="*/ 47 h 76"/>
              <a:gd name="T50" fmla="*/ 1 w 65"/>
              <a:gd name="T51" fmla="*/ 53 h 76"/>
              <a:gd name="T52" fmla="*/ 0 w 65"/>
              <a:gd name="T53" fmla="*/ 57 h 76"/>
              <a:gd name="T54" fmla="*/ 0 w 65"/>
              <a:gd name="T55" fmla="*/ 61 h 76"/>
              <a:gd name="T56" fmla="*/ 2 w 65"/>
              <a:gd name="T57" fmla="*/ 65 h 76"/>
              <a:gd name="T58" fmla="*/ 4 w 65"/>
              <a:gd name="T59" fmla="*/ 68 h 76"/>
              <a:gd name="T60" fmla="*/ 6 w 65"/>
              <a:gd name="T61" fmla="*/ 69 h 76"/>
              <a:gd name="T62" fmla="*/ 10 w 65"/>
              <a:gd name="T63" fmla="*/ 71 h 76"/>
              <a:gd name="T64" fmla="*/ 12 w 65"/>
              <a:gd name="T65" fmla="*/ 72 h 76"/>
              <a:gd name="T66" fmla="*/ 14 w 65"/>
              <a:gd name="T67" fmla="*/ 72 h 76"/>
              <a:gd name="T68" fmla="*/ 22 w 65"/>
              <a:gd name="T69" fmla="*/ 72 h 76"/>
              <a:gd name="T70" fmla="*/ 23 w 65"/>
              <a:gd name="T71" fmla="*/ 72 h 76"/>
              <a:gd name="T72" fmla="*/ 25 w 65"/>
              <a:gd name="T73" fmla="*/ 73 h 76"/>
              <a:gd name="T74" fmla="*/ 27 w 65"/>
              <a:gd name="T75" fmla="*/ 74 h 76"/>
              <a:gd name="T76" fmla="*/ 28 w 65"/>
              <a:gd name="T77" fmla="*/ 75 h 76"/>
              <a:gd name="T78" fmla="*/ 32 w 65"/>
              <a:gd name="T79" fmla="*/ 74 h 76"/>
              <a:gd name="T80" fmla="*/ 33 w 65"/>
              <a:gd name="T81" fmla="*/ 72 h 76"/>
              <a:gd name="T82" fmla="*/ 35 w 65"/>
              <a:gd name="T83" fmla="*/ 71 h 76"/>
              <a:gd name="T84" fmla="*/ 35 w 65"/>
              <a:gd name="T85" fmla="*/ 70 h 76"/>
              <a:gd name="T86" fmla="*/ 35 w 65"/>
              <a:gd name="T87" fmla="*/ 69 h 76"/>
              <a:gd name="T88" fmla="*/ 35 w 65"/>
              <a:gd name="T89" fmla="*/ 68 h 76"/>
              <a:gd name="T90" fmla="*/ 41 w 65"/>
              <a:gd name="T91" fmla="*/ 68 h 76"/>
              <a:gd name="T92" fmla="*/ 41 w 65"/>
              <a:gd name="T93" fmla="*/ 63 h 76"/>
              <a:gd name="T94" fmla="*/ 44 w 65"/>
              <a:gd name="T95" fmla="*/ 59 h 76"/>
              <a:gd name="T96" fmla="*/ 44 w 65"/>
              <a:gd name="T97" fmla="*/ 56 h 76"/>
              <a:gd name="T98" fmla="*/ 48 w 65"/>
              <a:gd name="T99" fmla="*/ 53 h 76"/>
              <a:gd name="T100" fmla="*/ 51 w 65"/>
              <a:gd name="T101" fmla="*/ 50 h 76"/>
              <a:gd name="T102" fmla="*/ 55 w 65"/>
              <a:gd name="T103" fmla="*/ 45 h 76"/>
              <a:gd name="T104" fmla="*/ 57 w 65"/>
              <a:gd name="T105" fmla="*/ 42 h 76"/>
              <a:gd name="T106" fmla="*/ 60 w 65"/>
              <a:gd name="T107" fmla="*/ 38 h 76"/>
              <a:gd name="T108" fmla="*/ 62 w 65"/>
              <a:gd name="T109" fmla="*/ 34 h 76"/>
              <a:gd name="T110" fmla="*/ 64 w 65"/>
              <a:gd name="T111" fmla="*/ 31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5" h="76">
                <a:moveTo>
                  <a:pt x="64" y="31"/>
                </a:moveTo>
                <a:lnTo>
                  <a:pt x="59" y="33"/>
                </a:lnTo>
                <a:lnTo>
                  <a:pt x="57" y="34"/>
                </a:lnTo>
                <a:lnTo>
                  <a:pt x="54" y="34"/>
                </a:lnTo>
                <a:lnTo>
                  <a:pt x="45" y="34"/>
                </a:lnTo>
                <a:lnTo>
                  <a:pt x="49" y="0"/>
                </a:lnTo>
                <a:lnTo>
                  <a:pt x="27" y="0"/>
                </a:lnTo>
                <a:lnTo>
                  <a:pt x="26" y="0"/>
                </a:lnTo>
                <a:lnTo>
                  <a:pt x="24" y="2"/>
                </a:lnTo>
                <a:lnTo>
                  <a:pt x="21" y="6"/>
                </a:lnTo>
                <a:lnTo>
                  <a:pt x="18" y="10"/>
                </a:lnTo>
                <a:lnTo>
                  <a:pt x="17" y="13"/>
                </a:lnTo>
                <a:lnTo>
                  <a:pt x="17" y="16"/>
                </a:lnTo>
                <a:lnTo>
                  <a:pt x="18" y="18"/>
                </a:lnTo>
                <a:lnTo>
                  <a:pt x="19" y="20"/>
                </a:lnTo>
                <a:lnTo>
                  <a:pt x="22" y="20"/>
                </a:lnTo>
                <a:lnTo>
                  <a:pt x="24" y="24"/>
                </a:lnTo>
                <a:lnTo>
                  <a:pt x="25" y="27"/>
                </a:lnTo>
                <a:lnTo>
                  <a:pt x="25" y="29"/>
                </a:lnTo>
                <a:lnTo>
                  <a:pt x="25" y="36"/>
                </a:lnTo>
                <a:lnTo>
                  <a:pt x="8" y="36"/>
                </a:lnTo>
                <a:lnTo>
                  <a:pt x="6" y="37"/>
                </a:lnTo>
                <a:lnTo>
                  <a:pt x="4" y="40"/>
                </a:lnTo>
                <a:lnTo>
                  <a:pt x="3" y="43"/>
                </a:lnTo>
                <a:lnTo>
                  <a:pt x="2" y="47"/>
                </a:lnTo>
                <a:lnTo>
                  <a:pt x="1" y="53"/>
                </a:lnTo>
                <a:lnTo>
                  <a:pt x="0" y="57"/>
                </a:lnTo>
                <a:lnTo>
                  <a:pt x="0" y="61"/>
                </a:lnTo>
                <a:lnTo>
                  <a:pt x="2" y="65"/>
                </a:lnTo>
                <a:lnTo>
                  <a:pt x="4" y="68"/>
                </a:lnTo>
                <a:lnTo>
                  <a:pt x="6" y="69"/>
                </a:lnTo>
                <a:lnTo>
                  <a:pt x="10" y="71"/>
                </a:lnTo>
                <a:lnTo>
                  <a:pt x="12" y="72"/>
                </a:lnTo>
                <a:lnTo>
                  <a:pt x="14" y="72"/>
                </a:lnTo>
                <a:lnTo>
                  <a:pt x="22" y="72"/>
                </a:lnTo>
                <a:lnTo>
                  <a:pt x="23" y="72"/>
                </a:lnTo>
                <a:lnTo>
                  <a:pt x="25" y="73"/>
                </a:lnTo>
                <a:lnTo>
                  <a:pt x="27" y="74"/>
                </a:lnTo>
                <a:lnTo>
                  <a:pt x="28" y="75"/>
                </a:lnTo>
                <a:lnTo>
                  <a:pt x="32" y="74"/>
                </a:lnTo>
                <a:lnTo>
                  <a:pt x="33" y="72"/>
                </a:lnTo>
                <a:lnTo>
                  <a:pt x="35" y="71"/>
                </a:lnTo>
                <a:lnTo>
                  <a:pt x="35" y="70"/>
                </a:lnTo>
                <a:lnTo>
                  <a:pt x="35" y="69"/>
                </a:lnTo>
                <a:lnTo>
                  <a:pt x="35" y="68"/>
                </a:lnTo>
                <a:lnTo>
                  <a:pt x="41" y="68"/>
                </a:lnTo>
                <a:lnTo>
                  <a:pt x="41" y="63"/>
                </a:lnTo>
                <a:lnTo>
                  <a:pt x="44" y="59"/>
                </a:lnTo>
                <a:lnTo>
                  <a:pt x="44" y="56"/>
                </a:lnTo>
                <a:lnTo>
                  <a:pt x="48" y="53"/>
                </a:lnTo>
                <a:lnTo>
                  <a:pt x="51" y="50"/>
                </a:lnTo>
                <a:lnTo>
                  <a:pt x="55" y="45"/>
                </a:lnTo>
                <a:lnTo>
                  <a:pt x="57" y="42"/>
                </a:lnTo>
                <a:lnTo>
                  <a:pt x="60" y="38"/>
                </a:lnTo>
                <a:lnTo>
                  <a:pt x="62" y="34"/>
                </a:lnTo>
                <a:lnTo>
                  <a:pt x="64" y="31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37" name="Freeform 241">
            <a:extLst>
              <a:ext uri="{FF2B5EF4-FFF2-40B4-BE49-F238E27FC236}">
                <a16:creationId xmlns:a16="http://schemas.microsoft.com/office/drawing/2014/main" id="{D394C1B8-C398-92D0-2909-A204A42D67F6}"/>
              </a:ext>
            </a:extLst>
          </p:cNvPr>
          <p:cNvSpPr>
            <a:spLocks/>
          </p:cNvSpPr>
          <p:nvPr/>
        </p:nvSpPr>
        <p:spPr bwMode="auto">
          <a:xfrm>
            <a:off x="2890213" y="3890809"/>
            <a:ext cx="784225" cy="655638"/>
          </a:xfrm>
          <a:custGeom>
            <a:avLst/>
            <a:gdLst>
              <a:gd name="T0" fmla="*/ 369 w 389"/>
              <a:gd name="T1" fmla="*/ 265 h 351"/>
              <a:gd name="T2" fmla="*/ 384 w 389"/>
              <a:gd name="T3" fmla="*/ 224 h 351"/>
              <a:gd name="T4" fmla="*/ 384 w 389"/>
              <a:gd name="T5" fmla="*/ 210 h 351"/>
              <a:gd name="T6" fmla="*/ 355 w 389"/>
              <a:gd name="T7" fmla="*/ 211 h 351"/>
              <a:gd name="T8" fmla="*/ 333 w 389"/>
              <a:gd name="T9" fmla="*/ 222 h 351"/>
              <a:gd name="T10" fmla="*/ 306 w 389"/>
              <a:gd name="T11" fmla="*/ 265 h 351"/>
              <a:gd name="T12" fmla="*/ 264 w 389"/>
              <a:gd name="T13" fmla="*/ 273 h 351"/>
              <a:gd name="T14" fmla="*/ 243 w 389"/>
              <a:gd name="T15" fmla="*/ 252 h 351"/>
              <a:gd name="T16" fmla="*/ 229 w 389"/>
              <a:gd name="T17" fmla="*/ 201 h 351"/>
              <a:gd name="T18" fmla="*/ 242 w 389"/>
              <a:gd name="T19" fmla="*/ 146 h 351"/>
              <a:gd name="T20" fmla="*/ 223 w 389"/>
              <a:gd name="T21" fmla="*/ 121 h 351"/>
              <a:gd name="T22" fmla="*/ 215 w 389"/>
              <a:gd name="T23" fmla="*/ 86 h 351"/>
              <a:gd name="T24" fmla="*/ 204 w 389"/>
              <a:gd name="T25" fmla="*/ 59 h 351"/>
              <a:gd name="T26" fmla="*/ 184 w 389"/>
              <a:gd name="T27" fmla="*/ 59 h 351"/>
              <a:gd name="T28" fmla="*/ 167 w 389"/>
              <a:gd name="T29" fmla="*/ 67 h 351"/>
              <a:gd name="T30" fmla="*/ 156 w 389"/>
              <a:gd name="T31" fmla="*/ 38 h 351"/>
              <a:gd name="T32" fmla="*/ 143 w 389"/>
              <a:gd name="T33" fmla="*/ 17 h 351"/>
              <a:gd name="T34" fmla="*/ 115 w 389"/>
              <a:gd name="T35" fmla="*/ 26 h 351"/>
              <a:gd name="T36" fmla="*/ 9 w 389"/>
              <a:gd name="T37" fmla="*/ 0 h 351"/>
              <a:gd name="T38" fmla="*/ 3 w 389"/>
              <a:gd name="T39" fmla="*/ 12 h 351"/>
              <a:gd name="T40" fmla="*/ 3 w 389"/>
              <a:gd name="T41" fmla="*/ 49 h 351"/>
              <a:gd name="T42" fmla="*/ 14 w 389"/>
              <a:gd name="T43" fmla="*/ 67 h 351"/>
              <a:gd name="T44" fmla="*/ 18 w 389"/>
              <a:gd name="T45" fmla="*/ 84 h 351"/>
              <a:gd name="T46" fmla="*/ 7 w 389"/>
              <a:gd name="T47" fmla="*/ 94 h 351"/>
              <a:gd name="T48" fmla="*/ 21 w 389"/>
              <a:gd name="T49" fmla="*/ 115 h 351"/>
              <a:gd name="T50" fmla="*/ 32 w 389"/>
              <a:gd name="T51" fmla="*/ 125 h 351"/>
              <a:gd name="T52" fmla="*/ 36 w 389"/>
              <a:gd name="T53" fmla="*/ 138 h 351"/>
              <a:gd name="T54" fmla="*/ 34 w 389"/>
              <a:gd name="T55" fmla="*/ 155 h 351"/>
              <a:gd name="T56" fmla="*/ 48 w 389"/>
              <a:gd name="T57" fmla="*/ 168 h 351"/>
              <a:gd name="T58" fmla="*/ 67 w 389"/>
              <a:gd name="T59" fmla="*/ 181 h 351"/>
              <a:gd name="T60" fmla="*/ 62 w 389"/>
              <a:gd name="T61" fmla="*/ 164 h 351"/>
              <a:gd name="T62" fmla="*/ 53 w 389"/>
              <a:gd name="T63" fmla="*/ 143 h 351"/>
              <a:gd name="T64" fmla="*/ 44 w 389"/>
              <a:gd name="T65" fmla="*/ 108 h 351"/>
              <a:gd name="T66" fmla="*/ 40 w 389"/>
              <a:gd name="T67" fmla="*/ 86 h 351"/>
              <a:gd name="T68" fmla="*/ 29 w 389"/>
              <a:gd name="T69" fmla="*/ 59 h 351"/>
              <a:gd name="T70" fmla="*/ 23 w 389"/>
              <a:gd name="T71" fmla="*/ 52 h 351"/>
              <a:gd name="T72" fmla="*/ 27 w 389"/>
              <a:gd name="T73" fmla="*/ 19 h 351"/>
              <a:gd name="T74" fmla="*/ 41 w 389"/>
              <a:gd name="T75" fmla="*/ 26 h 351"/>
              <a:gd name="T76" fmla="*/ 49 w 389"/>
              <a:gd name="T77" fmla="*/ 58 h 351"/>
              <a:gd name="T78" fmla="*/ 46 w 389"/>
              <a:gd name="T79" fmla="*/ 75 h 351"/>
              <a:gd name="T80" fmla="*/ 54 w 389"/>
              <a:gd name="T81" fmla="*/ 86 h 351"/>
              <a:gd name="T82" fmla="*/ 66 w 389"/>
              <a:gd name="T83" fmla="*/ 102 h 351"/>
              <a:gd name="T84" fmla="*/ 78 w 389"/>
              <a:gd name="T85" fmla="*/ 120 h 351"/>
              <a:gd name="T86" fmla="*/ 77 w 389"/>
              <a:gd name="T87" fmla="*/ 135 h 351"/>
              <a:gd name="T88" fmla="*/ 101 w 389"/>
              <a:gd name="T89" fmla="*/ 166 h 351"/>
              <a:gd name="T90" fmla="*/ 118 w 389"/>
              <a:gd name="T91" fmla="*/ 213 h 351"/>
              <a:gd name="T92" fmla="*/ 117 w 389"/>
              <a:gd name="T93" fmla="*/ 227 h 351"/>
              <a:gd name="T94" fmla="*/ 112 w 389"/>
              <a:gd name="T95" fmla="*/ 240 h 351"/>
              <a:gd name="T96" fmla="*/ 124 w 389"/>
              <a:gd name="T97" fmla="*/ 260 h 351"/>
              <a:gd name="T98" fmla="*/ 143 w 389"/>
              <a:gd name="T99" fmla="*/ 278 h 351"/>
              <a:gd name="T100" fmla="*/ 164 w 389"/>
              <a:gd name="T101" fmla="*/ 287 h 351"/>
              <a:gd name="T102" fmla="*/ 187 w 389"/>
              <a:gd name="T103" fmla="*/ 307 h 351"/>
              <a:gd name="T104" fmla="*/ 229 w 389"/>
              <a:gd name="T105" fmla="*/ 326 h 351"/>
              <a:gd name="T106" fmla="*/ 249 w 389"/>
              <a:gd name="T107" fmla="*/ 319 h 351"/>
              <a:gd name="T108" fmla="*/ 267 w 389"/>
              <a:gd name="T109" fmla="*/ 318 h 351"/>
              <a:gd name="T110" fmla="*/ 285 w 389"/>
              <a:gd name="T111" fmla="*/ 336 h 351"/>
              <a:gd name="T112" fmla="*/ 295 w 389"/>
              <a:gd name="T113" fmla="*/ 335 h 351"/>
              <a:gd name="T114" fmla="*/ 319 w 389"/>
              <a:gd name="T115" fmla="*/ 318 h 351"/>
              <a:gd name="T116" fmla="*/ 311 w 389"/>
              <a:gd name="T117" fmla="*/ 305 h 351"/>
              <a:gd name="T118" fmla="*/ 343 w 389"/>
              <a:gd name="T119" fmla="*/ 290 h 351"/>
              <a:gd name="T120" fmla="*/ 351 w 389"/>
              <a:gd name="T121" fmla="*/ 281 h 351"/>
              <a:gd name="T122" fmla="*/ 360 w 389"/>
              <a:gd name="T123" fmla="*/ 281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89" h="351">
                <a:moveTo>
                  <a:pt x="361" y="283"/>
                </a:moveTo>
                <a:lnTo>
                  <a:pt x="362" y="282"/>
                </a:lnTo>
                <a:lnTo>
                  <a:pt x="364" y="278"/>
                </a:lnTo>
                <a:lnTo>
                  <a:pt x="366" y="276"/>
                </a:lnTo>
                <a:lnTo>
                  <a:pt x="367" y="272"/>
                </a:lnTo>
                <a:lnTo>
                  <a:pt x="369" y="265"/>
                </a:lnTo>
                <a:lnTo>
                  <a:pt x="371" y="258"/>
                </a:lnTo>
                <a:lnTo>
                  <a:pt x="373" y="250"/>
                </a:lnTo>
                <a:lnTo>
                  <a:pt x="374" y="243"/>
                </a:lnTo>
                <a:lnTo>
                  <a:pt x="376" y="237"/>
                </a:lnTo>
                <a:lnTo>
                  <a:pt x="380" y="231"/>
                </a:lnTo>
                <a:lnTo>
                  <a:pt x="384" y="224"/>
                </a:lnTo>
                <a:lnTo>
                  <a:pt x="387" y="220"/>
                </a:lnTo>
                <a:lnTo>
                  <a:pt x="388" y="218"/>
                </a:lnTo>
                <a:lnTo>
                  <a:pt x="387" y="215"/>
                </a:lnTo>
                <a:lnTo>
                  <a:pt x="386" y="213"/>
                </a:lnTo>
                <a:lnTo>
                  <a:pt x="384" y="211"/>
                </a:lnTo>
                <a:lnTo>
                  <a:pt x="384" y="210"/>
                </a:lnTo>
                <a:lnTo>
                  <a:pt x="383" y="210"/>
                </a:lnTo>
                <a:lnTo>
                  <a:pt x="382" y="209"/>
                </a:lnTo>
                <a:lnTo>
                  <a:pt x="376" y="210"/>
                </a:lnTo>
                <a:lnTo>
                  <a:pt x="370" y="210"/>
                </a:lnTo>
                <a:lnTo>
                  <a:pt x="362" y="211"/>
                </a:lnTo>
                <a:lnTo>
                  <a:pt x="355" y="211"/>
                </a:lnTo>
                <a:lnTo>
                  <a:pt x="348" y="213"/>
                </a:lnTo>
                <a:lnTo>
                  <a:pt x="342" y="215"/>
                </a:lnTo>
                <a:lnTo>
                  <a:pt x="339" y="216"/>
                </a:lnTo>
                <a:lnTo>
                  <a:pt x="337" y="218"/>
                </a:lnTo>
                <a:lnTo>
                  <a:pt x="335" y="220"/>
                </a:lnTo>
                <a:lnTo>
                  <a:pt x="333" y="222"/>
                </a:lnTo>
                <a:lnTo>
                  <a:pt x="330" y="227"/>
                </a:lnTo>
                <a:lnTo>
                  <a:pt x="327" y="232"/>
                </a:lnTo>
                <a:lnTo>
                  <a:pt x="322" y="243"/>
                </a:lnTo>
                <a:lnTo>
                  <a:pt x="318" y="254"/>
                </a:lnTo>
                <a:lnTo>
                  <a:pt x="312" y="264"/>
                </a:lnTo>
                <a:lnTo>
                  <a:pt x="306" y="265"/>
                </a:lnTo>
                <a:lnTo>
                  <a:pt x="300" y="267"/>
                </a:lnTo>
                <a:lnTo>
                  <a:pt x="289" y="269"/>
                </a:lnTo>
                <a:lnTo>
                  <a:pt x="279" y="272"/>
                </a:lnTo>
                <a:lnTo>
                  <a:pt x="275" y="273"/>
                </a:lnTo>
                <a:lnTo>
                  <a:pt x="269" y="274"/>
                </a:lnTo>
                <a:lnTo>
                  <a:pt x="264" y="273"/>
                </a:lnTo>
                <a:lnTo>
                  <a:pt x="260" y="272"/>
                </a:lnTo>
                <a:lnTo>
                  <a:pt x="256" y="269"/>
                </a:lnTo>
                <a:lnTo>
                  <a:pt x="253" y="265"/>
                </a:lnTo>
                <a:lnTo>
                  <a:pt x="249" y="262"/>
                </a:lnTo>
                <a:lnTo>
                  <a:pt x="246" y="257"/>
                </a:lnTo>
                <a:lnTo>
                  <a:pt x="243" y="252"/>
                </a:lnTo>
                <a:lnTo>
                  <a:pt x="240" y="247"/>
                </a:lnTo>
                <a:lnTo>
                  <a:pt x="236" y="235"/>
                </a:lnTo>
                <a:lnTo>
                  <a:pt x="233" y="229"/>
                </a:lnTo>
                <a:lnTo>
                  <a:pt x="232" y="223"/>
                </a:lnTo>
                <a:lnTo>
                  <a:pt x="230" y="211"/>
                </a:lnTo>
                <a:lnTo>
                  <a:pt x="229" y="201"/>
                </a:lnTo>
                <a:lnTo>
                  <a:pt x="230" y="193"/>
                </a:lnTo>
                <a:lnTo>
                  <a:pt x="231" y="184"/>
                </a:lnTo>
                <a:lnTo>
                  <a:pt x="233" y="175"/>
                </a:lnTo>
                <a:lnTo>
                  <a:pt x="236" y="165"/>
                </a:lnTo>
                <a:lnTo>
                  <a:pt x="239" y="155"/>
                </a:lnTo>
                <a:lnTo>
                  <a:pt x="242" y="146"/>
                </a:lnTo>
                <a:lnTo>
                  <a:pt x="245" y="138"/>
                </a:lnTo>
                <a:lnTo>
                  <a:pt x="249" y="132"/>
                </a:lnTo>
                <a:lnTo>
                  <a:pt x="241" y="129"/>
                </a:lnTo>
                <a:lnTo>
                  <a:pt x="231" y="125"/>
                </a:lnTo>
                <a:lnTo>
                  <a:pt x="226" y="124"/>
                </a:lnTo>
                <a:lnTo>
                  <a:pt x="223" y="121"/>
                </a:lnTo>
                <a:lnTo>
                  <a:pt x="222" y="119"/>
                </a:lnTo>
                <a:lnTo>
                  <a:pt x="220" y="117"/>
                </a:lnTo>
                <a:lnTo>
                  <a:pt x="219" y="115"/>
                </a:lnTo>
                <a:lnTo>
                  <a:pt x="219" y="113"/>
                </a:lnTo>
                <a:lnTo>
                  <a:pt x="217" y="96"/>
                </a:lnTo>
                <a:lnTo>
                  <a:pt x="215" y="86"/>
                </a:lnTo>
                <a:lnTo>
                  <a:pt x="213" y="77"/>
                </a:lnTo>
                <a:lnTo>
                  <a:pt x="211" y="72"/>
                </a:lnTo>
                <a:lnTo>
                  <a:pt x="210" y="69"/>
                </a:lnTo>
                <a:lnTo>
                  <a:pt x="209" y="66"/>
                </a:lnTo>
                <a:lnTo>
                  <a:pt x="207" y="62"/>
                </a:lnTo>
                <a:lnTo>
                  <a:pt x="204" y="59"/>
                </a:lnTo>
                <a:lnTo>
                  <a:pt x="201" y="58"/>
                </a:lnTo>
                <a:lnTo>
                  <a:pt x="197" y="56"/>
                </a:lnTo>
                <a:lnTo>
                  <a:pt x="194" y="56"/>
                </a:lnTo>
                <a:lnTo>
                  <a:pt x="190" y="56"/>
                </a:lnTo>
                <a:lnTo>
                  <a:pt x="187" y="58"/>
                </a:lnTo>
                <a:lnTo>
                  <a:pt x="184" y="59"/>
                </a:lnTo>
                <a:lnTo>
                  <a:pt x="182" y="62"/>
                </a:lnTo>
                <a:lnTo>
                  <a:pt x="178" y="67"/>
                </a:lnTo>
                <a:lnTo>
                  <a:pt x="175" y="69"/>
                </a:lnTo>
                <a:lnTo>
                  <a:pt x="174" y="69"/>
                </a:lnTo>
                <a:lnTo>
                  <a:pt x="169" y="68"/>
                </a:lnTo>
                <a:lnTo>
                  <a:pt x="167" y="67"/>
                </a:lnTo>
                <a:lnTo>
                  <a:pt x="165" y="66"/>
                </a:lnTo>
                <a:lnTo>
                  <a:pt x="164" y="63"/>
                </a:lnTo>
                <a:lnTo>
                  <a:pt x="161" y="59"/>
                </a:lnTo>
                <a:lnTo>
                  <a:pt x="160" y="54"/>
                </a:lnTo>
                <a:lnTo>
                  <a:pt x="159" y="49"/>
                </a:lnTo>
                <a:lnTo>
                  <a:pt x="156" y="38"/>
                </a:lnTo>
                <a:lnTo>
                  <a:pt x="154" y="35"/>
                </a:lnTo>
                <a:lnTo>
                  <a:pt x="152" y="33"/>
                </a:lnTo>
                <a:lnTo>
                  <a:pt x="148" y="29"/>
                </a:lnTo>
                <a:lnTo>
                  <a:pt x="145" y="23"/>
                </a:lnTo>
                <a:lnTo>
                  <a:pt x="143" y="21"/>
                </a:lnTo>
                <a:lnTo>
                  <a:pt x="143" y="17"/>
                </a:lnTo>
                <a:lnTo>
                  <a:pt x="140" y="17"/>
                </a:lnTo>
                <a:lnTo>
                  <a:pt x="138" y="18"/>
                </a:lnTo>
                <a:lnTo>
                  <a:pt x="133" y="18"/>
                </a:lnTo>
                <a:lnTo>
                  <a:pt x="126" y="17"/>
                </a:lnTo>
                <a:lnTo>
                  <a:pt x="119" y="17"/>
                </a:lnTo>
                <a:lnTo>
                  <a:pt x="115" y="26"/>
                </a:lnTo>
                <a:lnTo>
                  <a:pt x="71" y="26"/>
                </a:lnTo>
                <a:lnTo>
                  <a:pt x="31" y="0"/>
                </a:lnTo>
                <a:lnTo>
                  <a:pt x="28" y="0"/>
                </a:lnTo>
                <a:lnTo>
                  <a:pt x="24" y="0"/>
                </a:lnTo>
                <a:lnTo>
                  <a:pt x="17" y="0"/>
                </a:lnTo>
                <a:lnTo>
                  <a:pt x="9" y="0"/>
                </a:lnTo>
                <a:lnTo>
                  <a:pt x="0" y="0"/>
                </a:lnTo>
                <a:lnTo>
                  <a:pt x="0" y="3"/>
                </a:lnTo>
                <a:lnTo>
                  <a:pt x="0" y="7"/>
                </a:lnTo>
                <a:lnTo>
                  <a:pt x="0" y="9"/>
                </a:lnTo>
                <a:lnTo>
                  <a:pt x="0" y="11"/>
                </a:lnTo>
                <a:lnTo>
                  <a:pt x="3" y="12"/>
                </a:lnTo>
                <a:lnTo>
                  <a:pt x="3" y="36"/>
                </a:lnTo>
                <a:lnTo>
                  <a:pt x="1" y="38"/>
                </a:lnTo>
                <a:lnTo>
                  <a:pt x="1" y="39"/>
                </a:lnTo>
                <a:lnTo>
                  <a:pt x="1" y="41"/>
                </a:lnTo>
                <a:lnTo>
                  <a:pt x="3" y="45"/>
                </a:lnTo>
                <a:lnTo>
                  <a:pt x="3" y="49"/>
                </a:lnTo>
                <a:lnTo>
                  <a:pt x="3" y="50"/>
                </a:lnTo>
                <a:lnTo>
                  <a:pt x="3" y="53"/>
                </a:lnTo>
                <a:lnTo>
                  <a:pt x="6" y="57"/>
                </a:lnTo>
                <a:lnTo>
                  <a:pt x="9" y="61"/>
                </a:lnTo>
                <a:lnTo>
                  <a:pt x="12" y="63"/>
                </a:lnTo>
                <a:lnTo>
                  <a:pt x="14" y="67"/>
                </a:lnTo>
                <a:lnTo>
                  <a:pt x="17" y="71"/>
                </a:lnTo>
                <a:lnTo>
                  <a:pt x="19" y="75"/>
                </a:lnTo>
                <a:lnTo>
                  <a:pt x="19" y="76"/>
                </a:lnTo>
                <a:lnTo>
                  <a:pt x="19" y="79"/>
                </a:lnTo>
                <a:lnTo>
                  <a:pt x="19" y="81"/>
                </a:lnTo>
                <a:lnTo>
                  <a:pt x="18" y="84"/>
                </a:lnTo>
                <a:lnTo>
                  <a:pt x="16" y="85"/>
                </a:lnTo>
                <a:lnTo>
                  <a:pt x="13" y="88"/>
                </a:lnTo>
                <a:lnTo>
                  <a:pt x="9" y="90"/>
                </a:lnTo>
                <a:lnTo>
                  <a:pt x="8" y="92"/>
                </a:lnTo>
                <a:lnTo>
                  <a:pt x="7" y="93"/>
                </a:lnTo>
                <a:lnTo>
                  <a:pt x="7" y="94"/>
                </a:lnTo>
                <a:lnTo>
                  <a:pt x="7" y="96"/>
                </a:lnTo>
                <a:lnTo>
                  <a:pt x="7" y="99"/>
                </a:lnTo>
                <a:lnTo>
                  <a:pt x="9" y="103"/>
                </a:lnTo>
                <a:lnTo>
                  <a:pt x="15" y="110"/>
                </a:lnTo>
                <a:lnTo>
                  <a:pt x="18" y="112"/>
                </a:lnTo>
                <a:lnTo>
                  <a:pt x="21" y="115"/>
                </a:lnTo>
                <a:lnTo>
                  <a:pt x="24" y="115"/>
                </a:lnTo>
                <a:lnTo>
                  <a:pt x="27" y="116"/>
                </a:lnTo>
                <a:lnTo>
                  <a:pt x="28" y="119"/>
                </a:lnTo>
                <a:lnTo>
                  <a:pt x="29" y="121"/>
                </a:lnTo>
                <a:lnTo>
                  <a:pt x="31" y="123"/>
                </a:lnTo>
                <a:lnTo>
                  <a:pt x="32" y="125"/>
                </a:lnTo>
                <a:lnTo>
                  <a:pt x="34" y="126"/>
                </a:lnTo>
                <a:lnTo>
                  <a:pt x="36" y="128"/>
                </a:lnTo>
                <a:lnTo>
                  <a:pt x="36" y="131"/>
                </a:lnTo>
                <a:lnTo>
                  <a:pt x="37" y="134"/>
                </a:lnTo>
                <a:lnTo>
                  <a:pt x="36" y="135"/>
                </a:lnTo>
                <a:lnTo>
                  <a:pt x="36" y="138"/>
                </a:lnTo>
                <a:lnTo>
                  <a:pt x="35" y="141"/>
                </a:lnTo>
                <a:lnTo>
                  <a:pt x="34" y="145"/>
                </a:lnTo>
                <a:lnTo>
                  <a:pt x="32" y="147"/>
                </a:lnTo>
                <a:lnTo>
                  <a:pt x="32" y="150"/>
                </a:lnTo>
                <a:lnTo>
                  <a:pt x="32" y="153"/>
                </a:lnTo>
                <a:lnTo>
                  <a:pt x="34" y="155"/>
                </a:lnTo>
                <a:lnTo>
                  <a:pt x="35" y="155"/>
                </a:lnTo>
                <a:lnTo>
                  <a:pt x="36" y="158"/>
                </a:lnTo>
                <a:lnTo>
                  <a:pt x="39" y="160"/>
                </a:lnTo>
                <a:lnTo>
                  <a:pt x="44" y="164"/>
                </a:lnTo>
                <a:lnTo>
                  <a:pt x="46" y="165"/>
                </a:lnTo>
                <a:lnTo>
                  <a:pt x="48" y="168"/>
                </a:lnTo>
                <a:lnTo>
                  <a:pt x="59" y="188"/>
                </a:lnTo>
                <a:lnTo>
                  <a:pt x="62" y="187"/>
                </a:lnTo>
                <a:lnTo>
                  <a:pt x="63" y="186"/>
                </a:lnTo>
                <a:lnTo>
                  <a:pt x="65" y="184"/>
                </a:lnTo>
                <a:lnTo>
                  <a:pt x="66" y="183"/>
                </a:lnTo>
                <a:lnTo>
                  <a:pt x="67" y="181"/>
                </a:lnTo>
                <a:lnTo>
                  <a:pt x="68" y="180"/>
                </a:lnTo>
                <a:lnTo>
                  <a:pt x="68" y="178"/>
                </a:lnTo>
                <a:lnTo>
                  <a:pt x="67" y="174"/>
                </a:lnTo>
                <a:lnTo>
                  <a:pt x="66" y="170"/>
                </a:lnTo>
                <a:lnTo>
                  <a:pt x="64" y="166"/>
                </a:lnTo>
                <a:lnTo>
                  <a:pt x="62" y="164"/>
                </a:lnTo>
                <a:lnTo>
                  <a:pt x="58" y="157"/>
                </a:lnTo>
                <a:lnTo>
                  <a:pt x="56" y="155"/>
                </a:lnTo>
                <a:lnTo>
                  <a:pt x="54" y="151"/>
                </a:lnTo>
                <a:lnTo>
                  <a:pt x="54" y="150"/>
                </a:lnTo>
                <a:lnTo>
                  <a:pt x="54" y="148"/>
                </a:lnTo>
                <a:lnTo>
                  <a:pt x="53" y="143"/>
                </a:lnTo>
                <a:lnTo>
                  <a:pt x="50" y="130"/>
                </a:lnTo>
                <a:lnTo>
                  <a:pt x="49" y="124"/>
                </a:lnTo>
                <a:lnTo>
                  <a:pt x="49" y="119"/>
                </a:lnTo>
                <a:lnTo>
                  <a:pt x="46" y="115"/>
                </a:lnTo>
                <a:lnTo>
                  <a:pt x="45" y="110"/>
                </a:lnTo>
                <a:lnTo>
                  <a:pt x="44" y="108"/>
                </a:lnTo>
                <a:lnTo>
                  <a:pt x="43" y="108"/>
                </a:lnTo>
                <a:lnTo>
                  <a:pt x="41" y="106"/>
                </a:lnTo>
                <a:lnTo>
                  <a:pt x="41" y="103"/>
                </a:lnTo>
                <a:lnTo>
                  <a:pt x="41" y="98"/>
                </a:lnTo>
                <a:lnTo>
                  <a:pt x="40" y="92"/>
                </a:lnTo>
                <a:lnTo>
                  <a:pt x="40" y="86"/>
                </a:lnTo>
                <a:lnTo>
                  <a:pt x="39" y="82"/>
                </a:lnTo>
                <a:lnTo>
                  <a:pt x="36" y="72"/>
                </a:lnTo>
                <a:lnTo>
                  <a:pt x="32" y="63"/>
                </a:lnTo>
                <a:lnTo>
                  <a:pt x="31" y="62"/>
                </a:lnTo>
                <a:lnTo>
                  <a:pt x="30" y="62"/>
                </a:lnTo>
                <a:lnTo>
                  <a:pt x="29" y="59"/>
                </a:lnTo>
                <a:lnTo>
                  <a:pt x="28" y="58"/>
                </a:lnTo>
                <a:lnTo>
                  <a:pt x="27" y="58"/>
                </a:lnTo>
                <a:lnTo>
                  <a:pt x="26" y="57"/>
                </a:lnTo>
                <a:lnTo>
                  <a:pt x="24" y="56"/>
                </a:lnTo>
                <a:lnTo>
                  <a:pt x="24" y="55"/>
                </a:lnTo>
                <a:lnTo>
                  <a:pt x="23" y="52"/>
                </a:lnTo>
                <a:lnTo>
                  <a:pt x="23" y="49"/>
                </a:lnTo>
                <a:lnTo>
                  <a:pt x="23" y="40"/>
                </a:lnTo>
                <a:lnTo>
                  <a:pt x="23" y="31"/>
                </a:lnTo>
                <a:lnTo>
                  <a:pt x="26" y="23"/>
                </a:lnTo>
                <a:lnTo>
                  <a:pt x="27" y="20"/>
                </a:lnTo>
                <a:lnTo>
                  <a:pt x="27" y="19"/>
                </a:lnTo>
                <a:lnTo>
                  <a:pt x="28" y="19"/>
                </a:lnTo>
                <a:lnTo>
                  <a:pt x="31" y="19"/>
                </a:lnTo>
                <a:lnTo>
                  <a:pt x="34" y="20"/>
                </a:lnTo>
                <a:lnTo>
                  <a:pt x="36" y="21"/>
                </a:lnTo>
                <a:lnTo>
                  <a:pt x="37" y="23"/>
                </a:lnTo>
                <a:lnTo>
                  <a:pt x="41" y="26"/>
                </a:lnTo>
                <a:lnTo>
                  <a:pt x="43" y="31"/>
                </a:lnTo>
                <a:lnTo>
                  <a:pt x="46" y="36"/>
                </a:lnTo>
                <a:lnTo>
                  <a:pt x="46" y="43"/>
                </a:lnTo>
                <a:lnTo>
                  <a:pt x="48" y="49"/>
                </a:lnTo>
                <a:lnTo>
                  <a:pt x="48" y="55"/>
                </a:lnTo>
                <a:lnTo>
                  <a:pt x="49" y="58"/>
                </a:lnTo>
                <a:lnTo>
                  <a:pt x="46" y="62"/>
                </a:lnTo>
                <a:lnTo>
                  <a:pt x="46" y="65"/>
                </a:lnTo>
                <a:lnTo>
                  <a:pt x="45" y="67"/>
                </a:lnTo>
                <a:lnTo>
                  <a:pt x="45" y="72"/>
                </a:lnTo>
                <a:lnTo>
                  <a:pt x="45" y="74"/>
                </a:lnTo>
                <a:lnTo>
                  <a:pt x="46" y="75"/>
                </a:lnTo>
                <a:lnTo>
                  <a:pt x="49" y="75"/>
                </a:lnTo>
                <a:lnTo>
                  <a:pt x="52" y="75"/>
                </a:lnTo>
                <a:lnTo>
                  <a:pt x="52" y="79"/>
                </a:lnTo>
                <a:lnTo>
                  <a:pt x="52" y="81"/>
                </a:lnTo>
                <a:lnTo>
                  <a:pt x="53" y="84"/>
                </a:lnTo>
                <a:lnTo>
                  <a:pt x="54" y="86"/>
                </a:lnTo>
                <a:lnTo>
                  <a:pt x="56" y="89"/>
                </a:lnTo>
                <a:lnTo>
                  <a:pt x="58" y="89"/>
                </a:lnTo>
                <a:lnTo>
                  <a:pt x="59" y="90"/>
                </a:lnTo>
                <a:lnTo>
                  <a:pt x="62" y="92"/>
                </a:lnTo>
                <a:lnTo>
                  <a:pt x="63" y="97"/>
                </a:lnTo>
                <a:lnTo>
                  <a:pt x="66" y="102"/>
                </a:lnTo>
                <a:lnTo>
                  <a:pt x="69" y="108"/>
                </a:lnTo>
                <a:lnTo>
                  <a:pt x="72" y="113"/>
                </a:lnTo>
                <a:lnTo>
                  <a:pt x="75" y="115"/>
                </a:lnTo>
                <a:lnTo>
                  <a:pt x="77" y="118"/>
                </a:lnTo>
                <a:lnTo>
                  <a:pt x="77" y="119"/>
                </a:lnTo>
                <a:lnTo>
                  <a:pt x="78" y="120"/>
                </a:lnTo>
                <a:lnTo>
                  <a:pt x="77" y="123"/>
                </a:lnTo>
                <a:lnTo>
                  <a:pt x="76" y="124"/>
                </a:lnTo>
                <a:lnTo>
                  <a:pt x="75" y="125"/>
                </a:lnTo>
                <a:lnTo>
                  <a:pt x="75" y="129"/>
                </a:lnTo>
                <a:lnTo>
                  <a:pt x="76" y="132"/>
                </a:lnTo>
                <a:lnTo>
                  <a:pt x="77" y="135"/>
                </a:lnTo>
                <a:lnTo>
                  <a:pt x="80" y="140"/>
                </a:lnTo>
                <a:lnTo>
                  <a:pt x="83" y="144"/>
                </a:lnTo>
                <a:lnTo>
                  <a:pt x="88" y="151"/>
                </a:lnTo>
                <a:lnTo>
                  <a:pt x="94" y="158"/>
                </a:lnTo>
                <a:lnTo>
                  <a:pt x="98" y="162"/>
                </a:lnTo>
                <a:lnTo>
                  <a:pt x="101" y="166"/>
                </a:lnTo>
                <a:lnTo>
                  <a:pt x="105" y="175"/>
                </a:lnTo>
                <a:lnTo>
                  <a:pt x="110" y="184"/>
                </a:lnTo>
                <a:lnTo>
                  <a:pt x="113" y="188"/>
                </a:lnTo>
                <a:lnTo>
                  <a:pt x="117" y="193"/>
                </a:lnTo>
                <a:lnTo>
                  <a:pt x="117" y="209"/>
                </a:lnTo>
                <a:lnTo>
                  <a:pt x="118" y="213"/>
                </a:lnTo>
                <a:lnTo>
                  <a:pt x="119" y="215"/>
                </a:lnTo>
                <a:lnTo>
                  <a:pt x="119" y="218"/>
                </a:lnTo>
                <a:lnTo>
                  <a:pt x="119" y="221"/>
                </a:lnTo>
                <a:lnTo>
                  <a:pt x="119" y="224"/>
                </a:lnTo>
                <a:lnTo>
                  <a:pt x="118" y="227"/>
                </a:lnTo>
                <a:lnTo>
                  <a:pt x="117" y="227"/>
                </a:lnTo>
                <a:lnTo>
                  <a:pt x="115" y="227"/>
                </a:lnTo>
                <a:lnTo>
                  <a:pt x="115" y="228"/>
                </a:lnTo>
                <a:lnTo>
                  <a:pt x="115" y="230"/>
                </a:lnTo>
                <a:lnTo>
                  <a:pt x="115" y="236"/>
                </a:lnTo>
                <a:lnTo>
                  <a:pt x="112" y="236"/>
                </a:lnTo>
                <a:lnTo>
                  <a:pt x="112" y="240"/>
                </a:lnTo>
                <a:lnTo>
                  <a:pt x="115" y="247"/>
                </a:lnTo>
                <a:lnTo>
                  <a:pt x="116" y="250"/>
                </a:lnTo>
                <a:lnTo>
                  <a:pt x="117" y="251"/>
                </a:lnTo>
                <a:lnTo>
                  <a:pt x="119" y="254"/>
                </a:lnTo>
                <a:lnTo>
                  <a:pt x="121" y="256"/>
                </a:lnTo>
                <a:lnTo>
                  <a:pt x="124" y="260"/>
                </a:lnTo>
                <a:lnTo>
                  <a:pt x="128" y="263"/>
                </a:lnTo>
                <a:lnTo>
                  <a:pt x="132" y="267"/>
                </a:lnTo>
                <a:lnTo>
                  <a:pt x="135" y="271"/>
                </a:lnTo>
                <a:lnTo>
                  <a:pt x="139" y="277"/>
                </a:lnTo>
                <a:lnTo>
                  <a:pt x="141" y="277"/>
                </a:lnTo>
                <a:lnTo>
                  <a:pt x="143" y="278"/>
                </a:lnTo>
                <a:lnTo>
                  <a:pt x="150" y="280"/>
                </a:lnTo>
                <a:lnTo>
                  <a:pt x="152" y="281"/>
                </a:lnTo>
                <a:lnTo>
                  <a:pt x="155" y="282"/>
                </a:lnTo>
                <a:lnTo>
                  <a:pt x="157" y="283"/>
                </a:lnTo>
                <a:lnTo>
                  <a:pt x="161" y="285"/>
                </a:lnTo>
                <a:lnTo>
                  <a:pt x="164" y="287"/>
                </a:lnTo>
                <a:lnTo>
                  <a:pt x="166" y="290"/>
                </a:lnTo>
                <a:lnTo>
                  <a:pt x="172" y="296"/>
                </a:lnTo>
                <a:lnTo>
                  <a:pt x="177" y="301"/>
                </a:lnTo>
                <a:lnTo>
                  <a:pt x="181" y="303"/>
                </a:lnTo>
                <a:lnTo>
                  <a:pt x="184" y="305"/>
                </a:lnTo>
                <a:lnTo>
                  <a:pt x="187" y="307"/>
                </a:lnTo>
                <a:lnTo>
                  <a:pt x="190" y="308"/>
                </a:lnTo>
                <a:lnTo>
                  <a:pt x="197" y="310"/>
                </a:lnTo>
                <a:lnTo>
                  <a:pt x="210" y="318"/>
                </a:lnTo>
                <a:lnTo>
                  <a:pt x="217" y="322"/>
                </a:lnTo>
                <a:lnTo>
                  <a:pt x="223" y="325"/>
                </a:lnTo>
                <a:lnTo>
                  <a:pt x="229" y="326"/>
                </a:lnTo>
                <a:lnTo>
                  <a:pt x="235" y="327"/>
                </a:lnTo>
                <a:lnTo>
                  <a:pt x="239" y="326"/>
                </a:lnTo>
                <a:lnTo>
                  <a:pt x="240" y="326"/>
                </a:lnTo>
                <a:lnTo>
                  <a:pt x="241" y="326"/>
                </a:lnTo>
                <a:lnTo>
                  <a:pt x="246" y="321"/>
                </a:lnTo>
                <a:lnTo>
                  <a:pt x="249" y="319"/>
                </a:lnTo>
                <a:lnTo>
                  <a:pt x="251" y="317"/>
                </a:lnTo>
                <a:lnTo>
                  <a:pt x="254" y="316"/>
                </a:lnTo>
                <a:lnTo>
                  <a:pt x="257" y="316"/>
                </a:lnTo>
                <a:lnTo>
                  <a:pt x="263" y="316"/>
                </a:lnTo>
                <a:lnTo>
                  <a:pt x="264" y="317"/>
                </a:lnTo>
                <a:lnTo>
                  <a:pt x="267" y="318"/>
                </a:lnTo>
                <a:lnTo>
                  <a:pt x="269" y="319"/>
                </a:lnTo>
                <a:lnTo>
                  <a:pt x="271" y="321"/>
                </a:lnTo>
                <a:lnTo>
                  <a:pt x="276" y="323"/>
                </a:lnTo>
                <a:lnTo>
                  <a:pt x="279" y="328"/>
                </a:lnTo>
                <a:lnTo>
                  <a:pt x="282" y="332"/>
                </a:lnTo>
                <a:lnTo>
                  <a:pt x="285" y="336"/>
                </a:lnTo>
                <a:lnTo>
                  <a:pt x="286" y="340"/>
                </a:lnTo>
                <a:lnTo>
                  <a:pt x="289" y="345"/>
                </a:lnTo>
                <a:lnTo>
                  <a:pt x="292" y="350"/>
                </a:lnTo>
                <a:lnTo>
                  <a:pt x="293" y="346"/>
                </a:lnTo>
                <a:lnTo>
                  <a:pt x="294" y="342"/>
                </a:lnTo>
                <a:lnTo>
                  <a:pt x="295" y="335"/>
                </a:lnTo>
                <a:lnTo>
                  <a:pt x="297" y="332"/>
                </a:lnTo>
                <a:lnTo>
                  <a:pt x="298" y="330"/>
                </a:lnTo>
                <a:lnTo>
                  <a:pt x="299" y="326"/>
                </a:lnTo>
                <a:lnTo>
                  <a:pt x="302" y="325"/>
                </a:lnTo>
                <a:lnTo>
                  <a:pt x="319" y="325"/>
                </a:lnTo>
                <a:lnTo>
                  <a:pt x="319" y="318"/>
                </a:lnTo>
                <a:lnTo>
                  <a:pt x="319" y="316"/>
                </a:lnTo>
                <a:lnTo>
                  <a:pt x="318" y="313"/>
                </a:lnTo>
                <a:lnTo>
                  <a:pt x="316" y="312"/>
                </a:lnTo>
                <a:lnTo>
                  <a:pt x="315" y="310"/>
                </a:lnTo>
                <a:lnTo>
                  <a:pt x="312" y="307"/>
                </a:lnTo>
                <a:lnTo>
                  <a:pt x="311" y="305"/>
                </a:lnTo>
                <a:lnTo>
                  <a:pt x="311" y="303"/>
                </a:lnTo>
                <a:lnTo>
                  <a:pt x="312" y="300"/>
                </a:lnTo>
                <a:lnTo>
                  <a:pt x="315" y="295"/>
                </a:lnTo>
                <a:lnTo>
                  <a:pt x="318" y="291"/>
                </a:lnTo>
                <a:lnTo>
                  <a:pt x="321" y="289"/>
                </a:lnTo>
                <a:lnTo>
                  <a:pt x="343" y="290"/>
                </a:lnTo>
                <a:lnTo>
                  <a:pt x="346" y="289"/>
                </a:lnTo>
                <a:lnTo>
                  <a:pt x="347" y="289"/>
                </a:lnTo>
                <a:lnTo>
                  <a:pt x="348" y="287"/>
                </a:lnTo>
                <a:lnTo>
                  <a:pt x="348" y="286"/>
                </a:lnTo>
                <a:lnTo>
                  <a:pt x="351" y="283"/>
                </a:lnTo>
                <a:lnTo>
                  <a:pt x="351" y="281"/>
                </a:lnTo>
                <a:lnTo>
                  <a:pt x="352" y="279"/>
                </a:lnTo>
                <a:lnTo>
                  <a:pt x="353" y="278"/>
                </a:lnTo>
                <a:lnTo>
                  <a:pt x="356" y="277"/>
                </a:lnTo>
                <a:lnTo>
                  <a:pt x="358" y="278"/>
                </a:lnTo>
                <a:lnTo>
                  <a:pt x="360" y="279"/>
                </a:lnTo>
                <a:lnTo>
                  <a:pt x="360" y="281"/>
                </a:lnTo>
                <a:lnTo>
                  <a:pt x="360" y="283"/>
                </a:lnTo>
                <a:lnTo>
                  <a:pt x="361" y="283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38" name="Freeform 242">
            <a:extLst>
              <a:ext uri="{FF2B5EF4-FFF2-40B4-BE49-F238E27FC236}">
                <a16:creationId xmlns:a16="http://schemas.microsoft.com/office/drawing/2014/main" id="{73B7D251-9CC6-9DEB-4D80-D8ED20BD8C04}"/>
              </a:ext>
            </a:extLst>
          </p:cNvPr>
          <p:cNvSpPr>
            <a:spLocks/>
          </p:cNvSpPr>
          <p:nvPr/>
        </p:nvSpPr>
        <p:spPr bwMode="auto">
          <a:xfrm>
            <a:off x="4012575" y="4349596"/>
            <a:ext cx="80963" cy="68263"/>
          </a:xfrm>
          <a:custGeom>
            <a:avLst/>
            <a:gdLst>
              <a:gd name="T0" fmla="*/ 37 w 40"/>
              <a:gd name="T1" fmla="*/ 35 h 36"/>
              <a:gd name="T2" fmla="*/ 38 w 40"/>
              <a:gd name="T3" fmla="*/ 35 h 36"/>
              <a:gd name="T4" fmla="*/ 10 w 40"/>
              <a:gd name="T5" fmla="*/ 35 h 36"/>
              <a:gd name="T6" fmla="*/ 7 w 40"/>
              <a:gd name="T7" fmla="*/ 32 h 36"/>
              <a:gd name="T8" fmla="*/ 3 w 40"/>
              <a:gd name="T9" fmla="*/ 31 h 36"/>
              <a:gd name="T10" fmla="*/ 1 w 40"/>
              <a:gd name="T11" fmla="*/ 31 h 36"/>
              <a:gd name="T12" fmla="*/ 1 w 40"/>
              <a:gd name="T13" fmla="*/ 30 h 36"/>
              <a:gd name="T14" fmla="*/ 0 w 40"/>
              <a:gd name="T15" fmla="*/ 28 h 36"/>
              <a:gd name="T16" fmla="*/ 0 w 40"/>
              <a:gd name="T17" fmla="*/ 27 h 36"/>
              <a:gd name="T18" fmla="*/ 0 w 40"/>
              <a:gd name="T19" fmla="*/ 25 h 36"/>
              <a:gd name="T20" fmla="*/ 11 w 40"/>
              <a:gd name="T21" fmla="*/ 22 h 36"/>
              <a:gd name="T22" fmla="*/ 14 w 40"/>
              <a:gd name="T23" fmla="*/ 23 h 36"/>
              <a:gd name="T24" fmla="*/ 16 w 40"/>
              <a:gd name="T25" fmla="*/ 24 h 36"/>
              <a:gd name="T26" fmla="*/ 19 w 40"/>
              <a:gd name="T27" fmla="*/ 25 h 36"/>
              <a:gd name="T28" fmla="*/ 22 w 40"/>
              <a:gd name="T29" fmla="*/ 26 h 36"/>
              <a:gd name="T30" fmla="*/ 24 w 40"/>
              <a:gd name="T31" fmla="*/ 25 h 36"/>
              <a:gd name="T32" fmla="*/ 24 w 40"/>
              <a:gd name="T33" fmla="*/ 24 h 36"/>
              <a:gd name="T34" fmla="*/ 27 w 40"/>
              <a:gd name="T35" fmla="*/ 22 h 36"/>
              <a:gd name="T36" fmla="*/ 27 w 40"/>
              <a:gd name="T37" fmla="*/ 19 h 36"/>
              <a:gd name="T38" fmla="*/ 25 w 40"/>
              <a:gd name="T39" fmla="*/ 19 h 36"/>
              <a:gd name="T40" fmla="*/ 24 w 40"/>
              <a:gd name="T41" fmla="*/ 18 h 36"/>
              <a:gd name="T42" fmla="*/ 24 w 40"/>
              <a:gd name="T43" fmla="*/ 16 h 36"/>
              <a:gd name="T44" fmla="*/ 24 w 40"/>
              <a:gd name="T45" fmla="*/ 14 h 36"/>
              <a:gd name="T46" fmla="*/ 24 w 40"/>
              <a:gd name="T47" fmla="*/ 9 h 36"/>
              <a:gd name="T48" fmla="*/ 22 w 40"/>
              <a:gd name="T49" fmla="*/ 9 h 36"/>
              <a:gd name="T50" fmla="*/ 20 w 40"/>
              <a:gd name="T51" fmla="*/ 6 h 36"/>
              <a:gd name="T52" fmla="*/ 18 w 40"/>
              <a:gd name="T53" fmla="*/ 6 h 36"/>
              <a:gd name="T54" fmla="*/ 18 w 40"/>
              <a:gd name="T55" fmla="*/ 4 h 36"/>
              <a:gd name="T56" fmla="*/ 18 w 40"/>
              <a:gd name="T57" fmla="*/ 2 h 36"/>
              <a:gd name="T58" fmla="*/ 19 w 40"/>
              <a:gd name="T59" fmla="*/ 1 h 36"/>
              <a:gd name="T60" fmla="*/ 20 w 40"/>
              <a:gd name="T61" fmla="*/ 0 h 36"/>
              <a:gd name="T62" fmla="*/ 21 w 40"/>
              <a:gd name="T63" fmla="*/ 0 h 36"/>
              <a:gd name="T64" fmla="*/ 24 w 40"/>
              <a:gd name="T65" fmla="*/ 0 h 36"/>
              <a:gd name="T66" fmla="*/ 25 w 40"/>
              <a:gd name="T67" fmla="*/ 0 h 36"/>
              <a:gd name="T68" fmla="*/ 32 w 40"/>
              <a:gd name="T69" fmla="*/ 0 h 36"/>
              <a:gd name="T70" fmla="*/ 39 w 40"/>
              <a:gd name="T71" fmla="*/ 0 h 36"/>
              <a:gd name="T72" fmla="*/ 39 w 40"/>
              <a:gd name="T73" fmla="*/ 3 h 36"/>
              <a:gd name="T74" fmla="*/ 38 w 40"/>
              <a:gd name="T75" fmla="*/ 4 h 36"/>
              <a:gd name="T76" fmla="*/ 38 w 40"/>
              <a:gd name="T77" fmla="*/ 5 h 36"/>
              <a:gd name="T78" fmla="*/ 38 w 40"/>
              <a:gd name="T79" fmla="*/ 8 h 36"/>
              <a:gd name="T80" fmla="*/ 37 w 40"/>
              <a:gd name="T81" fmla="*/ 19 h 36"/>
              <a:gd name="T82" fmla="*/ 36 w 40"/>
              <a:gd name="T83" fmla="*/ 24 h 36"/>
              <a:gd name="T84" fmla="*/ 35 w 40"/>
              <a:gd name="T85" fmla="*/ 28 h 36"/>
              <a:gd name="T86" fmla="*/ 35 w 40"/>
              <a:gd name="T87" fmla="*/ 33 h 36"/>
              <a:gd name="T88" fmla="*/ 37 w 40"/>
              <a:gd name="T89" fmla="*/ 35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40" h="36">
                <a:moveTo>
                  <a:pt x="37" y="35"/>
                </a:moveTo>
                <a:lnTo>
                  <a:pt x="38" y="35"/>
                </a:lnTo>
                <a:lnTo>
                  <a:pt x="10" y="35"/>
                </a:lnTo>
                <a:lnTo>
                  <a:pt x="7" y="32"/>
                </a:lnTo>
                <a:lnTo>
                  <a:pt x="3" y="31"/>
                </a:lnTo>
                <a:lnTo>
                  <a:pt x="1" y="31"/>
                </a:lnTo>
                <a:lnTo>
                  <a:pt x="1" y="30"/>
                </a:lnTo>
                <a:lnTo>
                  <a:pt x="0" y="28"/>
                </a:lnTo>
                <a:lnTo>
                  <a:pt x="0" y="27"/>
                </a:lnTo>
                <a:lnTo>
                  <a:pt x="0" y="25"/>
                </a:lnTo>
                <a:lnTo>
                  <a:pt x="11" y="22"/>
                </a:lnTo>
                <a:lnTo>
                  <a:pt x="14" y="23"/>
                </a:lnTo>
                <a:lnTo>
                  <a:pt x="16" y="24"/>
                </a:lnTo>
                <a:lnTo>
                  <a:pt x="19" y="25"/>
                </a:lnTo>
                <a:lnTo>
                  <a:pt x="22" y="26"/>
                </a:lnTo>
                <a:lnTo>
                  <a:pt x="24" y="25"/>
                </a:lnTo>
                <a:lnTo>
                  <a:pt x="24" y="24"/>
                </a:lnTo>
                <a:lnTo>
                  <a:pt x="27" y="22"/>
                </a:lnTo>
                <a:lnTo>
                  <a:pt x="27" y="19"/>
                </a:lnTo>
                <a:lnTo>
                  <a:pt x="25" y="19"/>
                </a:lnTo>
                <a:lnTo>
                  <a:pt x="24" y="18"/>
                </a:lnTo>
                <a:lnTo>
                  <a:pt x="24" y="16"/>
                </a:lnTo>
                <a:lnTo>
                  <a:pt x="24" y="14"/>
                </a:lnTo>
                <a:lnTo>
                  <a:pt x="24" y="9"/>
                </a:lnTo>
                <a:lnTo>
                  <a:pt x="22" y="9"/>
                </a:lnTo>
                <a:lnTo>
                  <a:pt x="20" y="6"/>
                </a:lnTo>
                <a:lnTo>
                  <a:pt x="18" y="6"/>
                </a:lnTo>
                <a:lnTo>
                  <a:pt x="18" y="4"/>
                </a:lnTo>
                <a:lnTo>
                  <a:pt x="18" y="2"/>
                </a:lnTo>
                <a:lnTo>
                  <a:pt x="19" y="1"/>
                </a:lnTo>
                <a:lnTo>
                  <a:pt x="20" y="0"/>
                </a:lnTo>
                <a:lnTo>
                  <a:pt x="21" y="0"/>
                </a:lnTo>
                <a:lnTo>
                  <a:pt x="24" y="0"/>
                </a:lnTo>
                <a:lnTo>
                  <a:pt x="25" y="0"/>
                </a:lnTo>
                <a:lnTo>
                  <a:pt x="32" y="0"/>
                </a:lnTo>
                <a:lnTo>
                  <a:pt x="39" y="0"/>
                </a:lnTo>
                <a:lnTo>
                  <a:pt x="39" y="3"/>
                </a:lnTo>
                <a:lnTo>
                  <a:pt x="38" y="4"/>
                </a:lnTo>
                <a:lnTo>
                  <a:pt x="38" y="5"/>
                </a:lnTo>
                <a:lnTo>
                  <a:pt x="38" y="8"/>
                </a:lnTo>
                <a:lnTo>
                  <a:pt x="37" y="19"/>
                </a:lnTo>
                <a:lnTo>
                  <a:pt x="36" y="24"/>
                </a:lnTo>
                <a:lnTo>
                  <a:pt x="35" y="28"/>
                </a:lnTo>
                <a:lnTo>
                  <a:pt x="35" y="33"/>
                </a:lnTo>
                <a:lnTo>
                  <a:pt x="37" y="35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39" name="Freeform 243">
            <a:extLst>
              <a:ext uri="{FF2B5EF4-FFF2-40B4-BE49-F238E27FC236}">
                <a16:creationId xmlns:a16="http://schemas.microsoft.com/office/drawing/2014/main" id="{B956C20A-7B9F-1CCD-8882-9BAB6A1F92B8}"/>
              </a:ext>
            </a:extLst>
          </p:cNvPr>
          <p:cNvSpPr>
            <a:spLocks/>
          </p:cNvSpPr>
          <p:nvPr/>
        </p:nvSpPr>
        <p:spPr bwMode="auto">
          <a:xfrm>
            <a:off x="4082425" y="4349596"/>
            <a:ext cx="107950" cy="77788"/>
          </a:xfrm>
          <a:custGeom>
            <a:avLst/>
            <a:gdLst>
              <a:gd name="T0" fmla="*/ 0 w 54"/>
              <a:gd name="T1" fmla="*/ 33 h 41"/>
              <a:gd name="T2" fmla="*/ 0 w 54"/>
              <a:gd name="T3" fmla="*/ 28 h 41"/>
              <a:gd name="T4" fmla="*/ 1 w 54"/>
              <a:gd name="T5" fmla="*/ 24 h 41"/>
              <a:gd name="T6" fmla="*/ 2 w 54"/>
              <a:gd name="T7" fmla="*/ 21 h 41"/>
              <a:gd name="T8" fmla="*/ 2 w 54"/>
              <a:gd name="T9" fmla="*/ 18 h 41"/>
              <a:gd name="T10" fmla="*/ 3 w 54"/>
              <a:gd name="T11" fmla="*/ 13 h 41"/>
              <a:gd name="T12" fmla="*/ 3 w 54"/>
              <a:gd name="T13" fmla="*/ 7 h 41"/>
              <a:gd name="T14" fmla="*/ 3 w 54"/>
              <a:gd name="T15" fmla="*/ 4 h 41"/>
              <a:gd name="T16" fmla="*/ 3 w 54"/>
              <a:gd name="T17" fmla="*/ 3 h 41"/>
              <a:gd name="T18" fmla="*/ 3 w 54"/>
              <a:gd name="T19" fmla="*/ 0 h 41"/>
              <a:gd name="T20" fmla="*/ 13 w 54"/>
              <a:gd name="T21" fmla="*/ 1 h 41"/>
              <a:gd name="T22" fmla="*/ 19 w 54"/>
              <a:gd name="T23" fmla="*/ 1 h 41"/>
              <a:gd name="T24" fmla="*/ 24 w 54"/>
              <a:gd name="T25" fmla="*/ 3 h 41"/>
              <a:gd name="T26" fmla="*/ 24 w 54"/>
              <a:gd name="T27" fmla="*/ 4 h 41"/>
              <a:gd name="T28" fmla="*/ 25 w 54"/>
              <a:gd name="T29" fmla="*/ 4 h 41"/>
              <a:gd name="T30" fmla="*/ 26 w 54"/>
              <a:gd name="T31" fmla="*/ 4 h 41"/>
              <a:gd name="T32" fmla="*/ 29 w 54"/>
              <a:gd name="T33" fmla="*/ 4 h 41"/>
              <a:gd name="T34" fmla="*/ 30 w 54"/>
              <a:gd name="T35" fmla="*/ 4 h 41"/>
              <a:gd name="T36" fmla="*/ 32 w 54"/>
              <a:gd name="T37" fmla="*/ 5 h 41"/>
              <a:gd name="T38" fmla="*/ 33 w 54"/>
              <a:gd name="T39" fmla="*/ 7 h 41"/>
              <a:gd name="T40" fmla="*/ 34 w 54"/>
              <a:gd name="T41" fmla="*/ 9 h 41"/>
              <a:gd name="T42" fmla="*/ 36 w 54"/>
              <a:gd name="T43" fmla="*/ 10 h 41"/>
              <a:gd name="T44" fmla="*/ 37 w 54"/>
              <a:gd name="T45" fmla="*/ 10 h 41"/>
              <a:gd name="T46" fmla="*/ 37 w 54"/>
              <a:gd name="T47" fmla="*/ 12 h 41"/>
              <a:gd name="T48" fmla="*/ 37 w 54"/>
              <a:gd name="T49" fmla="*/ 13 h 41"/>
              <a:gd name="T50" fmla="*/ 39 w 54"/>
              <a:gd name="T51" fmla="*/ 14 h 41"/>
              <a:gd name="T52" fmla="*/ 42 w 54"/>
              <a:gd name="T53" fmla="*/ 16 h 41"/>
              <a:gd name="T54" fmla="*/ 43 w 54"/>
              <a:gd name="T55" fmla="*/ 16 h 41"/>
              <a:gd name="T56" fmla="*/ 46 w 54"/>
              <a:gd name="T57" fmla="*/ 17 h 41"/>
              <a:gd name="T58" fmla="*/ 48 w 54"/>
              <a:gd name="T59" fmla="*/ 18 h 41"/>
              <a:gd name="T60" fmla="*/ 49 w 54"/>
              <a:gd name="T61" fmla="*/ 21 h 41"/>
              <a:gd name="T62" fmla="*/ 51 w 54"/>
              <a:gd name="T63" fmla="*/ 23 h 41"/>
              <a:gd name="T64" fmla="*/ 53 w 54"/>
              <a:gd name="T65" fmla="*/ 27 h 41"/>
              <a:gd name="T66" fmla="*/ 50 w 54"/>
              <a:gd name="T67" fmla="*/ 28 h 41"/>
              <a:gd name="T68" fmla="*/ 48 w 54"/>
              <a:gd name="T69" fmla="*/ 30 h 41"/>
              <a:gd name="T70" fmla="*/ 46 w 54"/>
              <a:gd name="T71" fmla="*/ 32 h 41"/>
              <a:gd name="T72" fmla="*/ 46 w 54"/>
              <a:gd name="T73" fmla="*/ 33 h 41"/>
              <a:gd name="T74" fmla="*/ 43 w 54"/>
              <a:gd name="T75" fmla="*/ 32 h 41"/>
              <a:gd name="T76" fmla="*/ 43 w 54"/>
              <a:gd name="T77" fmla="*/ 30 h 41"/>
              <a:gd name="T78" fmla="*/ 43 w 54"/>
              <a:gd name="T79" fmla="*/ 29 h 41"/>
              <a:gd name="T80" fmla="*/ 28 w 54"/>
              <a:gd name="T81" fmla="*/ 29 h 41"/>
              <a:gd name="T82" fmla="*/ 28 w 54"/>
              <a:gd name="T83" fmla="*/ 30 h 41"/>
              <a:gd name="T84" fmla="*/ 27 w 54"/>
              <a:gd name="T85" fmla="*/ 31 h 41"/>
              <a:gd name="T86" fmla="*/ 26 w 54"/>
              <a:gd name="T87" fmla="*/ 32 h 41"/>
              <a:gd name="T88" fmla="*/ 25 w 54"/>
              <a:gd name="T89" fmla="*/ 32 h 41"/>
              <a:gd name="T90" fmla="*/ 23 w 54"/>
              <a:gd name="T91" fmla="*/ 32 h 41"/>
              <a:gd name="T92" fmla="*/ 20 w 54"/>
              <a:gd name="T93" fmla="*/ 32 h 41"/>
              <a:gd name="T94" fmla="*/ 17 w 54"/>
              <a:gd name="T95" fmla="*/ 32 h 41"/>
              <a:gd name="T96" fmla="*/ 15 w 54"/>
              <a:gd name="T97" fmla="*/ 32 h 41"/>
              <a:gd name="T98" fmla="*/ 12 w 54"/>
              <a:gd name="T99" fmla="*/ 32 h 41"/>
              <a:gd name="T100" fmla="*/ 11 w 54"/>
              <a:gd name="T101" fmla="*/ 33 h 41"/>
              <a:gd name="T102" fmla="*/ 9 w 54"/>
              <a:gd name="T103" fmla="*/ 36 h 41"/>
              <a:gd name="T104" fmla="*/ 8 w 54"/>
              <a:gd name="T105" fmla="*/ 37 h 41"/>
              <a:gd name="T106" fmla="*/ 6 w 54"/>
              <a:gd name="T107" fmla="*/ 38 h 41"/>
              <a:gd name="T108" fmla="*/ 5 w 54"/>
              <a:gd name="T109" fmla="*/ 40 h 41"/>
              <a:gd name="T110" fmla="*/ 3 w 54"/>
              <a:gd name="T111" fmla="*/ 40 h 41"/>
              <a:gd name="T112" fmla="*/ 2 w 54"/>
              <a:gd name="T113" fmla="*/ 40 h 41"/>
              <a:gd name="T114" fmla="*/ 2 w 54"/>
              <a:gd name="T115" fmla="*/ 38 h 41"/>
              <a:gd name="T116" fmla="*/ 2 w 54"/>
              <a:gd name="T117" fmla="*/ 35 h 41"/>
              <a:gd name="T118" fmla="*/ 0 w 54"/>
              <a:gd name="T119" fmla="*/ 33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4" h="41">
                <a:moveTo>
                  <a:pt x="0" y="33"/>
                </a:moveTo>
                <a:lnTo>
                  <a:pt x="0" y="28"/>
                </a:lnTo>
                <a:lnTo>
                  <a:pt x="1" y="24"/>
                </a:lnTo>
                <a:lnTo>
                  <a:pt x="2" y="21"/>
                </a:lnTo>
                <a:lnTo>
                  <a:pt x="2" y="18"/>
                </a:lnTo>
                <a:lnTo>
                  <a:pt x="3" y="13"/>
                </a:lnTo>
                <a:lnTo>
                  <a:pt x="3" y="7"/>
                </a:lnTo>
                <a:lnTo>
                  <a:pt x="3" y="4"/>
                </a:lnTo>
                <a:lnTo>
                  <a:pt x="3" y="3"/>
                </a:lnTo>
                <a:lnTo>
                  <a:pt x="3" y="0"/>
                </a:lnTo>
                <a:lnTo>
                  <a:pt x="13" y="1"/>
                </a:lnTo>
                <a:lnTo>
                  <a:pt x="19" y="1"/>
                </a:lnTo>
                <a:lnTo>
                  <a:pt x="24" y="3"/>
                </a:lnTo>
                <a:lnTo>
                  <a:pt x="24" y="4"/>
                </a:lnTo>
                <a:lnTo>
                  <a:pt x="25" y="4"/>
                </a:lnTo>
                <a:lnTo>
                  <a:pt x="26" y="4"/>
                </a:lnTo>
                <a:lnTo>
                  <a:pt x="29" y="4"/>
                </a:lnTo>
                <a:lnTo>
                  <a:pt x="30" y="4"/>
                </a:lnTo>
                <a:lnTo>
                  <a:pt x="32" y="5"/>
                </a:lnTo>
                <a:lnTo>
                  <a:pt x="33" y="7"/>
                </a:lnTo>
                <a:lnTo>
                  <a:pt x="34" y="9"/>
                </a:lnTo>
                <a:lnTo>
                  <a:pt x="36" y="10"/>
                </a:lnTo>
                <a:lnTo>
                  <a:pt x="37" y="10"/>
                </a:lnTo>
                <a:lnTo>
                  <a:pt x="37" y="12"/>
                </a:lnTo>
                <a:lnTo>
                  <a:pt x="37" y="13"/>
                </a:lnTo>
                <a:lnTo>
                  <a:pt x="39" y="14"/>
                </a:lnTo>
                <a:lnTo>
                  <a:pt x="42" y="16"/>
                </a:lnTo>
                <a:lnTo>
                  <a:pt x="43" y="16"/>
                </a:lnTo>
                <a:lnTo>
                  <a:pt x="46" y="17"/>
                </a:lnTo>
                <a:lnTo>
                  <a:pt x="48" y="18"/>
                </a:lnTo>
                <a:lnTo>
                  <a:pt x="49" y="21"/>
                </a:lnTo>
                <a:lnTo>
                  <a:pt x="51" y="23"/>
                </a:lnTo>
                <a:lnTo>
                  <a:pt x="53" y="27"/>
                </a:lnTo>
                <a:lnTo>
                  <a:pt x="50" y="28"/>
                </a:lnTo>
                <a:lnTo>
                  <a:pt x="48" y="30"/>
                </a:lnTo>
                <a:lnTo>
                  <a:pt x="46" y="32"/>
                </a:lnTo>
                <a:lnTo>
                  <a:pt x="46" y="33"/>
                </a:lnTo>
                <a:lnTo>
                  <a:pt x="43" y="32"/>
                </a:lnTo>
                <a:lnTo>
                  <a:pt x="43" y="30"/>
                </a:lnTo>
                <a:lnTo>
                  <a:pt x="43" y="29"/>
                </a:lnTo>
                <a:lnTo>
                  <a:pt x="28" y="29"/>
                </a:lnTo>
                <a:lnTo>
                  <a:pt x="28" y="30"/>
                </a:lnTo>
                <a:lnTo>
                  <a:pt x="27" y="31"/>
                </a:lnTo>
                <a:lnTo>
                  <a:pt x="26" y="32"/>
                </a:lnTo>
                <a:lnTo>
                  <a:pt x="25" y="32"/>
                </a:lnTo>
                <a:lnTo>
                  <a:pt x="23" y="32"/>
                </a:lnTo>
                <a:lnTo>
                  <a:pt x="20" y="32"/>
                </a:lnTo>
                <a:lnTo>
                  <a:pt x="17" y="32"/>
                </a:lnTo>
                <a:lnTo>
                  <a:pt x="15" y="32"/>
                </a:lnTo>
                <a:lnTo>
                  <a:pt x="12" y="32"/>
                </a:lnTo>
                <a:lnTo>
                  <a:pt x="11" y="33"/>
                </a:lnTo>
                <a:lnTo>
                  <a:pt x="9" y="36"/>
                </a:lnTo>
                <a:lnTo>
                  <a:pt x="8" y="37"/>
                </a:lnTo>
                <a:lnTo>
                  <a:pt x="6" y="38"/>
                </a:lnTo>
                <a:lnTo>
                  <a:pt x="5" y="40"/>
                </a:lnTo>
                <a:lnTo>
                  <a:pt x="3" y="40"/>
                </a:lnTo>
                <a:lnTo>
                  <a:pt x="2" y="40"/>
                </a:lnTo>
                <a:lnTo>
                  <a:pt x="2" y="38"/>
                </a:lnTo>
                <a:lnTo>
                  <a:pt x="2" y="35"/>
                </a:lnTo>
                <a:lnTo>
                  <a:pt x="0" y="33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40" name="Freeform 244">
            <a:extLst>
              <a:ext uri="{FF2B5EF4-FFF2-40B4-BE49-F238E27FC236}">
                <a16:creationId xmlns:a16="http://schemas.microsoft.com/office/drawing/2014/main" id="{31BA9537-85DC-F8E2-48FA-A6057EDB59CC}"/>
              </a:ext>
            </a:extLst>
          </p:cNvPr>
          <p:cNvSpPr>
            <a:spLocks/>
          </p:cNvSpPr>
          <p:nvPr/>
        </p:nvSpPr>
        <p:spPr bwMode="auto">
          <a:xfrm>
            <a:off x="3731588" y="4230534"/>
            <a:ext cx="295275" cy="125413"/>
          </a:xfrm>
          <a:custGeom>
            <a:avLst/>
            <a:gdLst>
              <a:gd name="T0" fmla="*/ 40 w 147"/>
              <a:gd name="T1" fmla="*/ 15 h 67"/>
              <a:gd name="T2" fmla="*/ 43 w 147"/>
              <a:gd name="T3" fmla="*/ 11 h 67"/>
              <a:gd name="T4" fmla="*/ 38 w 147"/>
              <a:gd name="T5" fmla="*/ 11 h 67"/>
              <a:gd name="T6" fmla="*/ 32 w 147"/>
              <a:gd name="T7" fmla="*/ 13 h 67"/>
              <a:gd name="T8" fmla="*/ 26 w 147"/>
              <a:gd name="T9" fmla="*/ 16 h 67"/>
              <a:gd name="T10" fmla="*/ 16 w 147"/>
              <a:gd name="T11" fmla="*/ 20 h 67"/>
              <a:gd name="T12" fmla="*/ 12 w 147"/>
              <a:gd name="T13" fmla="*/ 24 h 67"/>
              <a:gd name="T14" fmla="*/ 7 w 147"/>
              <a:gd name="T15" fmla="*/ 27 h 67"/>
              <a:gd name="T16" fmla="*/ 0 w 147"/>
              <a:gd name="T17" fmla="*/ 27 h 67"/>
              <a:gd name="T18" fmla="*/ 3 w 147"/>
              <a:gd name="T19" fmla="*/ 26 h 67"/>
              <a:gd name="T20" fmla="*/ 5 w 147"/>
              <a:gd name="T21" fmla="*/ 23 h 67"/>
              <a:gd name="T22" fmla="*/ 7 w 147"/>
              <a:gd name="T23" fmla="*/ 16 h 67"/>
              <a:gd name="T24" fmla="*/ 12 w 147"/>
              <a:gd name="T25" fmla="*/ 11 h 67"/>
              <a:gd name="T26" fmla="*/ 17 w 147"/>
              <a:gd name="T27" fmla="*/ 6 h 67"/>
              <a:gd name="T28" fmla="*/ 29 w 147"/>
              <a:gd name="T29" fmla="*/ 3 h 67"/>
              <a:gd name="T30" fmla="*/ 44 w 147"/>
              <a:gd name="T31" fmla="*/ 0 h 67"/>
              <a:gd name="T32" fmla="*/ 53 w 147"/>
              <a:gd name="T33" fmla="*/ 0 h 67"/>
              <a:gd name="T34" fmla="*/ 57 w 147"/>
              <a:gd name="T35" fmla="*/ 3 h 67"/>
              <a:gd name="T36" fmla="*/ 65 w 147"/>
              <a:gd name="T37" fmla="*/ 6 h 67"/>
              <a:gd name="T38" fmla="*/ 74 w 147"/>
              <a:gd name="T39" fmla="*/ 11 h 67"/>
              <a:gd name="T40" fmla="*/ 79 w 147"/>
              <a:gd name="T41" fmla="*/ 16 h 67"/>
              <a:gd name="T42" fmla="*/ 86 w 147"/>
              <a:gd name="T43" fmla="*/ 19 h 67"/>
              <a:gd name="T44" fmla="*/ 101 w 147"/>
              <a:gd name="T45" fmla="*/ 26 h 67"/>
              <a:gd name="T46" fmla="*/ 118 w 147"/>
              <a:gd name="T47" fmla="*/ 38 h 67"/>
              <a:gd name="T48" fmla="*/ 127 w 147"/>
              <a:gd name="T49" fmla="*/ 43 h 67"/>
              <a:gd name="T50" fmla="*/ 126 w 147"/>
              <a:gd name="T51" fmla="*/ 45 h 67"/>
              <a:gd name="T52" fmla="*/ 133 w 147"/>
              <a:gd name="T53" fmla="*/ 49 h 67"/>
              <a:gd name="T54" fmla="*/ 138 w 147"/>
              <a:gd name="T55" fmla="*/ 51 h 67"/>
              <a:gd name="T56" fmla="*/ 141 w 147"/>
              <a:gd name="T57" fmla="*/ 53 h 67"/>
              <a:gd name="T58" fmla="*/ 145 w 147"/>
              <a:gd name="T59" fmla="*/ 56 h 67"/>
              <a:gd name="T60" fmla="*/ 142 w 147"/>
              <a:gd name="T61" fmla="*/ 60 h 67"/>
              <a:gd name="T62" fmla="*/ 136 w 147"/>
              <a:gd name="T63" fmla="*/ 63 h 67"/>
              <a:gd name="T64" fmla="*/ 136 w 147"/>
              <a:gd name="T65" fmla="*/ 65 h 67"/>
              <a:gd name="T66" fmla="*/ 127 w 147"/>
              <a:gd name="T67" fmla="*/ 66 h 67"/>
              <a:gd name="T68" fmla="*/ 108 w 147"/>
              <a:gd name="T69" fmla="*/ 66 h 67"/>
              <a:gd name="T70" fmla="*/ 97 w 147"/>
              <a:gd name="T71" fmla="*/ 63 h 67"/>
              <a:gd name="T72" fmla="*/ 102 w 147"/>
              <a:gd name="T73" fmla="*/ 56 h 67"/>
              <a:gd name="T74" fmla="*/ 105 w 147"/>
              <a:gd name="T75" fmla="*/ 51 h 67"/>
              <a:gd name="T76" fmla="*/ 96 w 147"/>
              <a:gd name="T77" fmla="*/ 49 h 67"/>
              <a:gd name="T78" fmla="*/ 93 w 147"/>
              <a:gd name="T79" fmla="*/ 48 h 67"/>
              <a:gd name="T80" fmla="*/ 88 w 147"/>
              <a:gd name="T81" fmla="*/ 45 h 67"/>
              <a:gd name="T82" fmla="*/ 87 w 147"/>
              <a:gd name="T83" fmla="*/ 38 h 67"/>
              <a:gd name="T84" fmla="*/ 86 w 147"/>
              <a:gd name="T85" fmla="*/ 33 h 67"/>
              <a:gd name="T86" fmla="*/ 84 w 147"/>
              <a:gd name="T87" fmla="*/ 32 h 67"/>
              <a:gd name="T88" fmla="*/ 76 w 147"/>
              <a:gd name="T89" fmla="*/ 31 h 67"/>
              <a:gd name="T90" fmla="*/ 69 w 147"/>
              <a:gd name="T91" fmla="*/ 29 h 67"/>
              <a:gd name="T92" fmla="*/ 67 w 147"/>
              <a:gd name="T93" fmla="*/ 27 h 67"/>
              <a:gd name="T94" fmla="*/ 61 w 147"/>
              <a:gd name="T95" fmla="*/ 26 h 67"/>
              <a:gd name="T96" fmla="*/ 45 w 147"/>
              <a:gd name="T97" fmla="*/ 19 h 67"/>
              <a:gd name="T98" fmla="*/ 39 w 147"/>
              <a:gd name="T99" fmla="*/ 16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47" h="67">
                <a:moveTo>
                  <a:pt x="40" y="19"/>
                </a:moveTo>
                <a:lnTo>
                  <a:pt x="40" y="15"/>
                </a:lnTo>
                <a:lnTo>
                  <a:pt x="43" y="15"/>
                </a:lnTo>
                <a:lnTo>
                  <a:pt x="43" y="11"/>
                </a:lnTo>
                <a:lnTo>
                  <a:pt x="42" y="10"/>
                </a:lnTo>
                <a:lnTo>
                  <a:pt x="38" y="11"/>
                </a:lnTo>
                <a:lnTo>
                  <a:pt x="35" y="11"/>
                </a:lnTo>
                <a:lnTo>
                  <a:pt x="32" y="13"/>
                </a:lnTo>
                <a:lnTo>
                  <a:pt x="29" y="14"/>
                </a:lnTo>
                <a:lnTo>
                  <a:pt x="26" y="16"/>
                </a:lnTo>
                <a:lnTo>
                  <a:pt x="20" y="19"/>
                </a:lnTo>
                <a:lnTo>
                  <a:pt x="16" y="20"/>
                </a:lnTo>
                <a:lnTo>
                  <a:pt x="12" y="22"/>
                </a:lnTo>
                <a:lnTo>
                  <a:pt x="12" y="24"/>
                </a:lnTo>
                <a:lnTo>
                  <a:pt x="9" y="26"/>
                </a:lnTo>
                <a:lnTo>
                  <a:pt x="7" y="27"/>
                </a:lnTo>
                <a:lnTo>
                  <a:pt x="5" y="27"/>
                </a:lnTo>
                <a:lnTo>
                  <a:pt x="0" y="27"/>
                </a:lnTo>
                <a:lnTo>
                  <a:pt x="2" y="26"/>
                </a:lnTo>
                <a:lnTo>
                  <a:pt x="3" y="26"/>
                </a:lnTo>
                <a:lnTo>
                  <a:pt x="5" y="26"/>
                </a:lnTo>
                <a:lnTo>
                  <a:pt x="5" y="23"/>
                </a:lnTo>
                <a:lnTo>
                  <a:pt x="6" y="19"/>
                </a:lnTo>
                <a:lnTo>
                  <a:pt x="7" y="16"/>
                </a:lnTo>
                <a:lnTo>
                  <a:pt x="9" y="13"/>
                </a:lnTo>
                <a:lnTo>
                  <a:pt x="12" y="11"/>
                </a:lnTo>
                <a:lnTo>
                  <a:pt x="15" y="9"/>
                </a:lnTo>
                <a:lnTo>
                  <a:pt x="17" y="6"/>
                </a:lnTo>
                <a:lnTo>
                  <a:pt x="21" y="6"/>
                </a:lnTo>
                <a:lnTo>
                  <a:pt x="29" y="3"/>
                </a:lnTo>
                <a:lnTo>
                  <a:pt x="37" y="1"/>
                </a:lnTo>
                <a:lnTo>
                  <a:pt x="44" y="0"/>
                </a:lnTo>
                <a:lnTo>
                  <a:pt x="51" y="0"/>
                </a:lnTo>
                <a:lnTo>
                  <a:pt x="53" y="0"/>
                </a:lnTo>
                <a:lnTo>
                  <a:pt x="56" y="1"/>
                </a:lnTo>
                <a:lnTo>
                  <a:pt x="57" y="3"/>
                </a:lnTo>
                <a:lnTo>
                  <a:pt x="59" y="4"/>
                </a:lnTo>
                <a:lnTo>
                  <a:pt x="65" y="6"/>
                </a:lnTo>
                <a:lnTo>
                  <a:pt x="70" y="9"/>
                </a:lnTo>
                <a:lnTo>
                  <a:pt x="74" y="11"/>
                </a:lnTo>
                <a:lnTo>
                  <a:pt x="78" y="15"/>
                </a:lnTo>
                <a:lnTo>
                  <a:pt x="79" y="16"/>
                </a:lnTo>
                <a:lnTo>
                  <a:pt x="81" y="16"/>
                </a:lnTo>
                <a:lnTo>
                  <a:pt x="86" y="19"/>
                </a:lnTo>
                <a:lnTo>
                  <a:pt x="92" y="19"/>
                </a:lnTo>
                <a:lnTo>
                  <a:pt x="101" y="26"/>
                </a:lnTo>
                <a:lnTo>
                  <a:pt x="110" y="33"/>
                </a:lnTo>
                <a:lnTo>
                  <a:pt x="118" y="38"/>
                </a:lnTo>
                <a:lnTo>
                  <a:pt x="123" y="41"/>
                </a:lnTo>
                <a:lnTo>
                  <a:pt x="127" y="43"/>
                </a:lnTo>
                <a:lnTo>
                  <a:pt x="127" y="45"/>
                </a:lnTo>
                <a:lnTo>
                  <a:pt x="126" y="45"/>
                </a:lnTo>
                <a:lnTo>
                  <a:pt x="126" y="48"/>
                </a:lnTo>
                <a:lnTo>
                  <a:pt x="133" y="49"/>
                </a:lnTo>
                <a:lnTo>
                  <a:pt x="136" y="50"/>
                </a:lnTo>
                <a:lnTo>
                  <a:pt x="138" y="51"/>
                </a:lnTo>
                <a:lnTo>
                  <a:pt x="140" y="52"/>
                </a:lnTo>
                <a:lnTo>
                  <a:pt x="141" y="53"/>
                </a:lnTo>
                <a:lnTo>
                  <a:pt x="144" y="55"/>
                </a:lnTo>
                <a:lnTo>
                  <a:pt x="145" y="56"/>
                </a:lnTo>
                <a:lnTo>
                  <a:pt x="146" y="60"/>
                </a:lnTo>
                <a:lnTo>
                  <a:pt x="142" y="60"/>
                </a:lnTo>
                <a:lnTo>
                  <a:pt x="139" y="61"/>
                </a:lnTo>
                <a:lnTo>
                  <a:pt x="136" y="63"/>
                </a:lnTo>
                <a:lnTo>
                  <a:pt x="136" y="64"/>
                </a:lnTo>
                <a:lnTo>
                  <a:pt x="136" y="65"/>
                </a:lnTo>
                <a:lnTo>
                  <a:pt x="132" y="66"/>
                </a:lnTo>
                <a:lnTo>
                  <a:pt x="127" y="66"/>
                </a:lnTo>
                <a:lnTo>
                  <a:pt x="118" y="66"/>
                </a:lnTo>
                <a:lnTo>
                  <a:pt x="108" y="66"/>
                </a:lnTo>
                <a:lnTo>
                  <a:pt x="97" y="65"/>
                </a:lnTo>
                <a:lnTo>
                  <a:pt x="97" y="63"/>
                </a:lnTo>
                <a:lnTo>
                  <a:pt x="100" y="59"/>
                </a:lnTo>
                <a:lnTo>
                  <a:pt x="102" y="56"/>
                </a:lnTo>
                <a:lnTo>
                  <a:pt x="105" y="54"/>
                </a:lnTo>
                <a:lnTo>
                  <a:pt x="105" y="51"/>
                </a:lnTo>
                <a:lnTo>
                  <a:pt x="98" y="50"/>
                </a:lnTo>
                <a:lnTo>
                  <a:pt x="96" y="49"/>
                </a:lnTo>
                <a:lnTo>
                  <a:pt x="94" y="48"/>
                </a:lnTo>
                <a:lnTo>
                  <a:pt x="93" y="48"/>
                </a:lnTo>
                <a:lnTo>
                  <a:pt x="90" y="46"/>
                </a:lnTo>
                <a:lnTo>
                  <a:pt x="88" y="45"/>
                </a:lnTo>
                <a:lnTo>
                  <a:pt x="87" y="42"/>
                </a:lnTo>
                <a:lnTo>
                  <a:pt x="87" y="38"/>
                </a:lnTo>
                <a:lnTo>
                  <a:pt x="87" y="36"/>
                </a:lnTo>
                <a:lnTo>
                  <a:pt x="86" y="33"/>
                </a:lnTo>
                <a:lnTo>
                  <a:pt x="84" y="33"/>
                </a:lnTo>
                <a:lnTo>
                  <a:pt x="84" y="32"/>
                </a:lnTo>
                <a:lnTo>
                  <a:pt x="82" y="31"/>
                </a:lnTo>
                <a:lnTo>
                  <a:pt x="76" y="31"/>
                </a:lnTo>
                <a:lnTo>
                  <a:pt x="71" y="31"/>
                </a:lnTo>
                <a:lnTo>
                  <a:pt x="69" y="29"/>
                </a:lnTo>
                <a:lnTo>
                  <a:pt x="68" y="29"/>
                </a:lnTo>
                <a:lnTo>
                  <a:pt x="67" y="27"/>
                </a:lnTo>
                <a:lnTo>
                  <a:pt x="65" y="27"/>
                </a:lnTo>
                <a:lnTo>
                  <a:pt x="61" y="26"/>
                </a:lnTo>
                <a:lnTo>
                  <a:pt x="53" y="23"/>
                </a:lnTo>
                <a:lnTo>
                  <a:pt x="45" y="19"/>
                </a:lnTo>
                <a:lnTo>
                  <a:pt x="42" y="19"/>
                </a:lnTo>
                <a:lnTo>
                  <a:pt x="39" y="16"/>
                </a:lnTo>
                <a:lnTo>
                  <a:pt x="40" y="19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41" name="Freeform 245">
            <a:extLst>
              <a:ext uri="{FF2B5EF4-FFF2-40B4-BE49-F238E27FC236}">
                <a16:creationId xmlns:a16="http://schemas.microsoft.com/office/drawing/2014/main" id="{BFE97FF1-EDAE-6805-13E7-13C19905E345}"/>
              </a:ext>
            </a:extLst>
          </p:cNvPr>
          <p:cNvSpPr>
            <a:spLocks/>
          </p:cNvSpPr>
          <p:nvPr/>
        </p:nvSpPr>
        <p:spPr bwMode="auto">
          <a:xfrm>
            <a:off x="3899863" y="4400396"/>
            <a:ext cx="63500" cy="30163"/>
          </a:xfrm>
          <a:custGeom>
            <a:avLst/>
            <a:gdLst>
              <a:gd name="T0" fmla="*/ 0 w 31"/>
              <a:gd name="T1" fmla="*/ 6 h 17"/>
              <a:gd name="T2" fmla="*/ 0 w 31"/>
              <a:gd name="T3" fmla="*/ 5 h 17"/>
              <a:gd name="T4" fmla="*/ 1 w 31"/>
              <a:gd name="T5" fmla="*/ 4 h 17"/>
              <a:gd name="T6" fmla="*/ 1 w 31"/>
              <a:gd name="T7" fmla="*/ 2 h 17"/>
              <a:gd name="T8" fmla="*/ 2 w 31"/>
              <a:gd name="T9" fmla="*/ 1 h 17"/>
              <a:gd name="T10" fmla="*/ 4 w 31"/>
              <a:gd name="T11" fmla="*/ 0 h 17"/>
              <a:gd name="T12" fmla="*/ 7 w 31"/>
              <a:gd name="T13" fmla="*/ 0 h 17"/>
              <a:gd name="T14" fmla="*/ 11 w 31"/>
              <a:gd name="T15" fmla="*/ 0 h 17"/>
              <a:gd name="T16" fmla="*/ 13 w 31"/>
              <a:gd name="T17" fmla="*/ 1 h 17"/>
              <a:gd name="T18" fmla="*/ 16 w 31"/>
              <a:gd name="T19" fmla="*/ 2 h 17"/>
              <a:gd name="T20" fmla="*/ 18 w 31"/>
              <a:gd name="T21" fmla="*/ 4 h 17"/>
              <a:gd name="T22" fmla="*/ 30 w 31"/>
              <a:gd name="T23" fmla="*/ 11 h 17"/>
              <a:gd name="T24" fmla="*/ 29 w 31"/>
              <a:gd name="T25" fmla="*/ 12 h 17"/>
              <a:gd name="T26" fmla="*/ 27 w 31"/>
              <a:gd name="T27" fmla="*/ 13 h 17"/>
              <a:gd name="T28" fmla="*/ 26 w 31"/>
              <a:gd name="T29" fmla="*/ 15 h 17"/>
              <a:gd name="T30" fmla="*/ 22 w 31"/>
              <a:gd name="T31" fmla="*/ 15 h 17"/>
              <a:gd name="T32" fmla="*/ 20 w 31"/>
              <a:gd name="T33" fmla="*/ 16 h 17"/>
              <a:gd name="T34" fmla="*/ 14 w 31"/>
              <a:gd name="T35" fmla="*/ 15 h 17"/>
              <a:gd name="T36" fmla="*/ 9 w 31"/>
              <a:gd name="T37" fmla="*/ 15 h 17"/>
              <a:gd name="T38" fmla="*/ 7 w 31"/>
              <a:gd name="T39" fmla="*/ 13 h 17"/>
              <a:gd name="T40" fmla="*/ 4 w 31"/>
              <a:gd name="T41" fmla="*/ 10 h 17"/>
              <a:gd name="T42" fmla="*/ 1 w 31"/>
              <a:gd name="T43" fmla="*/ 6 h 17"/>
              <a:gd name="T44" fmla="*/ 0 w 31"/>
              <a:gd name="T45" fmla="*/ 6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31" h="17">
                <a:moveTo>
                  <a:pt x="0" y="6"/>
                </a:moveTo>
                <a:lnTo>
                  <a:pt x="0" y="5"/>
                </a:lnTo>
                <a:lnTo>
                  <a:pt x="1" y="4"/>
                </a:lnTo>
                <a:lnTo>
                  <a:pt x="1" y="2"/>
                </a:lnTo>
                <a:lnTo>
                  <a:pt x="2" y="1"/>
                </a:lnTo>
                <a:lnTo>
                  <a:pt x="4" y="0"/>
                </a:lnTo>
                <a:lnTo>
                  <a:pt x="7" y="0"/>
                </a:lnTo>
                <a:lnTo>
                  <a:pt x="11" y="0"/>
                </a:lnTo>
                <a:lnTo>
                  <a:pt x="13" y="1"/>
                </a:lnTo>
                <a:lnTo>
                  <a:pt x="16" y="2"/>
                </a:lnTo>
                <a:lnTo>
                  <a:pt x="18" y="4"/>
                </a:lnTo>
                <a:lnTo>
                  <a:pt x="30" y="11"/>
                </a:lnTo>
                <a:lnTo>
                  <a:pt x="29" y="12"/>
                </a:lnTo>
                <a:lnTo>
                  <a:pt x="27" y="13"/>
                </a:lnTo>
                <a:lnTo>
                  <a:pt x="26" y="15"/>
                </a:lnTo>
                <a:lnTo>
                  <a:pt x="22" y="15"/>
                </a:lnTo>
                <a:lnTo>
                  <a:pt x="20" y="16"/>
                </a:lnTo>
                <a:lnTo>
                  <a:pt x="14" y="15"/>
                </a:lnTo>
                <a:lnTo>
                  <a:pt x="9" y="15"/>
                </a:lnTo>
                <a:lnTo>
                  <a:pt x="7" y="13"/>
                </a:lnTo>
                <a:lnTo>
                  <a:pt x="4" y="10"/>
                </a:lnTo>
                <a:lnTo>
                  <a:pt x="1" y="6"/>
                </a:lnTo>
                <a:lnTo>
                  <a:pt x="0" y="6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42" name="Freeform 246">
            <a:extLst>
              <a:ext uri="{FF2B5EF4-FFF2-40B4-BE49-F238E27FC236}">
                <a16:creationId xmlns:a16="http://schemas.microsoft.com/office/drawing/2014/main" id="{D82E78FF-FC71-046A-B431-E336D10F30E8}"/>
              </a:ext>
            </a:extLst>
          </p:cNvPr>
          <p:cNvSpPr>
            <a:spLocks/>
          </p:cNvSpPr>
          <p:nvPr/>
        </p:nvSpPr>
        <p:spPr bwMode="auto">
          <a:xfrm>
            <a:off x="4012575" y="4349596"/>
            <a:ext cx="177800" cy="77788"/>
          </a:xfrm>
          <a:custGeom>
            <a:avLst/>
            <a:gdLst>
              <a:gd name="T0" fmla="*/ 36 w 88"/>
              <a:gd name="T1" fmla="*/ 40 h 41"/>
              <a:gd name="T2" fmla="*/ 37 w 88"/>
              <a:gd name="T3" fmla="*/ 35 h 41"/>
              <a:gd name="T4" fmla="*/ 6 w 88"/>
              <a:gd name="T5" fmla="*/ 33 h 41"/>
              <a:gd name="T6" fmla="*/ 1 w 88"/>
              <a:gd name="T7" fmla="*/ 31 h 41"/>
              <a:gd name="T8" fmla="*/ 0 w 88"/>
              <a:gd name="T9" fmla="*/ 29 h 41"/>
              <a:gd name="T10" fmla="*/ 0 w 88"/>
              <a:gd name="T11" fmla="*/ 26 h 41"/>
              <a:gd name="T12" fmla="*/ 14 w 88"/>
              <a:gd name="T13" fmla="*/ 23 h 41"/>
              <a:gd name="T14" fmla="*/ 19 w 88"/>
              <a:gd name="T15" fmla="*/ 26 h 41"/>
              <a:gd name="T16" fmla="*/ 23 w 88"/>
              <a:gd name="T17" fmla="*/ 26 h 41"/>
              <a:gd name="T18" fmla="*/ 24 w 88"/>
              <a:gd name="T19" fmla="*/ 24 h 41"/>
              <a:gd name="T20" fmla="*/ 26 w 88"/>
              <a:gd name="T21" fmla="*/ 20 h 41"/>
              <a:gd name="T22" fmla="*/ 24 w 88"/>
              <a:gd name="T23" fmla="*/ 18 h 41"/>
              <a:gd name="T24" fmla="*/ 23 w 88"/>
              <a:gd name="T25" fmla="*/ 14 h 41"/>
              <a:gd name="T26" fmla="*/ 22 w 88"/>
              <a:gd name="T27" fmla="*/ 9 h 41"/>
              <a:gd name="T28" fmla="*/ 18 w 88"/>
              <a:gd name="T29" fmla="*/ 6 h 41"/>
              <a:gd name="T30" fmla="*/ 18 w 88"/>
              <a:gd name="T31" fmla="*/ 2 h 41"/>
              <a:gd name="T32" fmla="*/ 19 w 88"/>
              <a:gd name="T33" fmla="*/ 0 h 41"/>
              <a:gd name="T34" fmla="*/ 23 w 88"/>
              <a:gd name="T35" fmla="*/ 0 h 41"/>
              <a:gd name="T36" fmla="*/ 33 w 88"/>
              <a:gd name="T37" fmla="*/ 0 h 41"/>
              <a:gd name="T38" fmla="*/ 49 w 88"/>
              <a:gd name="T39" fmla="*/ 2 h 41"/>
              <a:gd name="T40" fmla="*/ 58 w 88"/>
              <a:gd name="T41" fmla="*/ 5 h 41"/>
              <a:gd name="T42" fmla="*/ 60 w 88"/>
              <a:gd name="T43" fmla="*/ 5 h 41"/>
              <a:gd name="T44" fmla="*/ 66 w 88"/>
              <a:gd name="T45" fmla="*/ 6 h 41"/>
              <a:gd name="T46" fmla="*/ 68 w 88"/>
              <a:gd name="T47" fmla="*/ 10 h 41"/>
              <a:gd name="T48" fmla="*/ 71 w 88"/>
              <a:gd name="T49" fmla="*/ 11 h 41"/>
              <a:gd name="T50" fmla="*/ 73 w 88"/>
              <a:gd name="T51" fmla="*/ 15 h 41"/>
              <a:gd name="T52" fmla="*/ 77 w 88"/>
              <a:gd name="T53" fmla="*/ 16 h 41"/>
              <a:gd name="T54" fmla="*/ 82 w 88"/>
              <a:gd name="T55" fmla="*/ 19 h 41"/>
              <a:gd name="T56" fmla="*/ 85 w 88"/>
              <a:gd name="T57" fmla="*/ 23 h 41"/>
              <a:gd name="T58" fmla="*/ 84 w 88"/>
              <a:gd name="T59" fmla="*/ 28 h 41"/>
              <a:gd name="T60" fmla="*/ 80 w 88"/>
              <a:gd name="T61" fmla="*/ 32 h 41"/>
              <a:gd name="T62" fmla="*/ 77 w 88"/>
              <a:gd name="T63" fmla="*/ 32 h 41"/>
              <a:gd name="T64" fmla="*/ 77 w 88"/>
              <a:gd name="T65" fmla="*/ 29 h 41"/>
              <a:gd name="T66" fmla="*/ 62 w 88"/>
              <a:gd name="T67" fmla="*/ 30 h 41"/>
              <a:gd name="T68" fmla="*/ 60 w 88"/>
              <a:gd name="T69" fmla="*/ 32 h 41"/>
              <a:gd name="T70" fmla="*/ 58 w 88"/>
              <a:gd name="T71" fmla="*/ 33 h 41"/>
              <a:gd name="T72" fmla="*/ 51 w 88"/>
              <a:gd name="T73" fmla="*/ 32 h 41"/>
              <a:gd name="T74" fmla="*/ 46 w 88"/>
              <a:gd name="T75" fmla="*/ 33 h 41"/>
              <a:gd name="T76" fmla="*/ 44 w 88"/>
              <a:gd name="T77" fmla="*/ 36 h 41"/>
              <a:gd name="T78" fmla="*/ 41 w 88"/>
              <a:gd name="T79" fmla="*/ 38 h 41"/>
              <a:gd name="T80" fmla="*/ 37 w 88"/>
              <a:gd name="T81" fmla="*/ 40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8" h="41">
                <a:moveTo>
                  <a:pt x="37" y="40"/>
                </a:moveTo>
                <a:lnTo>
                  <a:pt x="36" y="40"/>
                </a:lnTo>
                <a:lnTo>
                  <a:pt x="36" y="37"/>
                </a:lnTo>
                <a:lnTo>
                  <a:pt x="37" y="35"/>
                </a:lnTo>
                <a:lnTo>
                  <a:pt x="10" y="35"/>
                </a:lnTo>
                <a:lnTo>
                  <a:pt x="6" y="33"/>
                </a:lnTo>
                <a:lnTo>
                  <a:pt x="3" y="32"/>
                </a:lnTo>
                <a:lnTo>
                  <a:pt x="1" y="31"/>
                </a:lnTo>
                <a:lnTo>
                  <a:pt x="1" y="30"/>
                </a:lnTo>
                <a:lnTo>
                  <a:pt x="0" y="29"/>
                </a:lnTo>
                <a:lnTo>
                  <a:pt x="0" y="27"/>
                </a:lnTo>
                <a:lnTo>
                  <a:pt x="0" y="26"/>
                </a:lnTo>
                <a:lnTo>
                  <a:pt x="11" y="23"/>
                </a:lnTo>
                <a:lnTo>
                  <a:pt x="14" y="23"/>
                </a:lnTo>
                <a:lnTo>
                  <a:pt x="16" y="24"/>
                </a:lnTo>
                <a:lnTo>
                  <a:pt x="19" y="26"/>
                </a:lnTo>
                <a:lnTo>
                  <a:pt x="22" y="26"/>
                </a:lnTo>
                <a:lnTo>
                  <a:pt x="23" y="26"/>
                </a:lnTo>
                <a:lnTo>
                  <a:pt x="24" y="26"/>
                </a:lnTo>
                <a:lnTo>
                  <a:pt x="24" y="24"/>
                </a:lnTo>
                <a:lnTo>
                  <a:pt x="26" y="22"/>
                </a:lnTo>
                <a:lnTo>
                  <a:pt x="26" y="20"/>
                </a:lnTo>
                <a:lnTo>
                  <a:pt x="25" y="19"/>
                </a:lnTo>
                <a:lnTo>
                  <a:pt x="24" y="18"/>
                </a:lnTo>
                <a:lnTo>
                  <a:pt x="24" y="16"/>
                </a:lnTo>
                <a:lnTo>
                  <a:pt x="23" y="14"/>
                </a:lnTo>
                <a:lnTo>
                  <a:pt x="24" y="9"/>
                </a:lnTo>
                <a:lnTo>
                  <a:pt x="22" y="9"/>
                </a:lnTo>
                <a:lnTo>
                  <a:pt x="19" y="6"/>
                </a:lnTo>
                <a:lnTo>
                  <a:pt x="18" y="6"/>
                </a:lnTo>
                <a:lnTo>
                  <a:pt x="18" y="4"/>
                </a:lnTo>
                <a:lnTo>
                  <a:pt x="18" y="2"/>
                </a:lnTo>
                <a:lnTo>
                  <a:pt x="19" y="1"/>
                </a:lnTo>
                <a:lnTo>
                  <a:pt x="19" y="0"/>
                </a:lnTo>
                <a:lnTo>
                  <a:pt x="20" y="0"/>
                </a:lnTo>
                <a:lnTo>
                  <a:pt x="23" y="0"/>
                </a:lnTo>
                <a:lnTo>
                  <a:pt x="25" y="0"/>
                </a:lnTo>
                <a:lnTo>
                  <a:pt x="33" y="0"/>
                </a:lnTo>
                <a:lnTo>
                  <a:pt x="41" y="1"/>
                </a:lnTo>
                <a:lnTo>
                  <a:pt x="49" y="2"/>
                </a:lnTo>
                <a:lnTo>
                  <a:pt x="58" y="3"/>
                </a:lnTo>
                <a:lnTo>
                  <a:pt x="58" y="5"/>
                </a:lnTo>
                <a:lnTo>
                  <a:pt x="59" y="5"/>
                </a:lnTo>
                <a:lnTo>
                  <a:pt x="60" y="5"/>
                </a:lnTo>
                <a:lnTo>
                  <a:pt x="64" y="5"/>
                </a:lnTo>
                <a:lnTo>
                  <a:pt x="66" y="6"/>
                </a:lnTo>
                <a:lnTo>
                  <a:pt x="67" y="8"/>
                </a:lnTo>
                <a:lnTo>
                  <a:pt x="68" y="10"/>
                </a:lnTo>
                <a:lnTo>
                  <a:pt x="70" y="10"/>
                </a:lnTo>
                <a:lnTo>
                  <a:pt x="71" y="11"/>
                </a:lnTo>
                <a:lnTo>
                  <a:pt x="71" y="13"/>
                </a:lnTo>
                <a:lnTo>
                  <a:pt x="73" y="15"/>
                </a:lnTo>
                <a:lnTo>
                  <a:pt x="76" y="16"/>
                </a:lnTo>
                <a:lnTo>
                  <a:pt x="77" y="16"/>
                </a:lnTo>
                <a:lnTo>
                  <a:pt x="80" y="17"/>
                </a:lnTo>
                <a:lnTo>
                  <a:pt x="82" y="19"/>
                </a:lnTo>
                <a:lnTo>
                  <a:pt x="83" y="21"/>
                </a:lnTo>
                <a:lnTo>
                  <a:pt x="85" y="23"/>
                </a:lnTo>
                <a:lnTo>
                  <a:pt x="87" y="27"/>
                </a:lnTo>
                <a:lnTo>
                  <a:pt x="84" y="28"/>
                </a:lnTo>
                <a:lnTo>
                  <a:pt x="82" y="30"/>
                </a:lnTo>
                <a:lnTo>
                  <a:pt x="80" y="32"/>
                </a:lnTo>
                <a:lnTo>
                  <a:pt x="80" y="33"/>
                </a:lnTo>
                <a:lnTo>
                  <a:pt x="77" y="32"/>
                </a:lnTo>
                <a:lnTo>
                  <a:pt x="77" y="30"/>
                </a:lnTo>
                <a:lnTo>
                  <a:pt x="77" y="29"/>
                </a:lnTo>
                <a:lnTo>
                  <a:pt x="62" y="29"/>
                </a:lnTo>
                <a:lnTo>
                  <a:pt x="62" y="30"/>
                </a:lnTo>
                <a:lnTo>
                  <a:pt x="61" y="31"/>
                </a:lnTo>
                <a:lnTo>
                  <a:pt x="60" y="32"/>
                </a:lnTo>
                <a:lnTo>
                  <a:pt x="59" y="33"/>
                </a:lnTo>
                <a:lnTo>
                  <a:pt x="58" y="33"/>
                </a:lnTo>
                <a:lnTo>
                  <a:pt x="54" y="32"/>
                </a:lnTo>
                <a:lnTo>
                  <a:pt x="51" y="32"/>
                </a:lnTo>
                <a:lnTo>
                  <a:pt x="49" y="32"/>
                </a:lnTo>
                <a:lnTo>
                  <a:pt x="46" y="33"/>
                </a:lnTo>
                <a:lnTo>
                  <a:pt x="45" y="33"/>
                </a:lnTo>
                <a:lnTo>
                  <a:pt x="44" y="36"/>
                </a:lnTo>
                <a:lnTo>
                  <a:pt x="42" y="37"/>
                </a:lnTo>
                <a:lnTo>
                  <a:pt x="41" y="38"/>
                </a:lnTo>
                <a:lnTo>
                  <a:pt x="39" y="40"/>
                </a:lnTo>
                <a:lnTo>
                  <a:pt x="37" y="4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43" name="Freeform 247">
            <a:extLst>
              <a:ext uri="{FF2B5EF4-FFF2-40B4-BE49-F238E27FC236}">
                <a16:creationId xmlns:a16="http://schemas.microsoft.com/office/drawing/2014/main" id="{B9224FD1-BDFC-08CA-B61B-EE3976ED83EE}"/>
              </a:ext>
            </a:extLst>
          </p:cNvPr>
          <p:cNvSpPr>
            <a:spLocks/>
          </p:cNvSpPr>
          <p:nvPr/>
        </p:nvSpPr>
        <p:spPr bwMode="auto">
          <a:xfrm>
            <a:off x="4217363" y="4401984"/>
            <a:ext cx="50800" cy="30163"/>
          </a:xfrm>
          <a:custGeom>
            <a:avLst/>
            <a:gdLst>
              <a:gd name="T0" fmla="*/ 7 w 25"/>
              <a:gd name="T1" fmla="*/ 2 h 17"/>
              <a:gd name="T2" fmla="*/ 11 w 25"/>
              <a:gd name="T3" fmla="*/ 2 h 17"/>
              <a:gd name="T4" fmla="*/ 15 w 25"/>
              <a:gd name="T5" fmla="*/ 1 h 17"/>
              <a:gd name="T6" fmla="*/ 20 w 25"/>
              <a:gd name="T7" fmla="*/ 0 h 17"/>
              <a:gd name="T8" fmla="*/ 20 w 25"/>
              <a:gd name="T9" fmla="*/ 1 h 17"/>
              <a:gd name="T10" fmla="*/ 21 w 25"/>
              <a:gd name="T11" fmla="*/ 3 h 17"/>
              <a:gd name="T12" fmla="*/ 22 w 25"/>
              <a:gd name="T13" fmla="*/ 6 h 17"/>
              <a:gd name="T14" fmla="*/ 24 w 25"/>
              <a:gd name="T15" fmla="*/ 9 h 17"/>
              <a:gd name="T16" fmla="*/ 22 w 25"/>
              <a:gd name="T17" fmla="*/ 10 h 17"/>
              <a:gd name="T18" fmla="*/ 21 w 25"/>
              <a:gd name="T19" fmla="*/ 12 h 17"/>
              <a:gd name="T20" fmla="*/ 17 w 25"/>
              <a:gd name="T21" fmla="*/ 14 h 17"/>
              <a:gd name="T22" fmla="*/ 13 w 25"/>
              <a:gd name="T23" fmla="*/ 16 h 17"/>
              <a:gd name="T24" fmla="*/ 10 w 25"/>
              <a:gd name="T25" fmla="*/ 16 h 17"/>
              <a:gd name="T26" fmla="*/ 6 w 25"/>
              <a:gd name="T27" fmla="*/ 16 h 17"/>
              <a:gd name="T28" fmla="*/ 3 w 25"/>
              <a:gd name="T29" fmla="*/ 14 h 17"/>
              <a:gd name="T30" fmla="*/ 1 w 25"/>
              <a:gd name="T31" fmla="*/ 13 h 17"/>
              <a:gd name="T32" fmla="*/ 0 w 25"/>
              <a:gd name="T33" fmla="*/ 10 h 17"/>
              <a:gd name="T34" fmla="*/ 0 w 25"/>
              <a:gd name="T35" fmla="*/ 2 h 17"/>
              <a:gd name="T36" fmla="*/ 7 w 25"/>
              <a:gd name="T37" fmla="*/ 2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5" h="17">
                <a:moveTo>
                  <a:pt x="7" y="2"/>
                </a:moveTo>
                <a:lnTo>
                  <a:pt x="11" y="2"/>
                </a:lnTo>
                <a:lnTo>
                  <a:pt x="15" y="1"/>
                </a:lnTo>
                <a:lnTo>
                  <a:pt x="20" y="0"/>
                </a:lnTo>
                <a:lnTo>
                  <a:pt x="20" y="1"/>
                </a:lnTo>
                <a:lnTo>
                  <a:pt x="21" y="3"/>
                </a:lnTo>
                <a:lnTo>
                  <a:pt x="22" y="6"/>
                </a:lnTo>
                <a:lnTo>
                  <a:pt x="24" y="9"/>
                </a:lnTo>
                <a:lnTo>
                  <a:pt x="22" y="10"/>
                </a:lnTo>
                <a:lnTo>
                  <a:pt x="21" y="12"/>
                </a:lnTo>
                <a:lnTo>
                  <a:pt x="17" y="14"/>
                </a:lnTo>
                <a:lnTo>
                  <a:pt x="13" y="16"/>
                </a:lnTo>
                <a:lnTo>
                  <a:pt x="10" y="16"/>
                </a:lnTo>
                <a:lnTo>
                  <a:pt x="6" y="16"/>
                </a:lnTo>
                <a:lnTo>
                  <a:pt x="3" y="14"/>
                </a:lnTo>
                <a:lnTo>
                  <a:pt x="1" y="13"/>
                </a:lnTo>
                <a:lnTo>
                  <a:pt x="0" y="10"/>
                </a:lnTo>
                <a:lnTo>
                  <a:pt x="0" y="2"/>
                </a:lnTo>
                <a:lnTo>
                  <a:pt x="7" y="2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44" name="Freeform 248">
            <a:extLst>
              <a:ext uri="{FF2B5EF4-FFF2-40B4-BE49-F238E27FC236}">
                <a16:creationId xmlns:a16="http://schemas.microsoft.com/office/drawing/2014/main" id="{D3E70FE0-A03C-1BC8-A850-FA15C33236C1}"/>
              </a:ext>
            </a:extLst>
          </p:cNvPr>
          <p:cNvSpPr>
            <a:spLocks/>
          </p:cNvSpPr>
          <p:nvPr/>
        </p:nvSpPr>
        <p:spPr bwMode="auto">
          <a:xfrm>
            <a:off x="2802900" y="3309784"/>
            <a:ext cx="1593850" cy="844550"/>
          </a:xfrm>
          <a:custGeom>
            <a:avLst/>
            <a:gdLst>
              <a:gd name="T0" fmla="*/ 13 w 790"/>
              <a:gd name="T1" fmla="*/ 269 h 452"/>
              <a:gd name="T2" fmla="*/ 42 w 790"/>
              <a:gd name="T3" fmla="*/ 307 h 452"/>
              <a:gd name="T4" fmla="*/ 176 w 790"/>
              <a:gd name="T5" fmla="*/ 329 h 452"/>
              <a:gd name="T6" fmla="*/ 202 w 790"/>
              <a:gd name="T7" fmla="*/ 360 h 452"/>
              <a:gd name="T8" fmla="*/ 221 w 790"/>
              <a:gd name="T9" fmla="*/ 378 h 452"/>
              <a:gd name="T10" fmla="*/ 254 w 790"/>
              <a:gd name="T11" fmla="*/ 380 h 452"/>
              <a:gd name="T12" fmla="*/ 274 w 790"/>
              <a:gd name="T13" fmla="*/ 436 h 452"/>
              <a:gd name="T14" fmla="*/ 297 w 790"/>
              <a:gd name="T15" fmla="*/ 404 h 452"/>
              <a:gd name="T16" fmla="*/ 337 w 790"/>
              <a:gd name="T17" fmla="*/ 373 h 452"/>
              <a:gd name="T18" fmla="*/ 352 w 790"/>
              <a:gd name="T19" fmla="*/ 363 h 452"/>
              <a:gd name="T20" fmla="*/ 379 w 790"/>
              <a:gd name="T21" fmla="*/ 365 h 452"/>
              <a:gd name="T22" fmla="*/ 409 w 790"/>
              <a:gd name="T23" fmla="*/ 370 h 452"/>
              <a:gd name="T24" fmla="*/ 414 w 790"/>
              <a:gd name="T25" fmla="*/ 369 h 452"/>
              <a:gd name="T26" fmla="*/ 446 w 790"/>
              <a:gd name="T27" fmla="*/ 349 h 452"/>
              <a:gd name="T28" fmla="*/ 478 w 790"/>
              <a:gd name="T29" fmla="*/ 363 h 452"/>
              <a:gd name="T30" fmla="*/ 501 w 790"/>
              <a:gd name="T31" fmla="*/ 366 h 452"/>
              <a:gd name="T32" fmla="*/ 503 w 790"/>
              <a:gd name="T33" fmla="*/ 394 h 452"/>
              <a:gd name="T34" fmla="*/ 511 w 790"/>
              <a:gd name="T35" fmla="*/ 426 h 452"/>
              <a:gd name="T36" fmla="*/ 533 w 790"/>
              <a:gd name="T37" fmla="*/ 436 h 452"/>
              <a:gd name="T38" fmla="*/ 534 w 790"/>
              <a:gd name="T39" fmla="*/ 382 h 452"/>
              <a:gd name="T40" fmla="*/ 548 w 790"/>
              <a:gd name="T41" fmla="*/ 311 h 452"/>
              <a:gd name="T42" fmla="*/ 569 w 790"/>
              <a:gd name="T43" fmla="*/ 296 h 452"/>
              <a:gd name="T44" fmla="*/ 587 w 790"/>
              <a:gd name="T45" fmla="*/ 281 h 452"/>
              <a:gd name="T46" fmla="*/ 614 w 790"/>
              <a:gd name="T47" fmla="*/ 264 h 452"/>
              <a:gd name="T48" fmla="*/ 627 w 790"/>
              <a:gd name="T49" fmla="*/ 247 h 452"/>
              <a:gd name="T50" fmla="*/ 627 w 790"/>
              <a:gd name="T51" fmla="*/ 224 h 452"/>
              <a:gd name="T52" fmla="*/ 630 w 790"/>
              <a:gd name="T53" fmla="*/ 215 h 452"/>
              <a:gd name="T54" fmla="*/ 640 w 790"/>
              <a:gd name="T55" fmla="*/ 201 h 452"/>
              <a:gd name="T56" fmla="*/ 650 w 790"/>
              <a:gd name="T57" fmla="*/ 177 h 452"/>
              <a:gd name="T58" fmla="*/ 673 w 790"/>
              <a:gd name="T59" fmla="*/ 162 h 452"/>
              <a:gd name="T60" fmla="*/ 699 w 790"/>
              <a:gd name="T61" fmla="*/ 147 h 452"/>
              <a:gd name="T62" fmla="*/ 716 w 790"/>
              <a:gd name="T63" fmla="*/ 135 h 452"/>
              <a:gd name="T64" fmla="*/ 729 w 790"/>
              <a:gd name="T65" fmla="*/ 130 h 452"/>
              <a:gd name="T66" fmla="*/ 732 w 790"/>
              <a:gd name="T67" fmla="*/ 101 h 452"/>
              <a:gd name="T68" fmla="*/ 782 w 790"/>
              <a:gd name="T69" fmla="*/ 52 h 452"/>
              <a:gd name="T70" fmla="*/ 756 w 790"/>
              <a:gd name="T71" fmla="*/ 45 h 452"/>
              <a:gd name="T72" fmla="*/ 725 w 790"/>
              <a:gd name="T73" fmla="*/ 74 h 452"/>
              <a:gd name="T74" fmla="*/ 660 w 790"/>
              <a:gd name="T75" fmla="*/ 100 h 452"/>
              <a:gd name="T76" fmla="*/ 629 w 790"/>
              <a:gd name="T77" fmla="*/ 102 h 452"/>
              <a:gd name="T78" fmla="*/ 572 w 790"/>
              <a:gd name="T79" fmla="*/ 140 h 452"/>
              <a:gd name="T80" fmla="*/ 570 w 790"/>
              <a:gd name="T81" fmla="*/ 120 h 452"/>
              <a:gd name="T82" fmla="*/ 577 w 790"/>
              <a:gd name="T83" fmla="*/ 100 h 452"/>
              <a:gd name="T84" fmla="*/ 571 w 790"/>
              <a:gd name="T85" fmla="*/ 87 h 452"/>
              <a:gd name="T86" fmla="*/ 564 w 790"/>
              <a:gd name="T87" fmla="*/ 65 h 452"/>
              <a:gd name="T88" fmla="*/ 526 w 790"/>
              <a:gd name="T89" fmla="*/ 106 h 452"/>
              <a:gd name="T90" fmla="*/ 506 w 790"/>
              <a:gd name="T91" fmla="*/ 136 h 452"/>
              <a:gd name="T92" fmla="*/ 515 w 790"/>
              <a:gd name="T93" fmla="*/ 92 h 452"/>
              <a:gd name="T94" fmla="*/ 540 w 790"/>
              <a:gd name="T95" fmla="*/ 60 h 452"/>
              <a:gd name="T96" fmla="*/ 560 w 790"/>
              <a:gd name="T97" fmla="*/ 50 h 452"/>
              <a:gd name="T98" fmla="*/ 534 w 790"/>
              <a:gd name="T99" fmla="*/ 35 h 452"/>
              <a:gd name="T100" fmla="*/ 495 w 790"/>
              <a:gd name="T101" fmla="*/ 42 h 452"/>
              <a:gd name="T102" fmla="*/ 508 w 790"/>
              <a:gd name="T103" fmla="*/ 20 h 452"/>
              <a:gd name="T104" fmla="*/ 462 w 790"/>
              <a:gd name="T105" fmla="*/ 9 h 452"/>
              <a:gd name="T106" fmla="*/ 95 w 790"/>
              <a:gd name="T107" fmla="*/ 21 h 452"/>
              <a:gd name="T108" fmla="*/ 79 w 790"/>
              <a:gd name="T109" fmla="*/ 16 h 452"/>
              <a:gd name="T110" fmla="*/ 19 w 790"/>
              <a:gd name="T111" fmla="*/ 117 h 452"/>
              <a:gd name="T112" fmla="*/ 2 w 790"/>
              <a:gd name="T113" fmla="*/ 176 h 452"/>
              <a:gd name="T114" fmla="*/ 10 w 790"/>
              <a:gd name="T115" fmla="*/ 201 h 452"/>
              <a:gd name="T116" fmla="*/ 4 w 790"/>
              <a:gd name="T117" fmla="*/ 210 h 452"/>
              <a:gd name="T118" fmla="*/ 6 w 790"/>
              <a:gd name="T119" fmla="*/ 230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90" h="452">
                <a:moveTo>
                  <a:pt x="6" y="233"/>
                </a:moveTo>
                <a:lnTo>
                  <a:pt x="6" y="236"/>
                </a:lnTo>
                <a:lnTo>
                  <a:pt x="3" y="239"/>
                </a:lnTo>
                <a:lnTo>
                  <a:pt x="3" y="242"/>
                </a:lnTo>
                <a:lnTo>
                  <a:pt x="2" y="243"/>
                </a:lnTo>
                <a:lnTo>
                  <a:pt x="3" y="249"/>
                </a:lnTo>
                <a:lnTo>
                  <a:pt x="3" y="253"/>
                </a:lnTo>
                <a:lnTo>
                  <a:pt x="4" y="258"/>
                </a:lnTo>
                <a:lnTo>
                  <a:pt x="7" y="262"/>
                </a:lnTo>
                <a:lnTo>
                  <a:pt x="10" y="266"/>
                </a:lnTo>
                <a:lnTo>
                  <a:pt x="13" y="269"/>
                </a:lnTo>
                <a:lnTo>
                  <a:pt x="18" y="272"/>
                </a:lnTo>
                <a:lnTo>
                  <a:pt x="23" y="274"/>
                </a:lnTo>
                <a:lnTo>
                  <a:pt x="25" y="274"/>
                </a:lnTo>
                <a:lnTo>
                  <a:pt x="28" y="275"/>
                </a:lnTo>
                <a:lnTo>
                  <a:pt x="29" y="275"/>
                </a:lnTo>
                <a:lnTo>
                  <a:pt x="30" y="278"/>
                </a:lnTo>
                <a:lnTo>
                  <a:pt x="34" y="282"/>
                </a:lnTo>
                <a:lnTo>
                  <a:pt x="37" y="288"/>
                </a:lnTo>
                <a:lnTo>
                  <a:pt x="39" y="295"/>
                </a:lnTo>
                <a:lnTo>
                  <a:pt x="40" y="301"/>
                </a:lnTo>
                <a:lnTo>
                  <a:pt x="42" y="307"/>
                </a:lnTo>
                <a:lnTo>
                  <a:pt x="42" y="311"/>
                </a:lnTo>
                <a:lnTo>
                  <a:pt x="52" y="311"/>
                </a:lnTo>
                <a:lnTo>
                  <a:pt x="60" y="311"/>
                </a:lnTo>
                <a:lnTo>
                  <a:pt x="67" y="311"/>
                </a:lnTo>
                <a:lnTo>
                  <a:pt x="71" y="311"/>
                </a:lnTo>
                <a:lnTo>
                  <a:pt x="74" y="311"/>
                </a:lnTo>
                <a:lnTo>
                  <a:pt x="114" y="337"/>
                </a:lnTo>
                <a:lnTo>
                  <a:pt x="158" y="337"/>
                </a:lnTo>
                <a:lnTo>
                  <a:pt x="162" y="328"/>
                </a:lnTo>
                <a:lnTo>
                  <a:pt x="169" y="328"/>
                </a:lnTo>
                <a:lnTo>
                  <a:pt x="176" y="329"/>
                </a:lnTo>
                <a:lnTo>
                  <a:pt x="181" y="329"/>
                </a:lnTo>
                <a:lnTo>
                  <a:pt x="183" y="328"/>
                </a:lnTo>
                <a:lnTo>
                  <a:pt x="186" y="328"/>
                </a:lnTo>
                <a:lnTo>
                  <a:pt x="186" y="332"/>
                </a:lnTo>
                <a:lnTo>
                  <a:pt x="188" y="334"/>
                </a:lnTo>
                <a:lnTo>
                  <a:pt x="190" y="337"/>
                </a:lnTo>
                <a:lnTo>
                  <a:pt x="191" y="340"/>
                </a:lnTo>
                <a:lnTo>
                  <a:pt x="195" y="343"/>
                </a:lnTo>
                <a:lnTo>
                  <a:pt x="198" y="346"/>
                </a:lnTo>
                <a:lnTo>
                  <a:pt x="199" y="349"/>
                </a:lnTo>
                <a:lnTo>
                  <a:pt x="202" y="360"/>
                </a:lnTo>
                <a:lnTo>
                  <a:pt x="203" y="365"/>
                </a:lnTo>
                <a:lnTo>
                  <a:pt x="204" y="369"/>
                </a:lnTo>
                <a:lnTo>
                  <a:pt x="207" y="374"/>
                </a:lnTo>
                <a:lnTo>
                  <a:pt x="207" y="376"/>
                </a:lnTo>
                <a:lnTo>
                  <a:pt x="208" y="377"/>
                </a:lnTo>
                <a:lnTo>
                  <a:pt x="210" y="378"/>
                </a:lnTo>
                <a:lnTo>
                  <a:pt x="212" y="379"/>
                </a:lnTo>
                <a:lnTo>
                  <a:pt x="214" y="380"/>
                </a:lnTo>
                <a:lnTo>
                  <a:pt x="217" y="380"/>
                </a:lnTo>
                <a:lnTo>
                  <a:pt x="218" y="380"/>
                </a:lnTo>
                <a:lnTo>
                  <a:pt x="221" y="378"/>
                </a:lnTo>
                <a:lnTo>
                  <a:pt x="225" y="373"/>
                </a:lnTo>
                <a:lnTo>
                  <a:pt x="231" y="369"/>
                </a:lnTo>
                <a:lnTo>
                  <a:pt x="234" y="367"/>
                </a:lnTo>
                <a:lnTo>
                  <a:pt x="235" y="367"/>
                </a:lnTo>
                <a:lnTo>
                  <a:pt x="237" y="367"/>
                </a:lnTo>
                <a:lnTo>
                  <a:pt x="240" y="367"/>
                </a:lnTo>
                <a:lnTo>
                  <a:pt x="244" y="369"/>
                </a:lnTo>
                <a:lnTo>
                  <a:pt x="247" y="370"/>
                </a:lnTo>
                <a:lnTo>
                  <a:pt x="250" y="373"/>
                </a:lnTo>
                <a:lnTo>
                  <a:pt x="252" y="376"/>
                </a:lnTo>
                <a:lnTo>
                  <a:pt x="254" y="380"/>
                </a:lnTo>
                <a:lnTo>
                  <a:pt x="254" y="383"/>
                </a:lnTo>
                <a:lnTo>
                  <a:pt x="257" y="388"/>
                </a:lnTo>
                <a:lnTo>
                  <a:pt x="258" y="397"/>
                </a:lnTo>
                <a:lnTo>
                  <a:pt x="260" y="407"/>
                </a:lnTo>
                <a:lnTo>
                  <a:pt x="262" y="424"/>
                </a:lnTo>
                <a:lnTo>
                  <a:pt x="262" y="426"/>
                </a:lnTo>
                <a:lnTo>
                  <a:pt x="263" y="428"/>
                </a:lnTo>
                <a:lnTo>
                  <a:pt x="264" y="430"/>
                </a:lnTo>
                <a:lnTo>
                  <a:pt x="266" y="431"/>
                </a:lnTo>
                <a:lnTo>
                  <a:pt x="270" y="434"/>
                </a:lnTo>
                <a:lnTo>
                  <a:pt x="274" y="436"/>
                </a:lnTo>
                <a:lnTo>
                  <a:pt x="279" y="438"/>
                </a:lnTo>
                <a:lnTo>
                  <a:pt x="283" y="439"/>
                </a:lnTo>
                <a:lnTo>
                  <a:pt x="291" y="441"/>
                </a:lnTo>
                <a:lnTo>
                  <a:pt x="292" y="441"/>
                </a:lnTo>
                <a:lnTo>
                  <a:pt x="292" y="425"/>
                </a:lnTo>
                <a:lnTo>
                  <a:pt x="292" y="421"/>
                </a:lnTo>
                <a:lnTo>
                  <a:pt x="292" y="416"/>
                </a:lnTo>
                <a:lnTo>
                  <a:pt x="293" y="412"/>
                </a:lnTo>
                <a:lnTo>
                  <a:pt x="293" y="409"/>
                </a:lnTo>
                <a:lnTo>
                  <a:pt x="294" y="407"/>
                </a:lnTo>
                <a:lnTo>
                  <a:pt x="297" y="404"/>
                </a:lnTo>
                <a:lnTo>
                  <a:pt x="303" y="397"/>
                </a:lnTo>
                <a:lnTo>
                  <a:pt x="307" y="392"/>
                </a:lnTo>
                <a:lnTo>
                  <a:pt x="310" y="388"/>
                </a:lnTo>
                <a:lnTo>
                  <a:pt x="310" y="386"/>
                </a:lnTo>
                <a:lnTo>
                  <a:pt x="310" y="385"/>
                </a:lnTo>
                <a:lnTo>
                  <a:pt x="314" y="383"/>
                </a:lnTo>
                <a:lnTo>
                  <a:pt x="318" y="383"/>
                </a:lnTo>
                <a:lnTo>
                  <a:pt x="321" y="382"/>
                </a:lnTo>
                <a:lnTo>
                  <a:pt x="324" y="381"/>
                </a:lnTo>
                <a:lnTo>
                  <a:pt x="336" y="373"/>
                </a:lnTo>
                <a:lnTo>
                  <a:pt x="337" y="373"/>
                </a:lnTo>
                <a:lnTo>
                  <a:pt x="337" y="372"/>
                </a:lnTo>
                <a:lnTo>
                  <a:pt x="338" y="369"/>
                </a:lnTo>
                <a:lnTo>
                  <a:pt x="339" y="368"/>
                </a:lnTo>
                <a:lnTo>
                  <a:pt x="339" y="367"/>
                </a:lnTo>
                <a:lnTo>
                  <a:pt x="341" y="366"/>
                </a:lnTo>
                <a:lnTo>
                  <a:pt x="343" y="365"/>
                </a:lnTo>
                <a:lnTo>
                  <a:pt x="348" y="366"/>
                </a:lnTo>
                <a:lnTo>
                  <a:pt x="349" y="365"/>
                </a:lnTo>
                <a:lnTo>
                  <a:pt x="350" y="365"/>
                </a:lnTo>
                <a:lnTo>
                  <a:pt x="351" y="363"/>
                </a:lnTo>
                <a:lnTo>
                  <a:pt x="352" y="363"/>
                </a:lnTo>
                <a:lnTo>
                  <a:pt x="353" y="361"/>
                </a:lnTo>
                <a:lnTo>
                  <a:pt x="355" y="360"/>
                </a:lnTo>
                <a:lnTo>
                  <a:pt x="356" y="360"/>
                </a:lnTo>
                <a:lnTo>
                  <a:pt x="359" y="360"/>
                </a:lnTo>
                <a:lnTo>
                  <a:pt x="361" y="361"/>
                </a:lnTo>
                <a:lnTo>
                  <a:pt x="365" y="363"/>
                </a:lnTo>
                <a:lnTo>
                  <a:pt x="369" y="365"/>
                </a:lnTo>
                <a:lnTo>
                  <a:pt x="372" y="365"/>
                </a:lnTo>
                <a:lnTo>
                  <a:pt x="374" y="366"/>
                </a:lnTo>
                <a:lnTo>
                  <a:pt x="377" y="365"/>
                </a:lnTo>
                <a:lnTo>
                  <a:pt x="379" y="365"/>
                </a:lnTo>
                <a:lnTo>
                  <a:pt x="385" y="363"/>
                </a:lnTo>
                <a:lnTo>
                  <a:pt x="386" y="367"/>
                </a:lnTo>
                <a:lnTo>
                  <a:pt x="389" y="370"/>
                </a:lnTo>
                <a:lnTo>
                  <a:pt x="391" y="372"/>
                </a:lnTo>
                <a:lnTo>
                  <a:pt x="392" y="373"/>
                </a:lnTo>
                <a:lnTo>
                  <a:pt x="396" y="373"/>
                </a:lnTo>
                <a:lnTo>
                  <a:pt x="397" y="373"/>
                </a:lnTo>
                <a:lnTo>
                  <a:pt x="401" y="373"/>
                </a:lnTo>
                <a:lnTo>
                  <a:pt x="403" y="373"/>
                </a:lnTo>
                <a:lnTo>
                  <a:pt x="405" y="372"/>
                </a:lnTo>
                <a:lnTo>
                  <a:pt x="409" y="370"/>
                </a:lnTo>
                <a:lnTo>
                  <a:pt x="409" y="372"/>
                </a:lnTo>
                <a:lnTo>
                  <a:pt x="410" y="372"/>
                </a:lnTo>
                <a:lnTo>
                  <a:pt x="412" y="373"/>
                </a:lnTo>
                <a:lnTo>
                  <a:pt x="414" y="376"/>
                </a:lnTo>
                <a:lnTo>
                  <a:pt x="415" y="376"/>
                </a:lnTo>
                <a:lnTo>
                  <a:pt x="416" y="377"/>
                </a:lnTo>
                <a:lnTo>
                  <a:pt x="418" y="376"/>
                </a:lnTo>
                <a:lnTo>
                  <a:pt x="418" y="372"/>
                </a:lnTo>
                <a:lnTo>
                  <a:pt x="416" y="370"/>
                </a:lnTo>
                <a:lnTo>
                  <a:pt x="415" y="370"/>
                </a:lnTo>
                <a:lnTo>
                  <a:pt x="414" y="369"/>
                </a:lnTo>
                <a:lnTo>
                  <a:pt x="413" y="368"/>
                </a:lnTo>
                <a:lnTo>
                  <a:pt x="413" y="367"/>
                </a:lnTo>
                <a:lnTo>
                  <a:pt x="413" y="352"/>
                </a:lnTo>
                <a:lnTo>
                  <a:pt x="422" y="351"/>
                </a:lnTo>
                <a:lnTo>
                  <a:pt x="426" y="350"/>
                </a:lnTo>
                <a:lnTo>
                  <a:pt x="430" y="350"/>
                </a:lnTo>
                <a:lnTo>
                  <a:pt x="441" y="351"/>
                </a:lnTo>
                <a:lnTo>
                  <a:pt x="442" y="351"/>
                </a:lnTo>
                <a:lnTo>
                  <a:pt x="444" y="351"/>
                </a:lnTo>
                <a:lnTo>
                  <a:pt x="445" y="350"/>
                </a:lnTo>
                <a:lnTo>
                  <a:pt x="446" y="349"/>
                </a:lnTo>
                <a:lnTo>
                  <a:pt x="462" y="349"/>
                </a:lnTo>
                <a:lnTo>
                  <a:pt x="462" y="350"/>
                </a:lnTo>
                <a:lnTo>
                  <a:pt x="463" y="350"/>
                </a:lnTo>
                <a:lnTo>
                  <a:pt x="468" y="352"/>
                </a:lnTo>
                <a:lnTo>
                  <a:pt x="472" y="354"/>
                </a:lnTo>
                <a:lnTo>
                  <a:pt x="472" y="356"/>
                </a:lnTo>
                <a:lnTo>
                  <a:pt x="474" y="358"/>
                </a:lnTo>
                <a:lnTo>
                  <a:pt x="474" y="360"/>
                </a:lnTo>
                <a:lnTo>
                  <a:pt x="474" y="363"/>
                </a:lnTo>
                <a:lnTo>
                  <a:pt x="476" y="364"/>
                </a:lnTo>
                <a:lnTo>
                  <a:pt x="478" y="363"/>
                </a:lnTo>
                <a:lnTo>
                  <a:pt x="480" y="363"/>
                </a:lnTo>
                <a:lnTo>
                  <a:pt x="483" y="360"/>
                </a:lnTo>
                <a:lnTo>
                  <a:pt x="486" y="358"/>
                </a:lnTo>
                <a:lnTo>
                  <a:pt x="488" y="356"/>
                </a:lnTo>
                <a:lnTo>
                  <a:pt x="490" y="356"/>
                </a:lnTo>
                <a:lnTo>
                  <a:pt x="494" y="358"/>
                </a:lnTo>
                <a:lnTo>
                  <a:pt x="498" y="359"/>
                </a:lnTo>
                <a:lnTo>
                  <a:pt x="499" y="360"/>
                </a:lnTo>
                <a:lnTo>
                  <a:pt x="501" y="361"/>
                </a:lnTo>
                <a:lnTo>
                  <a:pt x="501" y="363"/>
                </a:lnTo>
                <a:lnTo>
                  <a:pt x="501" y="366"/>
                </a:lnTo>
                <a:lnTo>
                  <a:pt x="502" y="369"/>
                </a:lnTo>
                <a:lnTo>
                  <a:pt x="503" y="372"/>
                </a:lnTo>
                <a:lnTo>
                  <a:pt x="503" y="373"/>
                </a:lnTo>
                <a:lnTo>
                  <a:pt x="506" y="376"/>
                </a:lnTo>
                <a:lnTo>
                  <a:pt x="508" y="378"/>
                </a:lnTo>
                <a:lnTo>
                  <a:pt x="510" y="378"/>
                </a:lnTo>
                <a:lnTo>
                  <a:pt x="508" y="382"/>
                </a:lnTo>
                <a:lnTo>
                  <a:pt x="506" y="386"/>
                </a:lnTo>
                <a:lnTo>
                  <a:pt x="504" y="389"/>
                </a:lnTo>
                <a:lnTo>
                  <a:pt x="504" y="391"/>
                </a:lnTo>
                <a:lnTo>
                  <a:pt x="503" y="394"/>
                </a:lnTo>
                <a:lnTo>
                  <a:pt x="504" y="395"/>
                </a:lnTo>
                <a:lnTo>
                  <a:pt x="505" y="397"/>
                </a:lnTo>
                <a:lnTo>
                  <a:pt x="508" y="401"/>
                </a:lnTo>
                <a:lnTo>
                  <a:pt x="507" y="402"/>
                </a:lnTo>
                <a:lnTo>
                  <a:pt x="506" y="403"/>
                </a:lnTo>
                <a:lnTo>
                  <a:pt x="505" y="405"/>
                </a:lnTo>
                <a:lnTo>
                  <a:pt x="506" y="410"/>
                </a:lnTo>
                <a:lnTo>
                  <a:pt x="507" y="415"/>
                </a:lnTo>
                <a:lnTo>
                  <a:pt x="508" y="418"/>
                </a:lnTo>
                <a:lnTo>
                  <a:pt x="511" y="422"/>
                </a:lnTo>
                <a:lnTo>
                  <a:pt x="511" y="426"/>
                </a:lnTo>
                <a:lnTo>
                  <a:pt x="511" y="431"/>
                </a:lnTo>
                <a:lnTo>
                  <a:pt x="511" y="434"/>
                </a:lnTo>
                <a:lnTo>
                  <a:pt x="512" y="438"/>
                </a:lnTo>
                <a:lnTo>
                  <a:pt x="516" y="444"/>
                </a:lnTo>
                <a:lnTo>
                  <a:pt x="520" y="448"/>
                </a:lnTo>
                <a:lnTo>
                  <a:pt x="521" y="450"/>
                </a:lnTo>
                <a:lnTo>
                  <a:pt x="524" y="451"/>
                </a:lnTo>
                <a:lnTo>
                  <a:pt x="529" y="451"/>
                </a:lnTo>
                <a:lnTo>
                  <a:pt x="529" y="446"/>
                </a:lnTo>
                <a:lnTo>
                  <a:pt x="530" y="444"/>
                </a:lnTo>
                <a:lnTo>
                  <a:pt x="533" y="436"/>
                </a:lnTo>
                <a:lnTo>
                  <a:pt x="533" y="434"/>
                </a:lnTo>
                <a:lnTo>
                  <a:pt x="534" y="431"/>
                </a:lnTo>
                <a:lnTo>
                  <a:pt x="534" y="428"/>
                </a:lnTo>
                <a:lnTo>
                  <a:pt x="535" y="424"/>
                </a:lnTo>
                <a:lnTo>
                  <a:pt x="535" y="418"/>
                </a:lnTo>
                <a:lnTo>
                  <a:pt x="537" y="414"/>
                </a:lnTo>
                <a:lnTo>
                  <a:pt x="538" y="408"/>
                </a:lnTo>
                <a:lnTo>
                  <a:pt x="538" y="403"/>
                </a:lnTo>
                <a:lnTo>
                  <a:pt x="538" y="399"/>
                </a:lnTo>
                <a:lnTo>
                  <a:pt x="537" y="394"/>
                </a:lnTo>
                <a:lnTo>
                  <a:pt x="534" y="382"/>
                </a:lnTo>
                <a:lnTo>
                  <a:pt x="531" y="372"/>
                </a:lnTo>
                <a:lnTo>
                  <a:pt x="530" y="366"/>
                </a:lnTo>
                <a:lnTo>
                  <a:pt x="530" y="360"/>
                </a:lnTo>
                <a:lnTo>
                  <a:pt x="530" y="352"/>
                </a:lnTo>
                <a:lnTo>
                  <a:pt x="531" y="346"/>
                </a:lnTo>
                <a:lnTo>
                  <a:pt x="533" y="339"/>
                </a:lnTo>
                <a:lnTo>
                  <a:pt x="535" y="333"/>
                </a:lnTo>
                <a:lnTo>
                  <a:pt x="538" y="327"/>
                </a:lnTo>
                <a:lnTo>
                  <a:pt x="541" y="322"/>
                </a:lnTo>
                <a:lnTo>
                  <a:pt x="545" y="316"/>
                </a:lnTo>
                <a:lnTo>
                  <a:pt x="548" y="311"/>
                </a:lnTo>
                <a:lnTo>
                  <a:pt x="551" y="312"/>
                </a:lnTo>
                <a:lnTo>
                  <a:pt x="552" y="312"/>
                </a:lnTo>
                <a:lnTo>
                  <a:pt x="555" y="310"/>
                </a:lnTo>
                <a:lnTo>
                  <a:pt x="557" y="306"/>
                </a:lnTo>
                <a:lnTo>
                  <a:pt x="559" y="305"/>
                </a:lnTo>
                <a:lnTo>
                  <a:pt x="561" y="304"/>
                </a:lnTo>
                <a:lnTo>
                  <a:pt x="562" y="303"/>
                </a:lnTo>
                <a:lnTo>
                  <a:pt x="564" y="302"/>
                </a:lnTo>
                <a:lnTo>
                  <a:pt x="566" y="301"/>
                </a:lnTo>
                <a:lnTo>
                  <a:pt x="567" y="300"/>
                </a:lnTo>
                <a:lnTo>
                  <a:pt x="569" y="296"/>
                </a:lnTo>
                <a:lnTo>
                  <a:pt x="571" y="293"/>
                </a:lnTo>
                <a:lnTo>
                  <a:pt x="573" y="289"/>
                </a:lnTo>
                <a:lnTo>
                  <a:pt x="575" y="288"/>
                </a:lnTo>
                <a:lnTo>
                  <a:pt x="577" y="287"/>
                </a:lnTo>
                <a:lnTo>
                  <a:pt x="578" y="285"/>
                </a:lnTo>
                <a:lnTo>
                  <a:pt x="580" y="285"/>
                </a:lnTo>
                <a:lnTo>
                  <a:pt x="583" y="285"/>
                </a:lnTo>
                <a:lnTo>
                  <a:pt x="583" y="281"/>
                </a:lnTo>
                <a:lnTo>
                  <a:pt x="584" y="282"/>
                </a:lnTo>
                <a:lnTo>
                  <a:pt x="586" y="282"/>
                </a:lnTo>
                <a:lnTo>
                  <a:pt x="587" y="281"/>
                </a:lnTo>
                <a:lnTo>
                  <a:pt x="590" y="279"/>
                </a:lnTo>
                <a:lnTo>
                  <a:pt x="592" y="278"/>
                </a:lnTo>
                <a:lnTo>
                  <a:pt x="595" y="273"/>
                </a:lnTo>
                <a:lnTo>
                  <a:pt x="597" y="270"/>
                </a:lnTo>
                <a:lnTo>
                  <a:pt x="599" y="269"/>
                </a:lnTo>
                <a:lnTo>
                  <a:pt x="601" y="267"/>
                </a:lnTo>
                <a:lnTo>
                  <a:pt x="604" y="266"/>
                </a:lnTo>
                <a:lnTo>
                  <a:pt x="607" y="266"/>
                </a:lnTo>
                <a:lnTo>
                  <a:pt x="609" y="266"/>
                </a:lnTo>
                <a:lnTo>
                  <a:pt x="611" y="266"/>
                </a:lnTo>
                <a:lnTo>
                  <a:pt x="614" y="264"/>
                </a:lnTo>
                <a:lnTo>
                  <a:pt x="611" y="262"/>
                </a:lnTo>
                <a:lnTo>
                  <a:pt x="611" y="259"/>
                </a:lnTo>
                <a:lnTo>
                  <a:pt x="611" y="258"/>
                </a:lnTo>
                <a:lnTo>
                  <a:pt x="613" y="258"/>
                </a:lnTo>
                <a:lnTo>
                  <a:pt x="614" y="256"/>
                </a:lnTo>
                <a:lnTo>
                  <a:pt x="618" y="253"/>
                </a:lnTo>
                <a:lnTo>
                  <a:pt x="623" y="251"/>
                </a:lnTo>
                <a:lnTo>
                  <a:pt x="623" y="252"/>
                </a:lnTo>
                <a:lnTo>
                  <a:pt x="623" y="249"/>
                </a:lnTo>
                <a:lnTo>
                  <a:pt x="626" y="249"/>
                </a:lnTo>
                <a:lnTo>
                  <a:pt x="627" y="247"/>
                </a:lnTo>
                <a:lnTo>
                  <a:pt x="630" y="245"/>
                </a:lnTo>
                <a:lnTo>
                  <a:pt x="632" y="244"/>
                </a:lnTo>
                <a:lnTo>
                  <a:pt x="633" y="243"/>
                </a:lnTo>
                <a:lnTo>
                  <a:pt x="632" y="240"/>
                </a:lnTo>
                <a:lnTo>
                  <a:pt x="631" y="239"/>
                </a:lnTo>
                <a:lnTo>
                  <a:pt x="630" y="234"/>
                </a:lnTo>
                <a:lnTo>
                  <a:pt x="630" y="232"/>
                </a:lnTo>
                <a:lnTo>
                  <a:pt x="630" y="230"/>
                </a:lnTo>
                <a:lnTo>
                  <a:pt x="629" y="227"/>
                </a:lnTo>
                <a:lnTo>
                  <a:pt x="627" y="226"/>
                </a:lnTo>
                <a:lnTo>
                  <a:pt x="627" y="224"/>
                </a:lnTo>
                <a:lnTo>
                  <a:pt x="624" y="223"/>
                </a:lnTo>
                <a:lnTo>
                  <a:pt x="623" y="222"/>
                </a:lnTo>
                <a:lnTo>
                  <a:pt x="622" y="220"/>
                </a:lnTo>
                <a:lnTo>
                  <a:pt x="626" y="220"/>
                </a:lnTo>
                <a:lnTo>
                  <a:pt x="629" y="221"/>
                </a:lnTo>
                <a:lnTo>
                  <a:pt x="627" y="220"/>
                </a:lnTo>
                <a:lnTo>
                  <a:pt x="627" y="218"/>
                </a:lnTo>
                <a:lnTo>
                  <a:pt x="628" y="217"/>
                </a:lnTo>
                <a:lnTo>
                  <a:pt x="629" y="216"/>
                </a:lnTo>
                <a:lnTo>
                  <a:pt x="629" y="214"/>
                </a:lnTo>
                <a:lnTo>
                  <a:pt x="630" y="215"/>
                </a:lnTo>
                <a:lnTo>
                  <a:pt x="631" y="216"/>
                </a:lnTo>
                <a:lnTo>
                  <a:pt x="633" y="216"/>
                </a:lnTo>
                <a:lnTo>
                  <a:pt x="635" y="216"/>
                </a:lnTo>
                <a:lnTo>
                  <a:pt x="637" y="215"/>
                </a:lnTo>
                <a:lnTo>
                  <a:pt x="640" y="213"/>
                </a:lnTo>
                <a:lnTo>
                  <a:pt x="639" y="204"/>
                </a:lnTo>
                <a:lnTo>
                  <a:pt x="637" y="201"/>
                </a:lnTo>
                <a:lnTo>
                  <a:pt x="637" y="196"/>
                </a:lnTo>
                <a:lnTo>
                  <a:pt x="637" y="193"/>
                </a:lnTo>
                <a:lnTo>
                  <a:pt x="640" y="199"/>
                </a:lnTo>
                <a:lnTo>
                  <a:pt x="640" y="201"/>
                </a:lnTo>
                <a:lnTo>
                  <a:pt x="641" y="202"/>
                </a:lnTo>
                <a:lnTo>
                  <a:pt x="643" y="203"/>
                </a:lnTo>
                <a:lnTo>
                  <a:pt x="645" y="204"/>
                </a:lnTo>
                <a:lnTo>
                  <a:pt x="647" y="204"/>
                </a:lnTo>
                <a:lnTo>
                  <a:pt x="648" y="203"/>
                </a:lnTo>
                <a:lnTo>
                  <a:pt x="649" y="202"/>
                </a:lnTo>
                <a:lnTo>
                  <a:pt x="650" y="200"/>
                </a:lnTo>
                <a:lnTo>
                  <a:pt x="650" y="197"/>
                </a:lnTo>
                <a:lnTo>
                  <a:pt x="650" y="194"/>
                </a:lnTo>
                <a:lnTo>
                  <a:pt x="650" y="174"/>
                </a:lnTo>
                <a:lnTo>
                  <a:pt x="650" y="177"/>
                </a:lnTo>
                <a:lnTo>
                  <a:pt x="651" y="180"/>
                </a:lnTo>
                <a:lnTo>
                  <a:pt x="653" y="181"/>
                </a:lnTo>
                <a:lnTo>
                  <a:pt x="653" y="184"/>
                </a:lnTo>
                <a:lnTo>
                  <a:pt x="655" y="187"/>
                </a:lnTo>
                <a:lnTo>
                  <a:pt x="658" y="181"/>
                </a:lnTo>
                <a:lnTo>
                  <a:pt x="661" y="180"/>
                </a:lnTo>
                <a:lnTo>
                  <a:pt x="663" y="177"/>
                </a:lnTo>
                <a:lnTo>
                  <a:pt x="663" y="178"/>
                </a:lnTo>
                <a:lnTo>
                  <a:pt x="666" y="175"/>
                </a:lnTo>
                <a:lnTo>
                  <a:pt x="669" y="171"/>
                </a:lnTo>
                <a:lnTo>
                  <a:pt x="673" y="162"/>
                </a:lnTo>
                <a:lnTo>
                  <a:pt x="673" y="158"/>
                </a:lnTo>
                <a:lnTo>
                  <a:pt x="673" y="155"/>
                </a:lnTo>
                <a:lnTo>
                  <a:pt x="673" y="154"/>
                </a:lnTo>
                <a:lnTo>
                  <a:pt x="673" y="152"/>
                </a:lnTo>
                <a:lnTo>
                  <a:pt x="675" y="151"/>
                </a:lnTo>
                <a:lnTo>
                  <a:pt x="676" y="150"/>
                </a:lnTo>
                <a:lnTo>
                  <a:pt x="680" y="150"/>
                </a:lnTo>
                <a:lnTo>
                  <a:pt x="685" y="150"/>
                </a:lnTo>
                <a:lnTo>
                  <a:pt x="689" y="150"/>
                </a:lnTo>
                <a:lnTo>
                  <a:pt x="693" y="150"/>
                </a:lnTo>
                <a:lnTo>
                  <a:pt x="699" y="147"/>
                </a:lnTo>
                <a:lnTo>
                  <a:pt x="682" y="147"/>
                </a:lnTo>
                <a:lnTo>
                  <a:pt x="685" y="146"/>
                </a:lnTo>
                <a:lnTo>
                  <a:pt x="689" y="145"/>
                </a:lnTo>
                <a:lnTo>
                  <a:pt x="696" y="144"/>
                </a:lnTo>
                <a:lnTo>
                  <a:pt x="703" y="142"/>
                </a:lnTo>
                <a:lnTo>
                  <a:pt x="707" y="141"/>
                </a:lnTo>
                <a:lnTo>
                  <a:pt x="711" y="140"/>
                </a:lnTo>
                <a:lnTo>
                  <a:pt x="712" y="139"/>
                </a:lnTo>
                <a:lnTo>
                  <a:pt x="713" y="138"/>
                </a:lnTo>
                <a:lnTo>
                  <a:pt x="715" y="136"/>
                </a:lnTo>
                <a:lnTo>
                  <a:pt x="716" y="135"/>
                </a:lnTo>
                <a:lnTo>
                  <a:pt x="717" y="133"/>
                </a:lnTo>
                <a:lnTo>
                  <a:pt x="722" y="133"/>
                </a:lnTo>
                <a:lnTo>
                  <a:pt x="727" y="135"/>
                </a:lnTo>
                <a:lnTo>
                  <a:pt x="729" y="135"/>
                </a:lnTo>
                <a:lnTo>
                  <a:pt x="732" y="133"/>
                </a:lnTo>
                <a:lnTo>
                  <a:pt x="734" y="133"/>
                </a:lnTo>
                <a:lnTo>
                  <a:pt x="736" y="130"/>
                </a:lnTo>
                <a:lnTo>
                  <a:pt x="734" y="128"/>
                </a:lnTo>
                <a:lnTo>
                  <a:pt x="732" y="129"/>
                </a:lnTo>
                <a:lnTo>
                  <a:pt x="731" y="130"/>
                </a:lnTo>
                <a:lnTo>
                  <a:pt x="729" y="130"/>
                </a:lnTo>
                <a:lnTo>
                  <a:pt x="726" y="130"/>
                </a:lnTo>
                <a:lnTo>
                  <a:pt x="726" y="128"/>
                </a:lnTo>
                <a:lnTo>
                  <a:pt x="726" y="126"/>
                </a:lnTo>
                <a:lnTo>
                  <a:pt x="726" y="123"/>
                </a:lnTo>
                <a:lnTo>
                  <a:pt x="726" y="120"/>
                </a:lnTo>
                <a:lnTo>
                  <a:pt x="726" y="118"/>
                </a:lnTo>
                <a:lnTo>
                  <a:pt x="726" y="115"/>
                </a:lnTo>
                <a:lnTo>
                  <a:pt x="729" y="110"/>
                </a:lnTo>
                <a:lnTo>
                  <a:pt x="731" y="106"/>
                </a:lnTo>
                <a:lnTo>
                  <a:pt x="732" y="104"/>
                </a:lnTo>
                <a:lnTo>
                  <a:pt x="732" y="101"/>
                </a:lnTo>
                <a:lnTo>
                  <a:pt x="738" y="97"/>
                </a:lnTo>
                <a:lnTo>
                  <a:pt x="744" y="92"/>
                </a:lnTo>
                <a:lnTo>
                  <a:pt x="751" y="89"/>
                </a:lnTo>
                <a:lnTo>
                  <a:pt x="758" y="87"/>
                </a:lnTo>
                <a:lnTo>
                  <a:pt x="773" y="81"/>
                </a:lnTo>
                <a:lnTo>
                  <a:pt x="780" y="78"/>
                </a:lnTo>
                <a:lnTo>
                  <a:pt x="787" y="74"/>
                </a:lnTo>
                <a:lnTo>
                  <a:pt x="784" y="65"/>
                </a:lnTo>
                <a:lnTo>
                  <a:pt x="783" y="59"/>
                </a:lnTo>
                <a:lnTo>
                  <a:pt x="782" y="55"/>
                </a:lnTo>
                <a:lnTo>
                  <a:pt x="782" y="52"/>
                </a:lnTo>
                <a:lnTo>
                  <a:pt x="783" y="51"/>
                </a:lnTo>
                <a:lnTo>
                  <a:pt x="784" y="46"/>
                </a:lnTo>
                <a:lnTo>
                  <a:pt x="787" y="42"/>
                </a:lnTo>
                <a:lnTo>
                  <a:pt x="789" y="38"/>
                </a:lnTo>
                <a:lnTo>
                  <a:pt x="772" y="31"/>
                </a:lnTo>
                <a:lnTo>
                  <a:pt x="769" y="32"/>
                </a:lnTo>
                <a:lnTo>
                  <a:pt x="765" y="33"/>
                </a:lnTo>
                <a:lnTo>
                  <a:pt x="765" y="34"/>
                </a:lnTo>
                <a:lnTo>
                  <a:pt x="764" y="35"/>
                </a:lnTo>
                <a:lnTo>
                  <a:pt x="761" y="38"/>
                </a:lnTo>
                <a:lnTo>
                  <a:pt x="756" y="45"/>
                </a:lnTo>
                <a:lnTo>
                  <a:pt x="752" y="52"/>
                </a:lnTo>
                <a:lnTo>
                  <a:pt x="748" y="60"/>
                </a:lnTo>
                <a:lnTo>
                  <a:pt x="745" y="64"/>
                </a:lnTo>
                <a:lnTo>
                  <a:pt x="742" y="68"/>
                </a:lnTo>
                <a:lnTo>
                  <a:pt x="739" y="70"/>
                </a:lnTo>
                <a:lnTo>
                  <a:pt x="737" y="72"/>
                </a:lnTo>
                <a:lnTo>
                  <a:pt x="733" y="73"/>
                </a:lnTo>
                <a:lnTo>
                  <a:pt x="729" y="74"/>
                </a:lnTo>
                <a:lnTo>
                  <a:pt x="727" y="74"/>
                </a:lnTo>
                <a:lnTo>
                  <a:pt x="726" y="74"/>
                </a:lnTo>
                <a:lnTo>
                  <a:pt x="725" y="74"/>
                </a:lnTo>
                <a:lnTo>
                  <a:pt x="722" y="75"/>
                </a:lnTo>
                <a:lnTo>
                  <a:pt x="715" y="74"/>
                </a:lnTo>
                <a:lnTo>
                  <a:pt x="694" y="75"/>
                </a:lnTo>
                <a:lnTo>
                  <a:pt x="690" y="77"/>
                </a:lnTo>
                <a:lnTo>
                  <a:pt x="686" y="78"/>
                </a:lnTo>
                <a:lnTo>
                  <a:pt x="684" y="80"/>
                </a:lnTo>
                <a:lnTo>
                  <a:pt x="680" y="82"/>
                </a:lnTo>
                <a:lnTo>
                  <a:pt x="673" y="87"/>
                </a:lnTo>
                <a:lnTo>
                  <a:pt x="668" y="92"/>
                </a:lnTo>
                <a:lnTo>
                  <a:pt x="663" y="97"/>
                </a:lnTo>
                <a:lnTo>
                  <a:pt x="660" y="100"/>
                </a:lnTo>
                <a:lnTo>
                  <a:pt x="656" y="101"/>
                </a:lnTo>
                <a:lnTo>
                  <a:pt x="653" y="103"/>
                </a:lnTo>
                <a:lnTo>
                  <a:pt x="650" y="104"/>
                </a:lnTo>
                <a:lnTo>
                  <a:pt x="647" y="105"/>
                </a:lnTo>
                <a:lnTo>
                  <a:pt x="643" y="105"/>
                </a:lnTo>
                <a:lnTo>
                  <a:pt x="640" y="105"/>
                </a:lnTo>
                <a:lnTo>
                  <a:pt x="639" y="103"/>
                </a:lnTo>
                <a:lnTo>
                  <a:pt x="636" y="102"/>
                </a:lnTo>
                <a:lnTo>
                  <a:pt x="635" y="101"/>
                </a:lnTo>
                <a:lnTo>
                  <a:pt x="633" y="101"/>
                </a:lnTo>
                <a:lnTo>
                  <a:pt x="629" y="102"/>
                </a:lnTo>
                <a:lnTo>
                  <a:pt x="627" y="103"/>
                </a:lnTo>
                <a:lnTo>
                  <a:pt x="624" y="106"/>
                </a:lnTo>
                <a:lnTo>
                  <a:pt x="623" y="109"/>
                </a:lnTo>
                <a:lnTo>
                  <a:pt x="621" y="114"/>
                </a:lnTo>
                <a:lnTo>
                  <a:pt x="620" y="117"/>
                </a:lnTo>
                <a:lnTo>
                  <a:pt x="618" y="119"/>
                </a:lnTo>
                <a:lnTo>
                  <a:pt x="609" y="124"/>
                </a:lnTo>
                <a:lnTo>
                  <a:pt x="596" y="132"/>
                </a:lnTo>
                <a:lnTo>
                  <a:pt x="582" y="137"/>
                </a:lnTo>
                <a:lnTo>
                  <a:pt x="577" y="139"/>
                </a:lnTo>
                <a:lnTo>
                  <a:pt x="572" y="140"/>
                </a:lnTo>
                <a:lnTo>
                  <a:pt x="568" y="140"/>
                </a:lnTo>
                <a:lnTo>
                  <a:pt x="564" y="138"/>
                </a:lnTo>
                <a:lnTo>
                  <a:pt x="561" y="136"/>
                </a:lnTo>
                <a:lnTo>
                  <a:pt x="560" y="136"/>
                </a:lnTo>
                <a:lnTo>
                  <a:pt x="559" y="135"/>
                </a:lnTo>
                <a:lnTo>
                  <a:pt x="560" y="132"/>
                </a:lnTo>
                <a:lnTo>
                  <a:pt x="560" y="130"/>
                </a:lnTo>
                <a:lnTo>
                  <a:pt x="561" y="128"/>
                </a:lnTo>
                <a:lnTo>
                  <a:pt x="562" y="126"/>
                </a:lnTo>
                <a:lnTo>
                  <a:pt x="566" y="123"/>
                </a:lnTo>
                <a:lnTo>
                  <a:pt x="570" y="120"/>
                </a:lnTo>
                <a:lnTo>
                  <a:pt x="574" y="119"/>
                </a:lnTo>
                <a:lnTo>
                  <a:pt x="577" y="116"/>
                </a:lnTo>
                <a:lnTo>
                  <a:pt x="578" y="114"/>
                </a:lnTo>
                <a:lnTo>
                  <a:pt x="579" y="113"/>
                </a:lnTo>
                <a:lnTo>
                  <a:pt x="580" y="110"/>
                </a:lnTo>
                <a:lnTo>
                  <a:pt x="580" y="109"/>
                </a:lnTo>
                <a:lnTo>
                  <a:pt x="580" y="107"/>
                </a:lnTo>
                <a:lnTo>
                  <a:pt x="578" y="106"/>
                </a:lnTo>
                <a:lnTo>
                  <a:pt x="577" y="105"/>
                </a:lnTo>
                <a:lnTo>
                  <a:pt x="577" y="104"/>
                </a:lnTo>
                <a:lnTo>
                  <a:pt x="577" y="100"/>
                </a:lnTo>
                <a:lnTo>
                  <a:pt x="577" y="99"/>
                </a:lnTo>
                <a:lnTo>
                  <a:pt x="577" y="95"/>
                </a:lnTo>
                <a:lnTo>
                  <a:pt x="575" y="91"/>
                </a:lnTo>
                <a:lnTo>
                  <a:pt x="572" y="94"/>
                </a:lnTo>
                <a:lnTo>
                  <a:pt x="571" y="96"/>
                </a:lnTo>
                <a:lnTo>
                  <a:pt x="569" y="99"/>
                </a:lnTo>
                <a:lnTo>
                  <a:pt x="562" y="99"/>
                </a:lnTo>
                <a:lnTo>
                  <a:pt x="564" y="96"/>
                </a:lnTo>
                <a:lnTo>
                  <a:pt x="565" y="95"/>
                </a:lnTo>
                <a:lnTo>
                  <a:pt x="566" y="93"/>
                </a:lnTo>
                <a:lnTo>
                  <a:pt x="571" y="87"/>
                </a:lnTo>
                <a:lnTo>
                  <a:pt x="574" y="84"/>
                </a:lnTo>
                <a:lnTo>
                  <a:pt x="575" y="81"/>
                </a:lnTo>
                <a:lnTo>
                  <a:pt x="577" y="77"/>
                </a:lnTo>
                <a:lnTo>
                  <a:pt x="577" y="74"/>
                </a:lnTo>
                <a:lnTo>
                  <a:pt x="577" y="71"/>
                </a:lnTo>
                <a:lnTo>
                  <a:pt x="577" y="69"/>
                </a:lnTo>
                <a:lnTo>
                  <a:pt x="574" y="68"/>
                </a:lnTo>
                <a:lnTo>
                  <a:pt x="574" y="66"/>
                </a:lnTo>
                <a:lnTo>
                  <a:pt x="572" y="65"/>
                </a:lnTo>
                <a:lnTo>
                  <a:pt x="569" y="64"/>
                </a:lnTo>
                <a:lnTo>
                  <a:pt x="564" y="65"/>
                </a:lnTo>
                <a:lnTo>
                  <a:pt x="561" y="65"/>
                </a:lnTo>
                <a:lnTo>
                  <a:pt x="559" y="64"/>
                </a:lnTo>
                <a:lnTo>
                  <a:pt x="556" y="69"/>
                </a:lnTo>
                <a:lnTo>
                  <a:pt x="552" y="72"/>
                </a:lnTo>
                <a:lnTo>
                  <a:pt x="545" y="78"/>
                </a:lnTo>
                <a:lnTo>
                  <a:pt x="541" y="82"/>
                </a:lnTo>
                <a:lnTo>
                  <a:pt x="537" y="84"/>
                </a:lnTo>
                <a:lnTo>
                  <a:pt x="534" y="89"/>
                </a:lnTo>
                <a:lnTo>
                  <a:pt x="530" y="94"/>
                </a:lnTo>
                <a:lnTo>
                  <a:pt x="528" y="100"/>
                </a:lnTo>
                <a:lnTo>
                  <a:pt x="526" y="106"/>
                </a:lnTo>
                <a:lnTo>
                  <a:pt x="525" y="113"/>
                </a:lnTo>
                <a:lnTo>
                  <a:pt x="524" y="116"/>
                </a:lnTo>
                <a:lnTo>
                  <a:pt x="524" y="120"/>
                </a:lnTo>
                <a:lnTo>
                  <a:pt x="523" y="123"/>
                </a:lnTo>
                <a:lnTo>
                  <a:pt x="521" y="126"/>
                </a:lnTo>
                <a:lnTo>
                  <a:pt x="520" y="129"/>
                </a:lnTo>
                <a:lnTo>
                  <a:pt x="518" y="131"/>
                </a:lnTo>
                <a:lnTo>
                  <a:pt x="516" y="133"/>
                </a:lnTo>
                <a:lnTo>
                  <a:pt x="513" y="135"/>
                </a:lnTo>
                <a:lnTo>
                  <a:pt x="511" y="136"/>
                </a:lnTo>
                <a:lnTo>
                  <a:pt x="506" y="136"/>
                </a:lnTo>
                <a:lnTo>
                  <a:pt x="504" y="136"/>
                </a:lnTo>
                <a:lnTo>
                  <a:pt x="502" y="135"/>
                </a:lnTo>
                <a:lnTo>
                  <a:pt x="501" y="133"/>
                </a:lnTo>
                <a:lnTo>
                  <a:pt x="499" y="133"/>
                </a:lnTo>
                <a:lnTo>
                  <a:pt x="499" y="132"/>
                </a:lnTo>
                <a:lnTo>
                  <a:pt x="501" y="124"/>
                </a:lnTo>
                <a:lnTo>
                  <a:pt x="502" y="118"/>
                </a:lnTo>
                <a:lnTo>
                  <a:pt x="505" y="111"/>
                </a:lnTo>
                <a:lnTo>
                  <a:pt x="508" y="105"/>
                </a:lnTo>
                <a:lnTo>
                  <a:pt x="511" y="99"/>
                </a:lnTo>
                <a:lnTo>
                  <a:pt x="515" y="92"/>
                </a:lnTo>
                <a:lnTo>
                  <a:pt x="521" y="83"/>
                </a:lnTo>
                <a:lnTo>
                  <a:pt x="521" y="81"/>
                </a:lnTo>
                <a:lnTo>
                  <a:pt x="521" y="79"/>
                </a:lnTo>
                <a:lnTo>
                  <a:pt x="523" y="77"/>
                </a:lnTo>
                <a:lnTo>
                  <a:pt x="524" y="74"/>
                </a:lnTo>
                <a:lnTo>
                  <a:pt x="524" y="73"/>
                </a:lnTo>
                <a:lnTo>
                  <a:pt x="526" y="71"/>
                </a:lnTo>
                <a:lnTo>
                  <a:pt x="530" y="68"/>
                </a:lnTo>
                <a:lnTo>
                  <a:pt x="534" y="64"/>
                </a:lnTo>
                <a:lnTo>
                  <a:pt x="538" y="61"/>
                </a:lnTo>
                <a:lnTo>
                  <a:pt x="540" y="60"/>
                </a:lnTo>
                <a:lnTo>
                  <a:pt x="542" y="60"/>
                </a:lnTo>
                <a:lnTo>
                  <a:pt x="545" y="59"/>
                </a:lnTo>
                <a:lnTo>
                  <a:pt x="561" y="59"/>
                </a:lnTo>
                <a:lnTo>
                  <a:pt x="564" y="59"/>
                </a:lnTo>
                <a:lnTo>
                  <a:pt x="565" y="58"/>
                </a:lnTo>
                <a:lnTo>
                  <a:pt x="568" y="56"/>
                </a:lnTo>
                <a:lnTo>
                  <a:pt x="571" y="55"/>
                </a:lnTo>
                <a:lnTo>
                  <a:pt x="574" y="51"/>
                </a:lnTo>
                <a:lnTo>
                  <a:pt x="571" y="51"/>
                </a:lnTo>
                <a:lnTo>
                  <a:pt x="567" y="51"/>
                </a:lnTo>
                <a:lnTo>
                  <a:pt x="560" y="50"/>
                </a:lnTo>
                <a:lnTo>
                  <a:pt x="557" y="50"/>
                </a:lnTo>
                <a:lnTo>
                  <a:pt x="554" y="50"/>
                </a:lnTo>
                <a:lnTo>
                  <a:pt x="551" y="48"/>
                </a:lnTo>
                <a:lnTo>
                  <a:pt x="550" y="47"/>
                </a:lnTo>
                <a:lnTo>
                  <a:pt x="544" y="47"/>
                </a:lnTo>
                <a:lnTo>
                  <a:pt x="542" y="46"/>
                </a:lnTo>
                <a:lnTo>
                  <a:pt x="539" y="46"/>
                </a:lnTo>
                <a:lnTo>
                  <a:pt x="538" y="45"/>
                </a:lnTo>
                <a:lnTo>
                  <a:pt x="535" y="43"/>
                </a:lnTo>
                <a:lnTo>
                  <a:pt x="534" y="39"/>
                </a:lnTo>
                <a:lnTo>
                  <a:pt x="534" y="35"/>
                </a:lnTo>
                <a:lnTo>
                  <a:pt x="532" y="37"/>
                </a:lnTo>
                <a:lnTo>
                  <a:pt x="530" y="37"/>
                </a:lnTo>
                <a:lnTo>
                  <a:pt x="529" y="37"/>
                </a:lnTo>
                <a:lnTo>
                  <a:pt x="528" y="35"/>
                </a:lnTo>
                <a:lnTo>
                  <a:pt x="526" y="34"/>
                </a:lnTo>
                <a:lnTo>
                  <a:pt x="528" y="33"/>
                </a:lnTo>
                <a:lnTo>
                  <a:pt x="532" y="31"/>
                </a:lnTo>
                <a:lnTo>
                  <a:pt x="521" y="34"/>
                </a:lnTo>
                <a:lnTo>
                  <a:pt x="511" y="38"/>
                </a:lnTo>
                <a:lnTo>
                  <a:pt x="501" y="41"/>
                </a:lnTo>
                <a:lnTo>
                  <a:pt x="495" y="42"/>
                </a:lnTo>
                <a:lnTo>
                  <a:pt x="489" y="42"/>
                </a:lnTo>
                <a:lnTo>
                  <a:pt x="485" y="42"/>
                </a:lnTo>
                <a:lnTo>
                  <a:pt x="483" y="42"/>
                </a:lnTo>
                <a:lnTo>
                  <a:pt x="479" y="41"/>
                </a:lnTo>
                <a:lnTo>
                  <a:pt x="483" y="37"/>
                </a:lnTo>
                <a:lnTo>
                  <a:pt x="485" y="33"/>
                </a:lnTo>
                <a:lnTo>
                  <a:pt x="489" y="31"/>
                </a:lnTo>
                <a:lnTo>
                  <a:pt x="493" y="29"/>
                </a:lnTo>
                <a:lnTo>
                  <a:pt x="501" y="25"/>
                </a:lnTo>
                <a:lnTo>
                  <a:pt x="505" y="23"/>
                </a:lnTo>
                <a:lnTo>
                  <a:pt x="508" y="20"/>
                </a:lnTo>
                <a:lnTo>
                  <a:pt x="504" y="19"/>
                </a:lnTo>
                <a:lnTo>
                  <a:pt x="498" y="19"/>
                </a:lnTo>
                <a:lnTo>
                  <a:pt x="488" y="16"/>
                </a:lnTo>
                <a:lnTo>
                  <a:pt x="488" y="17"/>
                </a:lnTo>
                <a:lnTo>
                  <a:pt x="484" y="14"/>
                </a:lnTo>
                <a:lnTo>
                  <a:pt x="481" y="12"/>
                </a:lnTo>
                <a:lnTo>
                  <a:pt x="478" y="12"/>
                </a:lnTo>
                <a:lnTo>
                  <a:pt x="472" y="12"/>
                </a:lnTo>
                <a:lnTo>
                  <a:pt x="467" y="12"/>
                </a:lnTo>
                <a:lnTo>
                  <a:pt x="465" y="11"/>
                </a:lnTo>
                <a:lnTo>
                  <a:pt x="462" y="9"/>
                </a:lnTo>
                <a:lnTo>
                  <a:pt x="461" y="8"/>
                </a:lnTo>
                <a:lnTo>
                  <a:pt x="459" y="6"/>
                </a:lnTo>
                <a:lnTo>
                  <a:pt x="458" y="3"/>
                </a:lnTo>
                <a:lnTo>
                  <a:pt x="458" y="0"/>
                </a:lnTo>
                <a:lnTo>
                  <a:pt x="102" y="0"/>
                </a:lnTo>
                <a:lnTo>
                  <a:pt x="100" y="2"/>
                </a:lnTo>
                <a:lnTo>
                  <a:pt x="99" y="6"/>
                </a:lnTo>
                <a:lnTo>
                  <a:pt x="97" y="14"/>
                </a:lnTo>
                <a:lnTo>
                  <a:pt x="96" y="16"/>
                </a:lnTo>
                <a:lnTo>
                  <a:pt x="95" y="17"/>
                </a:lnTo>
                <a:lnTo>
                  <a:pt x="95" y="21"/>
                </a:lnTo>
                <a:lnTo>
                  <a:pt x="92" y="22"/>
                </a:lnTo>
                <a:lnTo>
                  <a:pt x="92" y="23"/>
                </a:lnTo>
                <a:lnTo>
                  <a:pt x="91" y="24"/>
                </a:lnTo>
                <a:lnTo>
                  <a:pt x="89" y="24"/>
                </a:lnTo>
                <a:lnTo>
                  <a:pt x="88" y="24"/>
                </a:lnTo>
                <a:lnTo>
                  <a:pt x="88" y="22"/>
                </a:lnTo>
                <a:lnTo>
                  <a:pt x="87" y="20"/>
                </a:lnTo>
                <a:lnTo>
                  <a:pt x="85" y="19"/>
                </a:lnTo>
                <a:lnTo>
                  <a:pt x="84" y="19"/>
                </a:lnTo>
                <a:lnTo>
                  <a:pt x="82" y="17"/>
                </a:lnTo>
                <a:lnTo>
                  <a:pt x="79" y="16"/>
                </a:lnTo>
                <a:lnTo>
                  <a:pt x="75" y="16"/>
                </a:lnTo>
                <a:lnTo>
                  <a:pt x="70" y="26"/>
                </a:lnTo>
                <a:lnTo>
                  <a:pt x="59" y="51"/>
                </a:lnTo>
                <a:lnTo>
                  <a:pt x="52" y="66"/>
                </a:lnTo>
                <a:lnTo>
                  <a:pt x="44" y="80"/>
                </a:lnTo>
                <a:lnTo>
                  <a:pt x="37" y="92"/>
                </a:lnTo>
                <a:lnTo>
                  <a:pt x="33" y="97"/>
                </a:lnTo>
                <a:lnTo>
                  <a:pt x="29" y="100"/>
                </a:lnTo>
                <a:lnTo>
                  <a:pt x="26" y="103"/>
                </a:lnTo>
                <a:lnTo>
                  <a:pt x="25" y="107"/>
                </a:lnTo>
                <a:lnTo>
                  <a:pt x="19" y="117"/>
                </a:lnTo>
                <a:lnTo>
                  <a:pt x="15" y="130"/>
                </a:lnTo>
                <a:lnTo>
                  <a:pt x="13" y="133"/>
                </a:lnTo>
                <a:lnTo>
                  <a:pt x="12" y="140"/>
                </a:lnTo>
                <a:lnTo>
                  <a:pt x="11" y="145"/>
                </a:lnTo>
                <a:lnTo>
                  <a:pt x="8" y="150"/>
                </a:lnTo>
                <a:lnTo>
                  <a:pt x="6" y="155"/>
                </a:lnTo>
                <a:lnTo>
                  <a:pt x="1" y="162"/>
                </a:lnTo>
                <a:lnTo>
                  <a:pt x="2" y="163"/>
                </a:lnTo>
                <a:lnTo>
                  <a:pt x="3" y="166"/>
                </a:lnTo>
                <a:lnTo>
                  <a:pt x="2" y="172"/>
                </a:lnTo>
                <a:lnTo>
                  <a:pt x="2" y="176"/>
                </a:lnTo>
                <a:lnTo>
                  <a:pt x="1" y="177"/>
                </a:lnTo>
                <a:lnTo>
                  <a:pt x="1" y="178"/>
                </a:lnTo>
                <a:lnTo>
                  <a:pt x="0" y="179"/>
                </a:lnTo>
                <a:lnTo>
                  <a:pt x="0" y="180"/>
                </a:lnTo>
                <a:lnTo>
                  <a:pt x="0" y="184"/>
                </a:lnTo>
                <a:lnTo>
                  <a:pt x="0" y="189"/>
                </a:lnTo>
                <a:lnTo>
                  <a:pt x="2" y="196"/>
                </a:lnTo>
                <a:lnTo>
                  <a:pt x="3" y="204"/>
                </a:lnTo>
                <a:lnTo>
                  <a:pt x="6" y="204"/>
                </a:lnTo>
                <a:lnTo>
                  <a:pt x="8" y="203"/>
                </a:lnTo>
                <a:lnTo>
                  <a:pt x="10" y="201"/>
                </a:lnTo>
                <a:lnTo>
                  <a:pt x="15" y="202"/>
                </a:lnTo>
                <a:lnTo>
                  <a:pt x="17" y="203"/>
                </a:lnTo>
                <a:lnTo>
                  <a:pt x="13" y="203"/>
                </a:lnTo>
                <a:lnTo>
                  <a:pt x="11" y="204"/>
                </a:lnTo>
                <a:lnTo>
                  <a:pt x="8" y="204"/>
                </a:lnTo>
                <a:lnTo>
                  <a:pt x="8" y="206"/>
                </a:lnTo>
                <a:lnTo>
                  <a:pt x="7" y="207"/>
                </a:lnTo>
                <a:lnTo>
                  <a:pt x="8" y="209"/>
                </a:lnTo>
                <a:lnTo>
                  <a:pt x="8" y="212"/>
                </a:lnTo>
                <a:lnTo>
                  <a:pt x="6" y="211"/>
                </a:lnTo>
                <a:lnTo>
                  <a:pt x="4" y="210"/>
                </a:lnTo>
                <a:lnTo>
                  <a:pt x="3" y="209"/>
                </a:lnTo>
                <a:lnTo>
                  <a:pt x="3" y="212"/>
                </a:lnTo>
                <a:lnTo>
                  <a:pt x="3" y="216"/>
                </a:lnTo>
                <a:lnTo>
                  <a:pt x="3" y="217"/>
                </a:lnTo>
                <a:lnTo>
                  <a:pt x="3" y="220"/>
                </a:lnTo>
                <a:lnTo>
                  <a:pt x="3" y="221"/>
                </a:lnTo>
                <a:lnTo>
                  <a:pt x="4" y="223"/>
                </a:lnTo>
                <a:lnTo>
                  <a:pt x="6" y="224"/>
                </a:lnTo>
                <a:lnTo>
                  <a:pt x="7" y="224"/>
                </a:lnTo>
                <a:lnTo>
                  <a:pt x="7" y="229"/>
                </a:lnTo>
                <a:lnTo>
                  <a:pt x="6" y="230"/>
                </a:lnTo>
                <a:lnTo>
                  <a:pt x="6" y="233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45" name="Freeform 249">
            <a:extLst>
              <a:ext uri="{FF2B5EF4-FFF2-40B4-BE49-F238E27FC236}">
                <a16:creationId xmlns:a16="http://schemas.microsoft.com/office/drawing/2014/main" id="{959D1B51-CC71-FE4E-2917-E60A836A0ECE}"/>
              </a:ext>
            </a:extLst>
          </p:cNvPr>
          <p:cNvSpPr>
            <a:spLocks/>
          </p:cNvSpPr>
          <p:nvPr/>
        </p:nvSpPr>
        <p:spPr bwMode="auto">
          <a:xfrm>
            <a:off x="2848938" y="2492221"/>
            <a:ext cx="1930400" cy="1058863"/>
          </a:xfrm>
          <a:custGeom>
            <a:avLst/>
            <a:gdLst>
              <a:gd name="T0" fmla="*/ 752 w 956"/>
              <a:gd name="T1" fmla="*/ 197 h 566"/>
              <a:gd name="T2" fmla="*/ 807 w 956"/>
              <a:gd name="T3" fmla="*/ 192 h 566"/>
              <a:gd name="T4" fmla="*/ 840 w 956"/>
              <a:gd name="T5" fmla="*/ 223 h 566"/>
              <a:gd name="T6" fmla="*/ 844 w 956"/>
              <a:gd name="T7" fmla="*/ 262 h 566"/>
              <a:gd name="T8" fmla="*/ 884 w 956"/>
              <a:gd name="T9" fmla="*/ 237 h 566"/>
              <a:gd name="T10" fmla="*/ 905 w 956"/>
              <a:gd name="T11" fmla="*/ 272 h 566"/>
              <a:gd name="T12" fmla="*/ 909 w 956"/>
              <a:gd name="T13" fmla="*/ 308 h 566"/>
              <a:gd name="T14" fmla="*/ 940 w 956"/>
              <a:gd name="T15" fmla="*/ 331 h 566"/>
              <a:gd name="T16" fmla="*/ 950 w 956"/>
              <a:gd name="T17" fmla="*/ 377 h 566"/>
              <a:gd name="T18" fmla="*/ 889 w 956"/>
              <a:gd name="T19" fmla="*/ 409 h 566"/>
              <a:gd name="T20" fmla="*/ 791 w 956"/>
              <a:gd name="T21" fmla="*/ 420 h 566"/>
              <a:gd name="T22" fmla="*/ 805 w 956"/>
              <a:gd name="T23" fmla="*/ 431 h 566"/>
              <a:gd name="T24" fmla="*/ 807 w 956"/>
              <a:gd name="T25" fmla="*/ 456 h 566"/>
              <a:gd name="T26" fmla="*/ 823 w 956"/>
              <a:gd name="T27" fmla="*/ 497 h 566"/>
              <a:gd name="T28" fmla="*/ 862 w 956"/>
              <a:gd name="T29" fmla="*/ 474 h 566"/>
              <a:gd name="T30" fmla="*/ 850 w 956"/>
              <a:gd name="T31" fmla="*/ 504 h 566"/>
              <a:gd name="T32" fmla="*/ 790 w 956"/>
              <a:gd name="T33" fmla="*/ 535 h 566"/>
              <a:gd name="T34" fmla="*/ 787 w 956"/>
              <a:gd name="T35" fmla="*/ 515 h 566"/>
              <a:gd name="T36" fmla="*/ 742 w 956"/>
              <a:gd name="T37" fmla="*/ 469 h 566"/>
              <a:gd name="T38" fmla="*/ 692 w 956"/>
              <a:gd name="T39" fmla="*/ 511 h 566"/>
              <a:gd name="T40" fmla="*/ 606 w 956"/>
              <a:gd name="T41" fmla="*/ 531 h 566"/>
              <a:gd name="T42" fmla="*/ 577 w 956"/>
              <a:gd name="T43" fmla="*/ 551 h 566"/>
              <a:gd name="T44" fmla="*/ 555 w 956"/>
              <a:gd name="T45" fmla="*/ 551 h 566"/>
              <a:gd name="T46" fmla="*/ 591 w 956"/>
              <a:gd name="T47" fmla="*/ 519 h 566"/>
              <a:gd name="T48" fmla="*/ 561 w 956"/>
              <a:gd name="T49" fmla="*/ 484 h 566"/>
              <a:gd name="T50" fmla="*/ 551 w 956"/>
              <a:gd name="T51" fmla="*/ 453 h 566"/>
              <a:gd name="T52" fmla="*/ 500 w 956"/>
              <a:gd name="T53" fmla="*/ 449 h 566"/>
              <a:gd name="T54" fmla="*/ 436 w 956"/>
              <a:gd name="T55" fmla="*/ 439 h 566"/>
              <a:gd name="T56" fmla="*/ 51 w 956"/>
              <a:gd name="T57" fmla="*/ 402 h 566"/>
              <a:gd name="T58" fmla="*/ 45 w 956"/>
              <a:gd name="T59" fmla="*/ 364 h 566"/>
              <a:gd name="T60" fmla="*/ 42 w 956"/>
              <a:gd name="T61" fmla="*/ 330 h 566"/>
              <a:gd name="T62" fmla="*/ 22 w 956"/>
              <a:gd name="T63" fmla="*/ 285 h 566"/>
              <a:gd name="T64" fmla="*/ 21 w 956"/>
              <a:gd name="T65" fmla="*/ 242 h 566"/>
              <a:gd name="T66" fmla="*/ 169 w 956"/>
              <a:gd name="T67" fmla="*/ 72 h 566"/>
              <a:gd name="T68" fmla="*/ 234 w 956"/>
              <a:gd name="T69" fmla="*/ 73 h 566"/>
              <a:gd name="T70" fmla="*/ 318 w 956"/>
              <a:gd name="T71" fmla="*/ 64 h 566"/>
              <a:gd name="T72" fmla="*/ 344 w 956"/>
              <a:gd name="T73" fmla="*/ 72 h 566"/>
              <a:gd name="T74" fmla="*/ 412 w 956"/>
              <a:gd name="T75" fmla="*/ 84 h 566"/>
              <a:gd name="T76" fmla="*/ 416 w 956"/>
              <a:gd name="T77" fmla="*/ 104 h 566"/>
              <a:gd name="T78" fmla="*/ 479 w 956"/>
              <a:gd name="T79" fmla="*/ 108 h 566"/>
              <a:gd name="T80" fmla="*/ 524 w 956"/>
              <a:gd name="T81" fmla="*/ 86 h 566"/>
              <a:gd name="T82" fmla="*/ 590 w 956"/>
              <a:gd name="T83" fmla="*/ 94 h 566"/>
              <a:gd name="T84" fmla="*/ 612 w 956"/>
              <a:gd name="T85" fmla="*/ 110 h 566"/>
              <a:gd name="T86" fmla="*/ 638 w 956"/>
              <a:gd name="T87" fmla="*/ 67 h 566"/>
              <a:gd name="T88" fmla="*/ 680 w 956"/>
              <a:gd name="T89" fmla="*/ 14 h 566"/>
              <a:gd name="T90" fmla="*/ 741 w 956"/>
              <a:gd name="T91" fmla="*/ 8 h 566"/>
              <a:gd name="T92" fmla="*/ 683 w 956"/>
              <a:gd name="T93" fmla="*/ 53 h 566"/>
              <a:gd name="T94" fmla="*/ 692 w 956"/>
              <a:gd name="T95" fmla="*/ 83 h 566"/>
              <a:gd name="T96" fmla="*/ 696 w 956"/>
              <a:gd name="T97" fmla="*/ 99 h 566"/>
              <a:gd name="T98" fmla="*/ 730 w 956"/>
              <a:gd name="T99" fmla="*/ 88 h 566"/>
              <a:gd name="T100" fmla="*/ 779 w 956"/>
              <a:gd name="T101" fmla="*/ 76 h 566"/>
              <a:gd name="T102" fmla="*/ 765 w 956"/>
              <a:gd name="T103" fmla="*/ 101 h 566"/>
              <a:gd name="T104" fmla="*/ 720 w 956"/>
              <a:gd name="T105" fmla="*/ 130 h 566"/>
              <a:gd name="T106" fmla="*/ 643 w 956"/>
              <a:gd name="T107" fmla="*/ 170 h 566"/>
              <a:gd name="T108" fmla="*/ 579 w 956"/>
              <a:gd name="T109" fmla="*/ 200 h 566"/>
              <a:gd name="T110" fmla="*/ 547 w 956"/>
              <a:gd name="T111" fmla="*/ 265 h 566"/>
              <a:gd name="T112" fmla="*/ 573 w 956"/>
              <a:gd name="T113" fmla="*/ 287 h 566"/>
              <a:gd name="T114" fmla="*/ 620 w 956"/>
              <a:gd name="T115" fmla="*/ 321 h 566"/>
              <a:gd name="T116" fmla="*/ 632 w 956"/>
              <a:gd name="T117" fmla="*/ 376 h 566"/>
              <a:gd name="T118" fmla="*/ 668 w 956"/>
              <a:gd name="T119" fmla="*/ 357 h 566"/>
              <a:gd name="T120" fmla="*/ 725 w 956"/>
              <a:gd name="T121" fmla="*/ 296 h 566"/>
              <a:gd name="T122" fmla="*/ 717 w 956"/>
              <a:gd name="T123" fmla="*/ 256 h 5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956" h="566">
                <a:moveTo>
                  <a:pt x="729" y="246"/>
                </a:moveTo>
                <a:lnTo>
                  <a:pt x="729" y="246"/>
                </a:lnTo>
                <a:lnTo>
                  <a:pt x="731" y="245"/>
                </a:lnTo>
                <a:lnTo>
                  <a:pt x="734" y="243"/>
                </a:lnTo>
                <a:lnTo>
                  <a:pt x="737" y="240"/>
                </a:lnTo>
                <a:lnTo>
                  <a:pt x="739" y="236"/>
                </a:lnTo>
                <a:lnTo>
                  <a:pt x="741" y="233"/>
                </a:lnTo>
                <a:lnTo>
                  <a:pt x="743" y="229"/>
                </a:lnTo>
                <a:lnTo>
                  <a:pt x="745" y="225"/>
                </a:lnTo>
                <a:lnTo>
                  <a:pt x="745" y="220"/>
                </a:lnTo>
                <a:lnTo>
                  <a:pt x="746" y="211"/>
                </a:lnTo>
                <a:lnTo>
                  <a:pt x="747" y="206"/>
                </a:lnTo>
                <a:lnTo>
                  <a:pt x="748" y="204"/>
                </a:lnTo>
                <a:lnTo>
                  <a:pt x="748" y="202"/>
                </a:lnTo>
                <a:lnTo>
                  <a:pt x="751" y="197"/>
                </a:lnTo>
                <a:lnTo>
                  <a:pt x="752" y="197"/>
                </a:lnTo>
                <a:lnTo>
                  <a:pt x="755" y="195"/>
                </a:lnTo>
                <a:lnTo>
                  <a:pt x="757" y="193"/>
                </a:lnTo>
                <a:lnTo>
                  <a:pt x="760" y="193"/>
                </a:lnTo>
                <a:lnTo>
                  <a:pt x="763" y="192"/>
                </a:lnTo>
                <a:lnTo>
                  <a:pt x="765" y="192"/>
                </a:lnTo>
                <a:lnTo>
                  <a:pt x="769" y="192"/>
                </a:lnTo>
                <a:lnTo>
                  <a:pt x="774" y="193"/>
                </a:lnTo>
                <a:lnTo>
                  <a:pt x="777" y="193"/>
                </a:lnTo>
                <a:lnTo>
                  <a:pt x="781" y="195"/>
                </a:lnTo>
                <a:lnTo>
                  <a:pt x="794" y="195"/>
                </a:lnTo>
                <a:lnTo>
                  <a:pt x="796" y="195"/>
                </a:lnTo>
                <a:lnTo>
                  <a:pt x="797" y="193"/>
                </a:lnTo>
                <a:lnTo>
                  <a:pt x="800" y="191"/>
                </a:lnTo>
                <a:lnTo>
                  <a:pt x="803" y="191"/>
                </a:lnTo>
                <a:lnTo>
                  <a:pt x="804" y="191"/>
                </a:lnTo>
                <a:lnTo>
                  <a:pt x="807" y="192"/>
                </a:lnTo>
                <a:lnTo>
                  <a:pt x="810" y="193"/>
                </a:lnTo>
                <a:lnTo>
                  <a:pt x="813" y="196"/>
                </a:lnTo>
                <a:lnTo>
                  <a:pt x="814" y="198"/>
                </a:lnTo>
                <a:lnTo>
                  <a:pt x="815" y="200"/>
                </a:lnTo>
                <a:lnTo>
                  <a:pt x="817" y="203"/>
                </a:lnTo>
                <a:lnTo>
                  <a:pt x="817" y="210"/>
                </a:lnTo>
                <a:lnTo>
                  <a:pt x="818" y="210"/>
                </a:lnTo>
                <a:lnTo>
                  <a:pt x="819" y="211"/>
                </a:lnTo>
                <a:lnTo>
                  <a:pt x="820" y="212"/>
                </a:lnTo>
                <a:lnTo>
                  <a:pt x="822" y="212"/>
                </a:lnTo>
                <a:lnTo>
                  <a:pt x="827" y="213"/>
                </a:lnTo>
                <a:lnTo>
                  <a:pt x="830" y="214"/>
                </a:lnTo>
                <a:lnTo>
                  <a:pt x="833" y="216"/>
                </a:lnTo>
                <a:lnTo>
                  <a:pt x="836" y="218"/>
                </a:lnTo>
                <a:lnTo>
                  <a:pt x="839" y="220"/>
                </a:lnTo>
                <a:lnTo>
                  <a:pt x="840" y="223"/>
                </a:lnTo>
                <a:lnTo>
                  <a:pt x="841" y="224"/>
                </a:lnTo>
                <a:lnTo>
                  <a:pt x="841" y="226"/>
                </a:lnTo>
                <a:lnTo>
                  <a:pt x="841" y="229"/>
                </a:lnTo>
                <a:lnTo>
                  <a:pt x="840" y="233"/>
                </a:lnTo>
                <a:lnTo>
                  <a:pt x="836" y="239"/>
                </a:lnTo>
                <a:lnTo>
                  <a:pt x="833" y="246"/>
                </a:lnTo>
                <a:lnTo>
                  <a:pt x="832" y="249"/>
                </a:lnTo>
                <a:lnTo>
                  <a:pt x="831" y="254"/>
                </a:lnTo>
                <a:lnTo>
                  <a:pt x="832" y="256"/>
                </a:lnTo>
                <a:lnTo>
                  <a:pt x="832" y="258"/>
                </a:lnTo>
                <a:lnTo>
                  <a:pt x="833" y="258"/>
                </a:lnTo>
                <a:lnTo>
                  <a:pt x="835" y="259"/>
                </a:lnTo>
                <a:lnTo>
                  <a:pt x="836" y="259"/>
                </a:lnTo>
                <a:lnTo>
                  <a:pt x="841" y="260"/>
                </a:lnTo>
                <a:lnTo>
                  <a:pt x="843" y="261"/>
                </a:lnTo>
                <a:lnTo>
                  <a:pt x="844" y="262"/>
                </a:lnTo>
                <a:lnTo>
                  <a:pt x="845" y="266"/>
                </a:lnTo>
                <a:lnTo>
                  <a:pt x="846" y="269"/>
                </a:lnTo>
                <a:lnTo>
                  <a:pt x="848" y="269"/>
                </a:lnTo>
                <a:lnTo>
                  <a:pt x="849" y="269"/>
                </a:lnTo>
                <a:lnTo>
                  <a:pt x="853" y="268"/>
                </a:lnTo>
                <a:lnTo>
                  <a:pt x="854" y="266"/>
                </a:lnTo>
                <a:lnTo>
                  <a:pt x="856" y="264"/>
                </a:lnTo>
                <a:lnTo>
                  <a:pt x="863" y="256"/>
                </a:lnTo>
                <a:lnTo>
                  <a:pt x="863" y="255"/>
                </a:lnTo>
                <a:lnTo>
                  <a:pt x="864" y="254"/>
                </a:lnTo>
                <a:lnTo>
                  <a:pt x="867" y="253"/>
                </a:lnTo>
                <a:lnTo>
                  <a:pt x="870" y="253"/>
                </a:lnTo>
                <a:lnTo>
                  <a:pt x="872" y="252"/>
                </a:lnTo>
                <a:lnTo>
                  <a:pt x="876" y="249"/>
                </a:lnTo>
                <a:lnTo>
                  <a:pt x="879" y="246"/>
                </a:lnTo>
                <a:lnTo>
                  <a:pt x="884" y="237"/>
                </a:lnTo>
                <a:lnTo>
                  <a:pt x="886" y="233"/>
                </a:lnTo>
                <a:lnTo>
                  <a:pt x="889" y="229"/>
                </a:lnTo>
                <a:lnTo>
                  <a:pt x="890" y="228"/>
                </a:lnTo>
                <a:lnTo>
                  <a:pt x="892" y="227"/>
                </a:lnTo>
                <a:lnTo>
                  <a:pt x="894" y="226"/>
                </a:lnTo>
                <a:lnTo>
                  <a:pt x="897" y="226"/>
                </a:lnTo>
                <a:lnTo>
                  <a:pt x="897" y="229"/>
                </a:lnTo>
                <a:lnTo>
                  <a:pt x="898" y="234"/>
                </a:lnTo>
                <a:lnTo>
                  <a:pt x="899" y="242"/>
                </a:lnTo>
                <a:lnTo>
                  <a:pt x="902" y="248"/>
                </a:lnTo>
                <a:lnTo>
                  <a:pt x="904" y="256"/>
                </a:lnTo>
                <a:lnTo>
                  <a:pt x="904" y="259"/>
                </a:lnTo>
                <a:lnTo>
                  <a:pt x="905" y="260"/>
                </a:lnTo>
                <a:lnTo>
                  <a:pt x="904" y="264"/>
                </a:lnTo>
                <a:lnTo>
                  <a:pt x="904" y="268"/>
                </a:lnTo>
                <a:lnTo>
                  <a:pt x="905" y="272"/>
                </a:lnTo>
                <a:lnTo>
                  <a:pt x="906" y="273"/>
                </a:lnTo>
                <a:lnTo>
                  <a:pt x="907" y="275"/>
                </a:lnTo>
                <a:lnTo>
                  <a:pt x="908" y="278"/>
                </a:lnTo>
                <a:lnTo>
                  <a:pt x="909" y="281"/>
                </a:lnTo>
                <a:lnTo>
                  <a:pt x="910" y="283"/>
                </a:lnTo>
                <a:lnTo>
                  <a:pt x="910" y="287"/>
                </a:lnTo>
                <a:lnTo>
                  <a:pt x="909" y="291"/>
                </a:lnTo>
                <a:lnTo>
                  <a:pt x="907" y="294"/>
                </a:lnTo>
                <a:lnTo>
                  <a:pt x="905" y="296"/>
                </a:lnTo>
                <a:lnTo>
                  <a:pt x="903" y="298"/>
                </a:lnTo>
                <a:lnTo>
                  <a:pt x="902" y="299"/>
                </a:lnTo>
                <a:lnTo>
                  <a:pt x="902" y="301"/>
                </a:lnTo>
                <a:lnTo>
                  <a:pt x="902" y="303"/>
                </a:lnTo>
                <a:lnTo>
                  <a:pt x="904" y="305"/>
                </a:lnTo>
                <a:lnTo>
                  <a:pt x="907" y="307"/>
                </a:lnTo>
                <a:lnTo>
                  <a:pt x="909" y="308"/>
                </a:lnTo>
                <a:lnTo>
                  <a:pt x="911" y="308"/>
                </a:lnTo>
                <a:lnTo>
                  <a:pt x="912" y="310"/>
                </a:lnTo>
                <a:lnTo>
                  <a:pt x="912" y="312"/>
                </a:lnTo>
                <a:lnTo>
                  <a:pt x="912" y="315"/>
                </a:lnTo>
                <a:lnTo>
                  <a:pt x="912" y="318"/>
                </a:lnTo>
                <a:lnTo>
                  <a:pt x="915" y="321"/>
                </a:lnTo>
                <a:lnTo>
                  <a:pt x="917" y="321"/>
                </a:lnTo>
                <a:lnTo>
                  <a:pt x="920" y="322"/>
                </a:lnTo>
                <a:lnTo>
                  <a:pt x="923" y="322"/>
                </a:lnTo>
                <a:lnTo>
                  <a:pt x="928" y="325"/>
                </a:lnTo>
                <a:lnTo>
                  <a:pt x="933" y="327"/>
                </a:lnTo>
                <a:lnTo>
                  <a:pt x="935" y="327"/>
                </a:lnTo>
                <a:lnTo>
                  <a:pt x="937" y="328"/>
                </a:lnTo>
                <a:lnTo>
                  <a:pt x="938" y="328"/>
                </a:lnTo>
                <a:lnTo>
                  <a:pt x="938" y="330"/>
                </a:lnTo>
                <a:lnTo>
                  <a:pt x="940" y="331"/>
                </a:lnTo>
                <a:lnTo>
                  <a:pt x="940" y="335"/>
                </a:lnTo>
                <a:lnTo>
                  <a:pt x="940" y="336"/>
                </a:lnTo>
                <a:lnTo>
                  <a:pt x="939" y="339"/>
                </a:lnTo>
                <a:lnTo>
                  <a:pt x="938" y="341"/>
                </a:lnTo>
                <a:lnTo>
                  <a:pt x="938" y="343"/>
                </a:lnTo>
                <a:lnTo>
                  <a:pt x="938" y="344"/>
                </a:lnTo>
                <a:lnTo>
                  <a:pt x="939" y="345"/>
                </a:lnTo>
                <a:lnTo>
                  <a:pt x="941" y="346"/>
                </a:lnTo>
                <a:lnTo>
                  <a:pt x="942" y="346"/>
                </a:lnTo>
                <a:lnTo>
                  <a:pt x="942" y="353"/>
                </a:lnTo>
                <a:lnTo>
                  <a:pt x="955" y="353"/>
                </a:lnTo>
                <a:lnTo>
                  <a:pt x="955" y="357"/>
                </a:lnTo>
                <a:lnTo>
                  <a:pt x="953" y="362"/>
                </a:lnTo>
                <a:lnTo>
                  <a:pt x="951" y="367"/>
                </a:lnTo>
                <a:lnTo>
                  <a:pt x="951" y="373"/>
                </a:lnTo>
                <a:lnTo>
                  <a:pt x="950" y="377"/>
                </a:lnTo>
                <a:lnTo>
                  <a:pt x="948" y="380"/>
                </a:lnTo>
                <a:lnTo>
                  <a:pt x="947" y="382"/>
                </a:lnTo>
                <a:lnTo>
                  <a:pt x="945" y="384"/>
                </a:lnTo>
                <a:lnTo>
                  <a:pt x="942" y="385"/>
                </a:lnTo>
                <a:lnTo>
                  <a:pt x="937" y="387"/>
                </a:lnTo>
                <a:lnTo>
                  <a:pt x="935" y="387"/>
                </a:lnTo>
                <a:lnTo>
                  <a:pt x="933" y="387"/>
                </a:lnTo>
                <a:lnTo>
                  <a:pt x="926" y="387"/>
                </a:lnTo>
                <a:lnTo>
                  <a:pt x="922" y="388"/>
                </a:lnTo>
                <a:lnTo>
                  <a:pt x="918" y="389"/>
                </a:lnTo>
                <a:lnTo>
                  <a:pt x="915" y="390"/>
                </a:lnTo>
                <a:lnTo>
                  <a:pt x="911" y="392"/>
                </a:lnTo>
                <a:lnTo>
                  <a:pt x="904" y="397"/>
                </a:lnTo>
                <a:lnTo>
                  <a:pt x="899" y="402"/>
                </a:lnTo>
                <a:lnTo>
                  <a:pt x="892" y="407"/>
                </a:lnTo>
                <a:lnTo>
                  <a:pt x="889" y="409"/>
                </a:lnTo>
                <a:lnTo>
                  <a:pt x="885" y="411"/>
                </a:lnTo>
                <a:lnTo>
                  <a:pt x="881" y="413"/>
                </a:lnTo>
                <a:lnTo>
                  <a:pt x="877" y="413"/>
                </a:lnTo>
                <a:lnTo>
                  <a:pt x="872" y="415"/>
                </a:lnTo>
                <a:lnTo>
                  <a:pt x="867" y="416"/>
                </a:lnTo>
                <a:lnTo>
                  <a:pt x="844" y="408"/>
                </a:lnTo>
                <a:lnTo>
                  <a:pt x="830" y="407"/>
                </a:lnTo>
                <a:lnTo>
                  <a:pt x="820" y="407"/>
                </a:lnTo>
                <a:lnTo>
                  <a:pt x="817" y="407"/>
                </a:lnTo>
                <a:lnTo>
                  <a:pt x="813" y="407"/>
                </a:lnTo>
                <a:lnTo>
                  <a:pt x="810" y="408"/>
                </a:lnTo>
                <a:lnTo>
                  <a:pt x="808" y="408"/>
                </a:lnTo>
                <a:lnTo>
                  <a:pt x="804" y="410"/>
                </a:lnTo>
                <a:lnTo>
                  <a:pt x="800" y="413"/>
                </a:lnTo>
                <a:lnTo>
                  <a:pt x="797" y="416"/>
                </a:lnTo>
                <a:lnTo>
                  <a:pt x="791" y="420"/>
                </a:lnTo>
                <a:lnTo>
                  <a:pt x="784" y="424"/>
                </a:lnTo>
                <a:lnTo>
                  <a:pt x="781" y="426"/>
                </a:lnTo>
                <a:lnTo>
                  <a:pt x="778" y="429"/>
                </a:lnTo>
                <a:lnTo>
                  <a:pt x="774" y="433"/>
                </a:lnTo>
                <a:lnTo>
                  <a:pt x="770" y="438"/>
                </a:lnTo>
                <a:lnTo>
                  <a:pt x="761" y="448"/>
                </a:lnTo>
                <a:lnTo>
                  <a:pt x="756" y="453"/>
                </a:lnTo>
                <a:lnTo>
                  <a:pt x="750" y="458"/>
                </a:lnTo>
                <a:lnTo>
                  <a:pt x="754" y="455"/>
                </a:lnTo>
                <a:lnTo>
                  <a:pt x="760" y="450"/>
                </a:lnTo>
                <a:lnTo>
                  <a:pt x="767" y="446"/>
                </a:lnTo>
                <a:lnTo>
                  <a:pt x="774" y="440"/>
                </a:lnTo>
                <a:lnTo>
                  <a:pt x="783" y="437"/>
                </a:lnTo>
                <a:lnTo>
                  <a:pt x="791" y="434"/>
                </a:lnTo>
                <a:lnTo>
                  <a:pt x="799" y="433"/>
                </a:lnTo>
                <a:lnTo>
                  <a:pt x="805" y="431"/>
                </a:lnTo>
                <a:lnTo>
                  <a:pt x="809" y="431"/>
                </a:lnTo>
                <a:lnTo>
                  <a:pt x="812" y="431"/>
                </a:lnTo>
                <a:lnTo>
                  <a:pt x="814" y="433"/>
                </a:lnTo>
                <a:lnTo>
                  <a:pt x="818" y="433"/>
                </a:lnTo>
                <a:lnTo>
                  <a:pt x="820" y="434"/>
                </a:lnTo>
                <a:lnTo>
                  <a:pt x="823" y="436"/>
                </a:lnTo>
                <a:lnTo>
                  <a:pt x="823" y="439"/>
                </a:lnTo>
                <a:lnTo>
                  <a:pt x="824" y="442"/>
                </a:lnTo>
                <a:lnTo>
                  <a:pt x="823" y="443"/>
                </a:lnTo>
                <a:lnTo>
                  <a:pt x="823" y="446"/>
                </a:lnTo>
                <a:lnTo>
                  <a:pt x="822" y="448"/>
                </a:lnTo>
                <a:lnTo>
                  <a:pt x="819" y="450"/>
                </a:lnTo>
                <a:lnTo>
                  <a:pt x="817" y="452"/>
                </a:lnTo>
                <a:lnTo>
                  <a:pt x="813" y="453"/>
                </a:lnTo>
                <a:lnTo>
                  <a:pt x="810" y="455"/>
                </a:lnTo>
                <a:lnTo>
                  <a:pt x="807" y="456"/>
                </a:lnTo>
                <a:lnTo>
                  <a:pt x="804" y="460"/>
                </a:lnTo>
                <a:lnTo>
                  <a:pt x="817" y="460"/>
                </a:lnTo>
                <a:lnTo>
                  <a:pt x="815" y="462"/>
                </a:lnTo>
                <a:lnTo>
                  <a:pt x="813" y="464"/>
                </a:lnTo>
                <a:lnTo>
                  <a:pt x="810" y="469"/>
                </a:lnTo>
                <a:lnTo>
                  <a:pt x="809" y="471"/>
                </a:lnTo>
                <a:lnTo>
                  <a:pt x="807" y="473"/>
                </a:lnTo>
                <a:lnTo>
                  <a:pt x="806" y="477"/>
                </a:lnTo>
                <a:lnTo>
                  <a:pt x="806" y="479"/>
                </a:lnTo>
                <a:lnTo>
                  <a:pt x="806" y="482"/>
                </a:lnTo>
                <a:lnTo>
                  <a:pt x="807" y="484"/>
                </a:lnTo>
                <a:lnTo>
                  <a:pt x="808" y="488"/>
                </a:lnTo>
                <a:lnTo>
                  <a:pt x="810" y="491"/>
                </a:lnTo>
                <a:lnTo>
                  <a:pt x="814" y="493"/>
                </a:lnTo>
                <a:lnTo>
                  <a:pt x="818" y="496"/>
                </a:lnTo>
                <a:lnTo>
                  <a:pt x="823" y="497"/>
                </a:lnTo>
                <a:lnTo>
                  <a:pt x="827" y="498"/>
                </a:lnTo>
                <a:lnTo>
                  <a:pt x="831" y="498"/>
                </a:lnTo>
                <a:lnTo>
                  <a:pt x="835" y="498"/>
                </a:lnTo>
                <a:lnTo>
                  <a:pt x="839" y="497"/>
                </a:lnTo>
                <a:lnTo>
                  <a:pt x="841" y="496"/>
                </a:lnTo>
                <a:lnTo>
                  <a:pt x="844" y="493"/>
                </a:lnTo>
                <a:lnTo>
                  <a:pt x="846" y="492"/>
                </a:lnTo>
                <a:lnTo>
                  <a:pt x="849" y="489"/>
                </a:lnTo>
                <a:lnTo>
                  <a:pt x="852" y="486"/>
                </a:lnTo>
                <a:lnTo>
                  <a:pt x="853" y="483"/>
                </a:lnTo>
                <a:lnTo>
                  <a:pt x="854" y="480"/>
                </a:lnTo>
                <a:lnTo>
                  <a:pt x="857" y="478"/>
                </a:lnTo>
                <a:lnTo>
                  <a:pt x="858" y="476"/>
                </a:lnTo>
                <a:lnTo>
                  <a:pt x="859" y="475"/>
                </a:lnTo>
                <a:lnTo>
                  <a:pt x="861" y="474"/>
                </a:lnTo>
                <a:lnTo>
                  <a:pt x="862" y="474"/>
                </a:lnTo>
                <a:lnTo>
                  <a:pt x="866" y="474"/>
                </a:lnTo>
                <a:lnTo>
                  <a:pt x="866" y="477"/>
                </a:lnTo>
                <a:lnTo>
                  <a:pt x="864" y="479"/>
                </a:lnTo>
                <a:lnTo>
                  <a:pt x="863" y="480"/>
                </a:lnTo>
                <a:lnTo>
                  <a:pt x="862" y="483"/>
                </a:lnTo>
                <a:lnTo>
                  <a:pt x="864" y="484"/>
                </a:lnTo>
                <a:lnTo>
                  <a:pt x="866" y="486"/>
                </a:lnTo>
                <a:lnTo>
                  <a:pt x="866" y="487"/>
                </a:lnTo>
                <a:lnTo>
                  <a:pt x="866" y="488"/>
                </a:lnTo>
                <a:lnTo>
                  <a:pt x="866" y="489"/>
                </a:lnTo>
                <a:lnTo>
                  <a:pt x="866" y="492"/>
                </a:lnTo>
                <a:lnTo>
                  <a:pt x="863" y="493"/>
                </a:lnTo>
                <a:lnTo>
                  <a:pt x="862" y="496"/>
                </a:lnTo>
                <a:lnTo>
                  <a:pt x="858" y="497"/>
                </a:lnTo>
                <a:lnTo>
                  <a:pt x="854" y="501"/>
                </a:lnTo>
                <a:lnTo>
                  <a:pt x="850" y="504"/>
                </a:lnTo>
                <a:lnTo>
                  <a:pt x="848" y="507"/>
                </a:lnTo>
                <a:lnTo>
                  <a:pt x="844" y="509"/>
                </a:lnTo>
                <a:lnTo>
                  <a:pt x="840" y="511"/>
                </a:lnTo>
                <a:lnTo>
                  <a:pt x="831" y="515"/>
                </a:lnTo>
                <a:lnTo>
                  <a:pt x="821" y="518"/>
                </a:lnTo>
                <a:lnTo>
                  <a:pt x="818" y="519"/>
                </a:lnTo>
                <a:lnTo>
                  <a:pt x="815" y="519"/>
                </a:lnTo>
                <a:lnTo>
                  <a:pt x="810" y="519"/>
                </a:lnTo>
                <a:lnTo>
                  <a:pt x="808" y="519"/>
                </a:lnTo>
                <a:lnTo>
                  <a:pt x="805" y="519"/>
                </a:lnTo>
                <a:lnTo>
                  <a:pt x="803" y="519"/>
                </a:lnTo>
                <a:lnTo>
                  <a:pt x="800" y="521"/>
                </a:lnTo>
                <a:lnTo>
                  <a:pt x="797" y="524"/>
                </a:lnTo>
                <a:lnTo>
                  <a:pt x="795" y="527"/>
                </a:lnTo>
                <a:lnTo>
                  <a:pt x="791" y="532"/>
                </a:lnTo>
                <a:lnTo>
                  <a:pt x="790" y="535"/>
                </a:lnTo>
                <a:lnTo>
                  <a:pt x="787" y="537"/>
                </a:lnTo>
                <a:lnTo>
                  <a:pt x="785" y="538"/>
                </a:lnTo>
                <a:lnTo>
                  <a:pt x="783" y="538"/>
                </a:lnTo>
                <a:lnTo>
                  <a:pt x="779" y="538"/>
                </a:lnTo>
                <a:lnTo>
                  <a:pt x="777" y="538"/>
                </a:lnTo>
                <a:lnTo>
                  <a:pt x="774" y="538"/>
                </a:lnTo>
                <a:lnTo>
                  <a:pt x="773" y="537"/>
                </a:lnTo>
                <a:lnTo>
                  <a:pt x="773" y="535"/>
                </a:lnTo>
                <a:lnTo>
                  <a:pt x="772" y="532"/>
                </a:lnTo>
                <a:lnTo>
                  <a:pt x="772" y="528"/>
                </a:lnTo>
                <a:lnTo>
                  <a:pt x="773" y="527"/>
                </a:lnTo>
                <a:lnTo>
                  <a:pt x="774" y="524"/>
                </a:lnTo>
                <a:lnTo>
                  <a:pt x="775" y="522"/>
                </a:lnTo>
                <a:lnTo>
                  <a:pt x="779" y="519"/>
                </a:lnTo>
                <a:lnTo>
                  <a:pt x="783" y="518"/>
                </a:lnTo>
                <a:lnTo>
                  <a:pt x="787" y="515"/>
                </a:lnTo>
                <a:lnTo>
                  <a:pt x="792" y="512"/>
                </a:lnTo>
                <a:lnTo>
                  <a:pt x="795" y="509"/>
                </a:lnTo>
                <a:lnTo>
                  <a:pt x="796" y="507"/>
                </a:lnTo>
                <a:lnTo>
                  <a:pt x="797" y="505"/>
                </a:lnTo>
                <a:lnTo>
                  <a:pt x="764" y="511"/>
                </a:lnTo>
                <a:lnTo>
                  <a:pt x="761" y="502"/>
                </a:lnTo>
                <a:lnTo>
                  <a:pt x="760" y="496"/>
                </a:lnTo>
                <a:lnTo>
                  <a:pt x="759" y="492"/>
                </a:lnTo>
                <a:lnTo>
                  <a:pt x="759" y="489"/>
                </a:lnTo>
                <a:lnTo>
                  <a:pt x="760" y="487"/>
                </a:lnTo>
                <a:lnTo>
                  <a:pt x="761" y="482"/>
                </a:lnTo>
                <a:lnTo>
                  <a:pt x="764" y="479"/>
                </a:lnTo>
                <a:lnTo>
                  <a:pt x="765" y="474"/>
                </a:lnTo>
                <a:lnTo>
                  <a:pt x="748" y="467"/>
                </a:lnTo>
                <a:lnTo>
                  <a:pt x="746" y="469"/>
                </a:lnTo>
                <a:lnTo>
                  <a:pt x="742" y="469"/>
                </a:lnTo>
                <a:lnTo>
                  <a:pt x="741" y="470"/>
                </a:lnTo>
                <a:lnTo>
                  <a:pt x="741" y="472"/>
                </a:lnTo>
                <a:lnTo>
                  <a:pt x="738" y="474"/>
                </a:lnTo>
                <a:lnTo>
                  <a:pt x="733" y="482"/>
                </a:lnTo>
                <a:lnTo>
                  <a:pt x="729" y="489"/>
                </a:lnTo>
                <a:lnTo>
                  <a:pt x="725" y="496"/>
                </a:lnTo>
                <a:lnTo>
                  <a:pt x="721" y="500"/>
                </a:lnTo>
                <a:lnTo>
                  <a:pt x="719" y="504"/>
                </a:lnTo>
                <a:lnTo>
                  <a:pt x="716" y="506"/>
                </a:lnTo>
                <a:lnTo>
                  <a:pt x="714" y="509"/>
                </a:lnTo>
                <a:lnTo>
                  <a:pt x="710" y="509"/>
                </a:lnTo>
                <a:lnTo>
                  <a:pt x="706" y="510"/>
                </a:lnTo>
                <a:lnTo>
                  <a:pt x="704" y="510"/>
                </a:lnTo>
                <a:lnTo>
                  <a:pt x="702" y="511"/>
                </a:lnTo>
                <a:lnTo>
                  <a:pt x="699" y="512"/>
                </a:lnTo>
                <a:lnTo>
                  <a:pt x="692" y="511"/>
                </a:lnTo>
                <a:lnTo>
                  <a:pt x="671" y="512"/>
                </a:lnTo>
                <a:lnTo>
                  <a:pt x="667" y="513"/>
                </a:lnTo>
                <a:lnTo>
                  <a:pt x="663" y="515"/>
                </a:lnTo>
                <a:lnTo>
                  <a:pt x="657" y="519"/>
                </a:lnTo>
                <a:lnTo>
                  <a:pt x="654" y="520"/>
                </a:lnTo>
                <a:lnTo>
                  <a:pt x="653" y="522"/>
                </a:lnTo>
                <a:lnTo>
                  <a:pt x="648" y="525"/>
                </a:lnTo>
                <a:lnTo>
                  <a:pt x="643" y="525"/>
                </a:lnTo>
                <a:lnTo>
                  <a:pt x="639" y="527"/>
                </a:lnTo>
                <a:lnTo>
                  <a:pt x="634" y="527"/>
                </a:lnTo>
                <a:lnTo>
                  <a:pt x="630" y="527"/>
                </a:lnTo>
                <a:lnTo>
                  <a:pt x="625" y="525"/>
                </a:lnTo>
                <a:lnTo>
                  <a:pt x="616" y="527"/>
                </a:lnTo>
                <a:lnTo>
                  <a:pt x="612" y="528"/>
                </a:lnTo>
                <a:lnTo>
                  <a:pt x="608" y="529"/>
                </a:lnTo>
                <a:lnTo>
                  <a:pt x="606" y="531"/>
                </a:lnTo>
                <a:lnTo>
                  <a:pt x="604" y="532"/>
                </a:lnTo>
                <a:lnTo>
                  <a:pt x="603" y="532"/>
                </a:lnTo>
                <a:lnTo>
                  <a:pt x="601" y="534"/>
                </a:lnTo>
                <a:lnTo>
                  <a:pt x="600" y="538"/>
                </a:lnTo>
                <a:lnTo>
                  <a:pt x="600" y="540"/>
                </a:lnTo>
                <a:lnTo>
                  <a:pt x="599" y="542"/>
                </a:lnTo>
                <a:lnTo>
                  <a:pt x="595" y="543"/>
                </a:lnTo>
                <a:lnTo>
                  <a:pt x="592" y="545"/>
                </a:lnTo>
                <a:lnTo>
                  <a:pt x="590" y="545"/>
                </a:lnTo>
                <a:lnTo>
                  <a:pt x="587" y="547"/>
                </a:lnTo>
                <a:lnTo>
                  <a:pt x="586" y="549"/>
                </a:lnTo>
                <a:lnTo>
                  <a:pt x="585" y="551"/>
                </a:lnTo>
                <a:lnTo>
                  <a:pt x="584" y="555"/>
                </a:lnTo>
                <a:lnTo>
                  <a:pt x="580" y="555"/>
                </a:lnTo>
                <a:lnTo>
                  <a:pt x="580" y="551"/>
                </a:lnTo>
                <a:lnTo>
                  <a:pt x="577" y="551"/>
                </a:lnTo>
                <a:lnTo>
                  <a:pt x="574" y="551"/>
                </a:lnTo>
                <a:lnTo>
                  <a:pt x="573" y="551"/>
                </a:lnTo>
                <a:lnTo>
                  <a:pt x="568" y="551"/>
                </a:lnTo>
                <a:lnTo>
                  <a:pt x="564" y="552"/>
                </a:lnTo>
                <a:lnTo>
                  <a:pt x="561" y="555"/>
                </a:lnTo>
                <a:lnTo>
                  <a:pt x="557" y="557"/>
                </a:lnTo>
                <a:lnTo>
                  <a:pt x="554" y="560"/>
                </a:lnTo>
                <a:lnTo>
                  <a:pt x="551" y="563"/>
                </a:lnTo>
                <a:lnTo>
                  <a:pt x="547" y="564"/>
                </a:lnTo>
                <a:lnTo>
                  <a:pt x="542" y="565"/>
                </a:lnTo>
                <a:lnTo>
                  <a:pt x="538" y="565"/>
                </a:lnTo>
                <a:lnTo>
                  <a:pt x="541" y="562"/>
                </a:lnTo>
                <a:lnTo>
                  <a:pt x="543" y="560"/>
                </a:lnTo>
                <a:lnTo>
                  <a:pt x="550" y="555"/>
                </a:lnTo>
                <a:lnTo>
                  <a:pt x="552" y="554"/>
                </a:lnTo>
                <a:lnTo>
                  <a:pt x="555" y="551"/>
                </a:lnTo>
                <a:lnTo>
                  <a:pt x="557" y="548"/>
                </a:lnTo>
                <a:lnTo>
                  <a:pt x="557" y="547"/>
                </a:lnTo>
                <a:lnTo>
                  <a:pt x="557" y="545"/>
                </a:lnTo>
                <a:lnTo>
                  <a:pt x="557" y="547"/>
                </a:lnTo>
                <a:lnTo>
                  <a:pt x="561" y="545"/>
                </a:lnTo>
                <a:lnTo>
                  <a:pt x="564" y="540"/>
                </a:lnTo>
                <a:lnTo>
                  <a:pt x="568" y="535"/>
                </a:lnTo>
                <a:lnTo>
                  <a:pt x="571" y="531"/>
                </a:lnTo>
                <a:lnTo>
                  <a:pt x="577" y="519"/>
                </a:lnTo>
                <a:lnTo>
                  <a:pt x="581" y="507"/>
                </a:lnTo>
                <a:lnTo>
                  <a:pt x="583" y="512"/>
                </a:lnTo>
                <a:lnTo>
                  <a:pt x="584" y="515"/>
                </a:lnTo>
                <a:lnTo>
                  <a:pt x="586" y="516"/>
                </a:lnTo>
                <a:lnTo>
                  <a:pt x="587" y="518"/>
                </a:lnTo>
                <a:lnTo>
                  <a:pt x="590" y="519"/>
                </a:lnTo>
                <a:lnTo>
                  <a:pt x="591" y="519"/>
                </a:lnTo>
                <a:lnTo>
                  <a:pt x="594" y="519"/>
                </a:lnTo>
                <a:lnTo>
                  <a:pt x="597" y="519"/>
                </a:lnTo>
                <a:lnTo>
                  <a:pt x="600" y="518"/>
                </a:lnTo>
                <a:lnTo>
                  <a:pt x="600" y="515"/>
                </a:lnTo>
                <a:lnTo>
                  <a:pt x="601" y="514"/>
                </a:lnTo>
                <a:lnTo>
                  <a:pt x="601" y="512"/>
                </a:lnTo>
                <a:lnTo>
                  <a:pt x="601" y="509"/>
                </a:lnTo>
                <a:lnTo>
                  <a:pt x="600" y="504"/>
                </a:lnTo>
                <a:lnTo>
                  <a:pt x="597" y="499"/>
                </a:lnTo>
                <a:lnTo>
                  <a:pt x="594" y="494"/>
                </a:lnTo>
                <a:lnTo>
                  <a:pt x="591" y="489"/>
                </a:lnTo>
                <a:lnTo>
                  <a:pt x="587" y="487"/>
                </a:lnTo>
                <a:lnTo>
                  <a:pt x="585" y="484"/>
                </a:lnTo>
                <a:lnTo>
                  <a:pt x="582" y="483"/>
                </a:lnTo>
                <a:lnTo>
                  <a:pt x="568" y="484"/>
                </a:lnTo>
                <a:lnTo>
                  <a:pt x="561" y="484"/>
                </a:lnTo>
                <a:lnTo>
                  <a:pt x="554" y="483"/>
                </a:lnTo>
                <a:lnTo>
                  <a:pt x="556" y="482"/>
                </a:lnTo>
                <a:lnTo>
                  <a:pt x="557" y="479"/>
                </a:lnTo>
                <a:lnTo>
                  <a:pt x="559" y="476"/>
                </a:lnTo>
                <a:lnTo>
                  <a:pt x="559" y="475"/>
                </a:lnTo>
                <a:lnTo>
                  <a:pt x="559" y="473"/>
                </a:lnTo>
                <a:lnTo>
                  <a:pt x="559" y="470"/>
                </a:lnTo>
                <a:lnTo>
                  <a:pt x="557" y="469"/>
                </a:lnTo>
                <a:lnTo>
                  <a:pt x="555" y="466"/>
                </a:lnTo>
                <a:lnTo>
                  <a:pt x="554" y="465"/>
                </a:lnTo>
                <a:lnTo>
                  <a:pt x="554" y="463"/>
                </a:lnTo>
                <a:lnTo>
                  <a:pt x="554" y="460"/>
                </a:lnTo>
                <a:lnTo>
                  <a:pt x="555" y="456"/>
                </a:lnTo>
                <a:lnTo>
                  <a:pt x="554" y="456"/>
                </a:lnTo>
                <a:lnTo>
                  <a:pt x="552" y="455"/>
                </a:lnTo>
                <a:lnTo>
                  <a:pt x="551" y="453"/>
                </a:lnTo>
                <a:lnTo>
                  <a:pt x="549" y="452"/>
                </a:lnTo>
                <a:lnTo>
                  <a:pt x="548" y="449"/>
                </a:lnTo>
                <a:lnTo>
                  <a:pt x="547" y="447"/>
                </a:lnTo>
                <a:lnTo>
                  <a:pt x="546" y="443"/>
                </a:lnTo>
                <a:lnTo>
                  <a:pt x="546" y="440"/>
                </a:lnTo>
                <a:lnTo>
                  <a:pt x="546" y="438"/>
                </a:lnTo>
                <a:lnTo>
                  <a:pt x="544" y="436"/>
                </a:lnTo>
                <a:lnTo>
                  <a:pt x="541" y="434"/>
                </a:lnTo>
                <a:lnTo>
                  <a:pt x="539" y="433"/>
                </a:lnTo>
                <a:lnTo>
                  <a:pt x="536" y="433"/>
                </a:lnTo>
                <a:lnTo>
                  <a:pt x="531" y="434"/>
                </a:lnTo>
                <a:lnTo>
                  <a:pt x="528" y="435"/>
                </a:lnTo>
                <a:lnTo>
                  <a:pt x="524" y="436"/>
                </a:lnTo>
                <a:lnTo>
                  <a:pt x="517" y="439"/>
                </a:lnTo>
                <a:lnTo>
                  <a:pt x="511" y="442"/>
                </a:lnTo>
                <a:lnTo>
                  <a:pt x="500" y="449"/>
                </a:lnTo>
                <a:lnTo>
                  <a:pt x="493" y="453"/>
                </a:lnTo>
                <a:lnTo>
                  <a:pt x="485" y="456"/>
                </a:lnTo>
                <a:lnTo>
                  <a:pt x="481" y="456"/>
                </a:lnTo>
                <a:lnTo>
                  <a:pt x="475" y="455"/>
                </a:lnTo>
                <a:lnTo>
                  <a:pt x="466" y="452"/>
                </a:lnTo>
                <a:lnTo>
                  <a:pt x="466" y="453"/>
                </a:lnTo>
                <a:lnTo>
                  <a:pt x="461" y="450"/>
                </a:lnTo>
                <a:lnTo>
                  <a:pt x="458" y="449"/>
                </a:lnTo>
                <a:lnTo>
                  <a:pt x="456" y="449"/>
                </a:lnTo>
                <a:lnTo>
                  <a:pt x="449" y="449"/>
                </a:lnTo>
                <a:lnTo>
                  <a:pt x="444" y="448"/>
                </a:lnTo>
                <a:lnTo>
                  <a:pt x="443" y="447"/>
                </a:lnTo>
                <a:lnTo>
                  <a:pt x="439" y="446"/>
                </a:lnTo>
                <a:lnTo>
                  <a:pt x="438" y="444"/>
                </a:lnTo>
                <a:lnTo>
                  <a:pt x="436" y="442"/>
                </a:lnTo>
                <a:lnTo>
                  <a:pt x="436" y="439"/>
                </a:lnTo>
                <a:lnTo>
                  <a:pt x="436" y="436"/>
                </a:lnTo>
                <a:lnTo>
                  <a:pt x="79" y="436"/>
                </a:lnTo>
                <a:lnTo>
                  <a:pt x="79" y="434"/>
                </a:lnTo>
                <a:lnTo>
                  <a:pt x="78" y="433"/>
                </a:lnTo>
                <a:lnTo>
                  <a:pt x="78" y="430"/>
                </a:lnTo>
                <a:lnTo>
                  <a:pt x="80" y="429"/>
                </a:lnTo>
                <a:lnTo>
                  <a:pt x="79" y="427"/>
                </a:lnTo>
                <a:lnTo>
                  <a:pt x="78" y="425"/>
                </a:lnTo>
                <a:lnTo>
                  <a:pt x="73" y="420"/>
                </a:lnTo>
                <a:lnTo>
                  <a:pt x="70" y="416"/>
                </a:lnTo>
                <a:lnTo>
                  <a:pt x="66" y="412"/>
                </a:lnTo>
                <a:lnTo>
                  <a:pt x="62" y="408"/>
                </a:lnTo>
                <a:lnTo>
                  <a:pt x="57" y="404"/>
                </a:lnTo>
                <a:lnTo>
                  <a:pt x="55" y="404"/>
                </a:lnTo>
                <a:lnTo>
                  <a:pt x="52" y="404"/>
                </a:lnTo>
                <a:lnTo>
                  <a:pt x="51" y="402"/>
                </a:lnTo>
                <a:lnTo>
                  <a:pt x="49" y="400"/>
                </a:lnTo>
                <a:lnTo>
                  <a:pt x="48" y="397"/>
                </a:lnTo>
                <a:lnTo>
                  <a:pt x="47" y="394"/>
                </a:lnTo>
                <a:lnTo>
                  <a:pt x="46" y="392"/>
                </a:lnTo>
                <a:lnTo>
                  <a:pt x="46" y="389"/>
                </a:lnTo>
                <a:lnTo>
                  <a:pt x="46" y="386"/>
                </a:lnTo>
                <a:lnTo>
                  <a:pt x="48" y="384"/>
                </a:lnTo>
                <a:lnTo>
                  <a:pt x="52" y="377"/>
                </a:lnTo>
                <a:lnTo>
                  <a:pt x="52" y="376"/>
                </a:lnTo>
                <a:lnTo>
                  <a:pt x="52" y="372"/>
                </a:lnTo>
                <a:lnTo>
                  <a:pt x="51" y="371"/>
                </a:lnTo>
                <a:lnTo>
                  <a:pt x="49" y="368"/>
                </a:lnTo>
                <a:lnTo>
                  <a:pt x="47" y="367"/>
                </a:lnTo>
                <a:lnTo>
                  <a:pt x="43" y="367"/>
                </a:lnTo>
                <a:lnTo>
                  <a:pt x="43" y="366"/>
                </a:lnTo>
                <a:lnTo>
                  <a:pt x="45" y="364"/>
                </a:lnTo>
                <a:lnTo>
                  <a:pt x="46" y="363"/>
                </a:lnTo>
                <a:lnTo>
                  <a:pt x="46" y="361"/>
                </a:lnTo>
                <a:lnTo>
                  <a:pt x="46" y="358"/>
                </a:lnTo>
                <a:lnTo>
                  <a:pt x="43" y="355"/>
                </a:lnTo>
                <a:lnTo>
                  <a:pt x="39" y="352"/>
                </a:lnTo>
                <a:lnTo>
                  <a:pt x="39" y="351"/>
                </a:lnTo>
                <a:lnTo>
                  <a:pt x="38" y="350"/>
                </a:lnTo>
                <a:lnTo>
                  <a:pt x="38" y="349"/>
                </a:lnTo>
                <a:lnTo>
                  <a:pt x="39" y="346"/>
                </a:lnTo>
                <a:lnTo>
                  <a:pt x="40" y="344"/>
                </a:lnTo>
                <a:lnTo>
                  <a:pt x="44" y="340"/>
                </a:lnTo>
                <a:lnTo>
                  <a:pt x="46" y="336"/>
                </a:lnTo>
                <a:lnTo>
                  <a:pt x="46" y="334"/>
                </a:lnTo>
                <a:lnTo>
                  <a:pt x="46" y="331"/>
                </a:lnTo>
                <a:lnTo>
                  <a:pt x="45" y="331"/>
                </a:lnTo>
                <a:lnTo>
                  <a:pt x="42" y="330"/>
                </a:lnTo>
                <a:lnTo>
                  <a:pt x="31" y="328"/>
                </a:lnTo>
                <a:lnTo>
                  <a:pt x="32" y="326"/>
                </a:lnTo>
                <a:lnTo>
                  <a:pt x="33" y="324"/>
                </a:lnTo>
                <a:lnTo>
                  <a:pt x="34" y="323"/>
                </a:lnTo>
                <a:lnTo>
                  <a:pt x="36" y="322"/>
                </a:lnTo>
                <a:lnTo>
                  <a:pt x="37" y="322"/>
                </a:lnTo>
                <a:lnTo>
                  <a:pt x="35" y="317"/>
                </a:lnTo>
                <a:lnTo>
                  <a:pt x="35" y="312"/>
                </a:lnTo>
                <a:lnTo>
                  <a:pt x="35" y="308"/>
                </a:lnTo>
                <a:lnTo>
                  <a:pt x="34" y="302"/>
                </a:lnTo>
                <a:lnTo>
                  <a:pt x="32" y="300"/>
                </a:lnTo>
                <a:lnTo>
                  <a:pt x="29" y="297"/>
                </a:lnTo>
                <a:lnTo>
                  <a:pt x="28" y="295"/>
                </a:lnTo>
                <a:lnTo>
                  <a:pt x="26" y="292"/>
                </a:lnTo>
                <a:lnTo>
                  <a:pt x="23" y="288"/>
                </a:lnTo>
                <a:lnTo>
                  <a:pt x="22" y="285"/>
                </a:lnTo>
                <a:lnTo>
                  <a:pt x="21" y="282"/>
                </a:lnTo>
                <a:lnTo>
                  <a:pt x="21" y="281"/>
                </a:lnTo>
                <a:lnTo>
                  <a:pt x="22" y="277"/>
                </a:lnTo>
                <a:lnTo>
                  <a:pt x="23" y="272"/>
                </a:lnTo>
                <a:lnTo>
                  <a:pt x="25" y="269"/>
                </a:lnTo>
                <a:lnTo>
                  <a:pt x="26" y="265"/>
                </a:lnTo>
                <a:lnTo>
                  <a:pt x="30" y="259"/>
                </a:lnTo>
                <a:lnTo>
                  <a:pt x="29" y="258"/>
                </a:lnTo>
                <a:lnTo>
                  <a:pt x="28" y="256"/>
                </a:lnTo>
                <a:lnTo>
                  <a:pt x="26" y="255"/>
                </a:lnTo>
                <a:lnTo>
                  <a:pt x="26" y="252"/>
                </a:lnTo>
                <a:lnTo>
                  <a:pt x="25" y="247"/>
                </a:lnTo>
                <a:lnTo>
                  <a:pt x="25" y="245"/>
                </a:lnTo>
                <a:lnTo>
                  <a:pt x="23" y="243"/>
                </a:lnTo>
                <a:lnTo>
                  <a:pt x="22" y="242"/>
                </a:lnTo>
                <a:lnTo>
                  <a:pt x="21" y="242"/>
                </a:lnTo>
                <a:lnTo>
                  <a:pt x="19" y="241"/>
                </a:lnTo>
                <a:lnTo>
                  <a:pt x="13" y="242"/>
                </a:lnTo>
                <a:lnTo>
                  <a:pt x="11" y="242"/>
                </a:lnTo>
                <a:lnTo>
                  <a:pt x="9" y="241"/>
                </a:lnTo>
                <a:lnTo>
                  <a:pt x="7" y="240"/>
                </a:lnTo>
                <a:lnTo>
                  <a:pt x="6" y="238"/>
                </a:lnTo>
                <a:lnTo>
                  <a:pt x="4" y="238"/>
                </a:lnTo>
                <a:lnTo>
                  <a:pt x="3" y="237"/>
                </a:lnTo>
                <a:lnTo>
                  <a:pt x="2" y="236"/>
                </a:lnTo>
                <a:lnTo>
                  <a:pt x="1" y="236"/>
                </a:lnTo>
                <a:lnTo>
                  <a:pt x="0" y="233"/>
                </a:lnTo>
                <a:lnTo>
                  <a:pt x="156" y="66"/>
                </a:lnTo>
                <a:lnTo>
                  <a:pt x="159" y="68"/>
                </a:lnTo>
                <a:lnTo>
                  <a:pt x="162" y="71"/>
                </a:lnTo>
                <a:lnTo>
                  <a:pt x="166" y="72"/>
                </a:lnTo>
                <a:lnTo>
                  <a:pt x="169" y="72"/>
                </a:lnTo>
                <a:lnTo>
                  <a:pt x="177" y="73"/>
                </a:lnTo>
                <a:lnTo>
                  <a:pt x="180" y="73"/>
                </a:lnTo>
                <a:lnTo>
                  <a:pt x="185" y="75"/>
                </a:lnTo>
                <a:lnTo>
                  <a:pt x="187" y="76"/>
                </a:lnTo>
                <a:lnTo>
                  <a:pt x="190" y="79"/>
                </a:lnTo>
                <a:lnTo>
                  <a:pt x="191" y="81"/>
                </a:lnTo>
                <a:lnTo>
                  <a:pt x="193" y="81"/>
                </a:lnTo>
                <a:lnTo>
                  <a:pt x="195" y="82"/>
                </a:lnTo>
                <a:lnTo>
                  <a:pt x="199" y="81"/>
                </a:lnTo>
                <a:lnTo>
                  <a:pt x="203" y="81"/>
                </a:lnTo>
                <a:lnTo>
                  <a:pt x="212" y="78"/>
                </a:lnTo>
                <a:lnTo>
                  <a:pt x="219" y="75"/>
                </a:lnTo>
                <a:lnTo>
                  <a:pt x="227" y="72"/>
                </a:lnTo>
                <a:lnTo>
                  <a:pt x="229" y="72"/>
                </a:lnTo>
                <a:lnTo>
                  <a:pt x="231" y="73"/>
                </a:lnTo>
                <a:lnTo>
                  <a:pt x="234" y="73"/>
                </a:lnTo>
                <a:lnTo>
                  <a:pt x="238" y="73"/>
                </a:lnTo>
                <a:lnTo>
                  <a:pt x="242" y="72"/>
                </a:lnTo>
                <a:lnTo>
                  <a:pt x="247" y="72"/>
                </a:lnTo>
                <a:lnTo>
                  <a:pt x="252" y="68"/>
                </a:lnTo>
                <a:lnTo>
                  <a:pt x="256" y="67"/>
                </a:lnTo>
                <a:lnTo>
                  <a:pt x="260" y="66"/>
                </a:lnTo>
                <a:lnTo>
                  <a:pt x="264" y="65"/>
                </a:lnTo>
                <a:lnTo>
                  <a:pt x="267" y="64"/>
                </a:lnTo>
                <a:lnTo>
                  <a:pt x="275" y="63"/>
                </a:lnTo>
                <a:lnTo>
                  <a:pt x="286" y="63"/>
                </a:lnTo>
                <a:lnTo>
                  <a:pt x="293" y="63"/>
                </a:lnTo>
                <a:lnTo>
                  <a:pt x="301" y="62"/>
                </a:lnTo>
                <a:lnTo>
                  <a:pt x="308" y="62"/>
                </a:lnTo>
                <a:lnTo>
                  <a:pt x="313" y="62"/>
                </a:lnTo>
                <a:lnTo>
                  <a:pt x="318" y="62"/>
                </a:lnTo>
                <a:lnTo>
                  <a:pt x="318" y="64"/>
                </a:lnTo>
                <a:lnTo>
                  <a:pt x="318" y="68"/>
                </a:lnTo>
                <a:lnTo>
                  <a:pt x="319" y="68"/>
                </a:lnTo>
                <a:lnTo>
                  <a:pt x="320" y="71"/>
                </a:lnTo>
                <a:lnTo>
                  <a:pt x="321" y="72"/>
                </a:lnTo>
                <a:lnTo>
                  <a:pt x="323" y="72"/>
                </a:lnTo>
                <a:lnTo>
                  <a:pt x="324" y="72"/>
                </a:lnTo>
                <a:lnTo>
                  <a:pt x="327" y="71"/>
                </a:lnTo>
                <a:lnTo>
                  <a:pt x="331" y="68"/>
                </a:lnTo>
                <a:lnTo>
                  <a:pt x="338" y="62"/>
                </a:lnTo>
                <a:lnTo>
                  <a:pt x="340" y="62"/>
                </a:lnTo>
                <a:lnTo>
                  <a:pt x="342" y="63"/>
                </a:lnTo>
                <a:lnTo>
                  <a:pt x="343" y="65"/>
                </a:lnTo>
                <a:lnTo>
                  <a:pt x="344" y="67"/>
                </a:lnTo>
                <a:lnTo>
                  <a:pt x="344" y="70"/>
                </a:lnTo>
                <a:lnTo>
                  <a:pt x="344" y="71"/>
                </a:lnTo>
                <a:lnTo>
                  <a:pt x="344" y="72"/>
                </a:lnTo>
                <a:lnTo>
                  <a:pt x="344" y="75"/>
                </a:lnTo>
                <a:lnTo>
                  <a:pt x="345" y="75"/>
                </a:lnTo>
                <a:lnTo>
                  <a:pt x="346" y="75"/>
                </a:lnTo>
                <a:lnTo>
                  <a:pt x="349" y="73"/>
                </a:lnTo>
                <a:lnTo>
                  <a:pt x="354" y="70"/>
                </a:lnTo>
                <a:lnTo>
                  <a:pt x="358" y="68"/>
                </a:lnTo>
                <a:lnTo>
                  <a:pt x="360" y="68"/>
                </a:lnTo>
                <a:lnTo>
                  <a:pt x="365" y="68"/>
                </a:lnTo>
                <a:lnTo>
                  <a:pt x="370" y="68"/>
                </a:lnTo>
                <a:lnTo>
                  <a:pt x="377" y="72"/>
                </a:lnTo>
                <a:lnTo>
                  <a:pt x="385" y="75"/>
                </a:lnTo>
                <a:lnTo>
                  <a:pt x="393" y="77"/>
                </a:lnTo>
                <a:lnTo>
                  <a:pt x="397" y="80"/>
                </a:lnTo>
                <a:lnTo>
                  <a:pt x="400" y="81"/>
                </a:lnTo>
                <a:lnTo>
                  <a:pt x="406" y="83"/>
                </a:lnTo>
                <a:lnTo>
                  <a:pt x="412" y="84"/>
                </a:lnTo>
                <a:lnTo>
                  <a:pt x="414" y="83"/>
                </a:lnTo>
                <a:lnTo>
                  <a:pt x="421" y="82"/>
                </a:lnTo>
                <a:lnTo>
                  <a:pt x="423" y="82"/>
                </a:lnTo>
                <a:lnTo>
                  <a:pt x="426" y="84"/>
                </a:lnTo>
                <a:lnTo>
                  <a:pt x="427" y="85"/>
                </a:lnTo>
                <a:lnTo>
                  <a:pt x="429" y="85"/>
                </a:lnTo>
                <a:lnTo>
                  <a:pt x="429" y="90"/>
                </a:lnTo>
                <a:lnTo>
                  <a:pt x="427" y="92"/>
                </a:lnTo>
                <a:lnTo>
                  <a:pt x="426" y="94"/>
                </a:lnTo>
                <a:lnTo>
                  <a:pt x="421" y="95"/>
                </a:lnTo>
                <a:lnTo>
                  <a:pt x="419" y="97"/>
                </a:lnTo>
                <a:lnTo>
                  <a:pt x="417" y="98"/>
                </a:lnTo>
                <a:lnTo>
                  <a:pt x="416" y="99"/>
                </a:lnTo>
                <a:lnTo>
                  <a:pt x="416" y="101"/>
                </a:lnTo>
                <a:lnTo>
                  <a:pt x="416" y="102"/>
                </a:lnTo>
                <a:lnTo>
                  <a:pt x="416" y="104"/>
                </a:lnTo>
                <a:lnTo>
                  <a:pt x="417" y="104"/>
                </a:lnTo>
                <a:lnTo>
                  <a:pt x="418" y="105"/>
                </a:lnTo>
                <a:lnTo>
                  <a:pt x="421" y="106"/>
                </a:lnTo>
                <a:lnTo>
                  <a:pt x="425" y="106"/>
                </a:lnTo>
                <a:lnTo>
                  <a:pt x="430" y="106"/>
                </a:lnTo>
                <a:lnTo>
                  <a:pt x="435" y="105"/>
                </a:lnTo>
                <a:lnTo>
                  <a:pt x="445" y="102"/>
                </a:lnTo>
                <a:lnTo>
                  <a:pt x="454" y="99"/>
                </a:lnTo>
                <a:lnTo>
                  <a:pt x="459" y="98"/>
                </a:lnTo>
                <a:lnTo>
                  <a:pt x="465" y="98"/>
                </a:lnTo>
                <a:lnTo>
                  <a:pt x="466" y="98"/>
                </a:lnTo>
                <a:lnTo>
                  <a:pt x="468" y="100"/>
                </a:lnTo>
                <a:lnTo>
                  <a:pt x="471" y="103"/>
                </a:lnTo>
                <a:lnTo>
                  <a:pt x="475" y="106"/>
                </a:lnTo>
                <a:lnTo>
                  <a:pt x="476" y="108"/>
                </a:lnTo>
                <a:lnTo>
                  <a:pt x="479" y="108"/>
                </a:lnTo>
                <a:lnTo>
                  <a:pt x="480" y="108"/>
                </a:lnTo>
                <a:lnTo>
                  <a:pt x="482" y="107"/>
                </a:lnTo>
                <a:lnTo>
                  <a:pt x="483" y="105"/>
                </a:lnTo>
                <a:lnTo>
                  <a:pt x="484" y="104"/>
                </a:lnTo>
                <a:lnTo>
                  <a:pt x="485" y="100"/>
                </a:lnTo>
                <a:lnTo>
                  <a:pt x="485" y="98"/>
                </a:lnTo>
                <a:lnTo>
                  <a:pt x="485" y="92"/>
                </a:lnTo>
                <a:lnTo>
                  <a:pt x="492" y="89"/>
                </a:lnTo>
                <a:lnTo>
                  <a:pt x="496" y="88"/>
                </a:lnTo>
                <a:lnTo>
                  <a:pt x="500" y="86"/>
                </a:lnTo>
                <a:lnTo>
                  <a:pt x="508" y="85"/>
                </a:lnTo>
                <a:lnTo>
                  <a:pt x="512" y="84"/>
                </a:lnTo>
                <a:lnTo>
                  <a:pt x="517" y="84"/>
                </a:lnTo>
                <a:lnTo>
                  <a:pt x="520" y="84"/>
                </a:lnTo>
                <a:lnTo>
                  <a:pt x="522" y="85"/>
                </a:lnTo>
                <a:lnTo>
                  <a:pt x="524" y="86"/>
                </a:lnTo>
                <a:lnTo>
                  <a:pt x="527" y="86"/>
                </a:lnTo>
                <a:lnTo>
                  <a:pt x="527" y="88"/>
                </a:lnTo>
                <a:lnTo>
                  <a:pt x="528" y="90"/>
                </a:lnTo>
                <a:lnTo>
                  <a:pt x="528" y="92"/>
                </a:lnTo>
                <a:lnTo>
                  <a:pt x="529" y="93"/>
                </a:lnTo>
                <a:lnTo>
                  <a:pt x="533" y="95"/>
                </a:lnTo>
                <a:lnTo>
                  <a:pt x="537" y="98"/>
                </a:lnTo>
                <a:lnTo>
                  <a:pt x="544" y="99"/>
                </a:lnTo>
                <a:lnTo>
                  <a:pt x="548" y="100"/>
                </a:lnTo>
                <a:lnTo>
                  <a:pt x="577" y="100"/>
                </a:lnTo>
                <a:lnTo>
                  <a:pt x="578" y="100"/>
                </a:lnTo>
                <a:lnTo>
                  <a:pt x="580" y="100"/>
                </a:lnTo>
                <a:lnTo>
                  <a:pt x="583" y="100"/>
                </a:lnTo>
                <a:lnTo>
                  <a:pt x="586" y="98"/>
                </a:lnTo>
                <a:lnTo>
                  <a:pt x="588" y="97"/>
                </a:lnTo>
                <a:lnTo>
                  <a:pt x="590" y="94"/>
                </a:lnTo>
                <a:lnTo>
                  <a:pt x="592" y="92"/>
                </a:lnTo>
                <a:lnTo>
                  <a:pt x="595" y="91"/>
                </a:lnTo>
                <a:lnTo>
                  <a:pt x="598" y="90"/>
                </a:lnTo>
                <a:lnTo>
                  <a:pt x="603" y="91"/>
                </a:lnTo>
                <a:lnTo>
                  <a:pt x="606" y="92"/>
                </a:lnTo>
                <a:lnTo>
                  <a:pt x="610" y="93"/>
                </a:lnTo>
                <a:lnTo>
                  <a:pt x="616" y="93"/>
                </a:lnTo>
                <a:lnTo>
                  <a:pt x="614" y="95"/>
                </a:lnTo>
                <a:lnTo>
                  <a:pt x="613" y="98"/>
                </a:lnTo>
                <a:lnTo>
                  <a:pt x="610" y="102"/>
                </a:lnTo>
                <a:lnTo>
                  <a:pt x="610" y="104"/>
                </a:lnTo>
                <a:lnTo>
                  <a:pt x="609" y="106"/>
                </a:lnTo>
                <a:lnTo>
                  <a:pt x="609" y="108"/>
                </a:lnTo>
                <a:lnTo>
                  <a:pt x="610" y="110"/>
                </a:lnTo>
                <a:lnTo>
                  <a:pt x="610" y="111"/>
                </a:lnTo>
                <a:lnTo>
                  <a:pt x="612" y="110"/>
                </a:lnTo>
                <a:lnTo>
                  <a:pt x="613" y="110"/>
                </a:lnTo>
                <a:lnTo>
                  <a:pt x="614" y="108"/>
                </a:lnTo>
                <a:lnTo>
                  <a:pt x="618" y="104"/>
                </a:lnTo>
                <a:lnTo>
                  <a:pt x="623" y="98"/>
                </a:lnTo>
                <a:lnTo>
                  <a:pt x="626" y="95"/>
                </a:lnTo>
                <a:lnTo>
                  <a:pt x="628" y="93"/>
                </a:lnTo>
                <a:lnTo>
                  <a:pt x="634" y="89"/>
                </a:lnTo>
                <a:lnTo>
                  <a:pt x="640" y="85"/>
                </a:lnTo>
                <a:lnTo>
                  <a:pt x="643" y="84"/>
                </a:lnTo>
                <a:lnTo>
                  <a:pt x="645" y="80"/>
                </a:lnTo>
                <a:lnTo>
                  <a:pt x="647" y="76"/>
                </a:lnTo>
                <a:lnTo>
                  <a:pt x="647" y="72"/>
                </a:lnTo>
                <a:lnTo>
                  <a:pt x="646" y="71"/>
                </a:lnTo>
                <a:lnTo>
                  <a:pt x="644" y="70"/>
                </a:lnTo>
                <a:lnTo>
                  <a:pt x="639" y="68"/>
                </a:lnTo>
                <a:lnTo>
                  <a:pt x="638" y="67"/>
                </a:lnTo>
                <a:lnTo>
                  <a:pt x="638" y="66"/>
                </a:lnTo>
                <a:lnTo>
                  <a:pt x="638" y="65"/>
                </a:lnTo>
                <a:lnTo>
                  <a:pt x="638" y="62"/>
                </a:lnTo>
                <a:lnTo>
                  <a:pt x="639" y="61"/>
                </a:lnTo>
                <a:lnTo>
                  <a:pt x="641" y="55"/>
                </a:lnTo>
                <a:lnTo>
                  <a:pt x="645" y="50"/>
                </a:lnTo>
                <a:lnTo>
                  <a:pt x="649" y="45"/>
                </a:lnTo>
                <a:lnTo>
                  <a:pt x="655" y="42"/>
                </a:lnTo>
                <a:lnTo>
                  <a:pt x="661" y="39"/>
                </a:lnTo>
                <a:lnTo>
                  <a:pt x="671" y="34"/>
                </a:lnTo>
                <a:lnTo>
                  <a:pt x="672" y="32"/>
                </a:lnTo>
                <a:lnTo>
                  <a:pt x="672" y="31"/>
                </a:lnTo>
                <a:lnTo>
                  <a:pt x="676" y="26"/>
                </a:lnTo>
                <a:lnTo>
                  <a:pt x="677" y="19"/>
                </a:lnTo>
                <a:lnTo>
                  <a:pt x="679" y="17"/>
                </a:lnTo>
                <a:lnTo>
                  <a:pt x="680" y="14"/>
                </a:lnTo>
                <a:lnTo>
                  <a:pt x="683" y="12"/>
                </a:lnTo>
                <a:lnTo>
                  <a:pt x="687" y="8"/>
                </a:lnTo>
                <a:lnTo>
                  <a:pt x="690" y="5"/>
                </a:lnTo>
                <a:lnTo>
                  <a:pt x="692" y="4"/>
                </a:lnTo>
                <a:lnTo>
                  <a:pt x="694" y="3"/>
                </a:lnTo>
                <a:lnTo>
                  <a:pt x="698" y="1"/>
                </a:lnTo>
                <a:lnTo>
                  <a:pt x="702" y="0"/>
                </a:lnTo>
                <a:lnTo>
                  <a:pt x="708" y="0"/>
                </a:lnTo>
                <a:lnTo>
                  <a:pt x="714" y="0"/>
                </a:lnTo>
                <a:lnTo>
                  <a:pt x="721" y="0"/>
                </a:lnTo>
                <a:lnTo>
                  <a:pt x="729" y="0"/>
                </a:lnTo>
                <a:lnTo>
                  <a:pt x="733" y="0"/>
                </a:lnTo>
                <a:lnTo>
                  <a:pt x="737" y="1"/>
                </a:lnTo>
                <a:lnTo>
                  <a:pt x="739" y="3"/>
                </a:lnTo>
                <a:lnTo>
                  <a:pt x="741" y="4"/>
                </a:lnTo>
                <a:lnTo>
                  <a:pt x="741" y="8"/>
                </a:lnTo>
                <a:lnTo>
                  <a:pt x="737" y="9"/>
                </a:lnTo>
                <a:lnTo>
                  <a:pt x="732" y="12"/>
                </a:lnTo>
                <a:lnTo>
                  <a:pt x="724" y="16"/>
                </a:lnTo>
                <a:lnTo>
                  <a:pt x="719" y="18"/>
                </a:lnTo>
                <a:lnTo>
                  <a:pt x="715" y="21"/>
                </a:lnTo>
                <a:lnTo>
                  <a:pt x="709" y="22"/>
                </a:lnTo>
                <a:lnTo>
                  <a:pt x="704" y="22"/>
                </a:lnTo>
                <a:lnTo>
                  <a:pt x="701" y="22"/>
                </a:lnTo>
                <a:lnTo>
                  <a:pt x="697" y="23"/>
                </a:lnTo>
                <a:lnTo>
                  <a:pt x="693" y="25"/>
                </a:lnTo>
                <a:lnTo>
                  <a:pt x="689" y="26"/>
                </a:lnTo>
                <a:lnTo>
                  <a:pt x="687" y="28"/>
                </a:lnTo>
                <a:lnTo>
                  <a:pt x="685" y="31"/>
                </a:lnTo>
                <a:lnTo>
                  <a:pt x="683" y="34"/>
                </a:lnTo>
                <a:lnTo>
                  <a:pt x="683" y="36"/>
                </a:lnTo>
                <a:lnTo>
                  <a:pt x="683" y="53"/>
                </a:lnTo>
                <a:lnTo>
                  <a:pt x="683" y="58"/>
                </a:lnTo>
                <a:lnTo>
                  <a:pt x="682" y="62"/>
                </a:lnTo>
                <a:lnTo>
                  <a:pt x="681" y="62"/>
                </a:lnTo>
                <a:lnTo>
                  <a:pt x="680" y="63"/>
                </a:lnTo>
                <a:lnTo>
                  <a:pt x="676" y="66"/>
                </a:lnTo>
                <a:lnTo>
                  <a:pt x="676" y="68"/>
                </a:lnTo>
                <a:lnTo>
                  <a:pt x="677" y="70"/>
                </a:lnTo>
                <a:lnTo>
                  <a:pt x="680" y="71"/>
                </a:lnTo>
                <a:lnTo>
                  <a:pt x="683" y="72"/>
                </a:lnTo>
                <a:lnTo>
                  <a:pt x="685" y="75"/>
                </a:lnTo>
                <a:lnTo>
                  <a:pt x="685" y="81"/>
                </a:lnTo>
                <a:lnTo>
                  <a:pt x="685" y="83"/>
                </a:lnTo>
                <a:lnTo>
                  <a:pt x="687" y="84"/>
                </a:lnTo>
                <a:lnTo>
                  <a:pt x="688" y="84"/>
                </a:lnTo>
                <a:lnTo>
                  <a:pt x="689" y="84"/>
                </a:lnTo>
                <a:lnTo>
                  <a:pt x="692" y="83"/>
                </a:lnTo>
                <a:lnTo>
                  <a:pt x="695" y="81"/>
                </a:lnTo>
                <a:lnTo>
                  <a:pt x="699" y="79"/>
                </a:lnTo>
                <a:lnTo>
                  <a:pt x="701" y="79"/>
                </a:lnTo>
                <a:lnTo>
                  <a:pt x="702" y="79"/>
                </a:lnTo>
                <a:lnTo>
                  <a:pt x="704" y="78"/>
                </a:lnTo>
                <a:lnTo>
                  <a:pt x="707" y="79"/>
                </a:lnTo>
                <a:lnTo>
                  <a:pt x="708" y="79"/>
                </a:lnTo>
                <a:lnTo>
                  <a:pt x="709" y="81"/>
                </a:lnTo>
                <a:lnTo>
                  <a:pt x="709" y="82"/>
                </a:lnTo>
                <a:lnTo>
                  <a:pt x="708" y="85"/>
                </a:lnTo>
                <a:lnTo>
                  <a:pt x="706" y="88"/>
                </a:lnTo>
                <a:lnTo>
                  <a:pt x="704" y="89"/>
                </a:lnTo>
                <a:lnTo>
                  <a:pt x="701" y="93"/>
                </a:lnTo>
                <a:lnTo>
                  <a:pt x="699" y="95"/>
                </a:lnTo>
                <a:lnTo>
                  <a:pt x="697" y="97"/>
                </a:lnTo>
                <a:lnTo>
                  <a:pt x="696" y="99"/>
                </a:lnTo>
                <a:lnTo>
                  <a:pt x="696" y="102"/>
                </a:lnTo>
                <a:lnTo>
                  <a:pt x="696" y="104"/>
                </a:lnTo>
                <a:lnTo>
                  <a:pt x="698" y="106"/>
                </a:lnTo>
                <a:lnTo>
                  <a:pt x="699" y="108"/>
                </a:lnTo>
                <a:lnTo>
                  <a:pt x="701" y="110"/>
                </a:lnTo>
                <a:lnTo>
                  <a:pt x="703" y="108"/>
                </a:lnTo>
                <a:lnTo>
                  <a:pt x="705" y="108"/>
                </a:lnTo>
                <a:lnTo>
                  <a:pt x="706" y="108"/>
                </a:lnTo>
                <a:lnTo>
                  <a:pt x="708" y="106"/>
                </a:lnTo>
                <a:lnTo>
                  <a:pt x="710" y="103"/>
                </a:lnTo>
                <a:lnTo>
                  <a:pt x="714" y="98"/>
                </a:lnTo>
                <a:lnTo>
                  <a:pt x="717" y="93"/>
                </a:lnTo>
                <a:lnTo>
                  <a:pt x="719" y="95"/>
                </a:lnTo>
                <a:lnTo>
                  <a:pt x="721" y="98"/>
                </a:lnTo>
                <a:lnTo>
                  <a:pt x="725" y="93"/>
                </a:lnTo>
                <a:lnTo>
                  <a:pt x="730" y="88"/>
                </a:lnTo>
                <a:lnTo>
                  <a:pt x="734" y="86"/>
                </a:lnTo>
                <a:lnTo>
                  <a:pt x="737" y="85"/>
                </a:lnTo>
                <a:lnTo>
                  <a:pt x="739" y="83"/>
                </a:lnTo>
                <a:lnTo>
                  <a:pt x="742" y="82"/>
                </a:lnTo>
                <a:lnTo>
                  <a:pt x="742" y="80"/>
                </a:lnTo>
                <a:lnTo>
                  <a:pt x="741" y="77"/>
                </a:lnTo>
                <a:lnTo>
                  <a:pt x="742" y="75"/>
                </a:lnTo>
                <a:lnTo>
                  <a:pt x="742" y="73"/>
                </a:lnTo>
                <a:lnTo>
                  <a:pt x="744" y="71"/>
                </a:lnTo>
                <a:lnTo>
                  <a:pt x="746" y="70"/>
                </a:lnTo>
                <a:lnTo>
                  <a:pt x="747" y="68"/>
                </a:lnTo>
                <a:lnTo>
                  <a:pt x="750" y="68"/>
                </a:lnTo>
                <a:lnTo>
                  <a:pt x="768" y="68"/>
                </a:lnTo>
                <a:lnTo>
                  <a:pt x="775" y="72"/>
                </a:lnTo>
                <a:lnTo>
                  <a:pt x="777" y="75"/>
                </a:lnTo>
                <a:lnTo>
                  <a:pt x="779" y="76"/>
                </a:lnTo>
                <a:lnTo>
                  <a:pt x="781" y="78"/>
                </a:lnTo>
                <a:lnTo>
                  <a:pt x="781" y="80"/>
                </a:lnTo>
                <a:lnTo>
                  <a:pt x="781" y="82"/>
                </a:lnTo>
                <a:lnTo>
                  <a:pt x="779" y="84"/>
                </a:lnTo>
                <a:lnTo>
                  <a:pt x="777" y="85"/>
                </a:lnTo>
                <a:lnTo>
                  <a:pt x="774" y="86"/>
                </a:lnTo>
                <a:lnTo>
                  <a:pt x="772" y="86"/>
                </a:lnTo>
                <a:lnTo>
                  <a:pt x="769" y="88"/>
                </a:lnTo>
                <a:lnTo>
                  <a:pt x="766" y="88"/>
                </a:lnTo>
                <a:lnTo>
                  <a:pt x="764" y="89"/>
                </a:lnTo>
                <a:lnTo>
                  <a:pt x="764" y="91"/>
                </a:lnTo>
                <a:lnTo>
                  <a:pt x="764" y="92"/>
                </a:lnTo>
                <a:lnTo>
                  <a:pt x="764" y="95"/>
                </a:lnTo>
                <a:lnTo>
                  <a:pt x="764" y="97"/>
                </a:lnTo>
                <a:lnTo>
                  <a:pt x="764" y="99"/>
                </a:lnTo>
                <a:lnTo>
                  <a:pt x="765" y="101"/>
                </a:lnTo>
                <a:lnTo>
                  <a:pt x="765" y="104"/>
                </a:lnTo>
                <a:lnTo>
                  <a:pt x="765" y="107"/>
                </a:lnTo>
                <a:lnTo>
                  <a:pt x="764" y="108"/>
                </a:lnTo>
                <a:lnTo>
                  <a:pt x="763" y="111"/>
                </a:lnTo>
                <a:lnTo>
                  <a:pt x="761" y="111"/>
                </a:lnTo>
                <a:lnTo>
                  <a:pt x="758" y="113"/>
                </a:lnTo>
                <a:lnTo>
                  <a:pt x="756" y="114"/>
                </a:lnTo>
                <a:lnTo>
                  <a:pt x="751" y="115"/>
                </a:lnTo>
                <a:lnTo>
                  <a:pt x="745" y="118"/>
                </a:lnTo>
                <a:lnTo>
                  <a:pt x="741" y="120"/>
                </a:lnTo>
                <a:lnTo>
                  <a:pt x="738" y="122"/>
                </a:lnTo>
                <a:lnTo>
                  <a:pt x="730" y="127"/>
                </a:lnTo>
                <a:lnTo>
                  <a:pt x="728" y="130"/>
                </a:lnTo>
                <a:lnTo>
                  <a:pt x="726" y="133"/>
                </a:lnTo>
                <a:lnTo>
                  <a:pt x="723" y="131"/>
                </a:lnTo>
                <a:lnTo>
                  <a:pt x="720" y="130"/>
                </a:lnTo>
                <a:lnTo>
                  <a:pt x="716" y="129"/>
                </a:lnTo>
                <a:lnTo>
                  <a:pt x="714" y="128"/>
                </a:lnTo>
                <a:lnTo>
                  <a:pt x="711" y="128"/>
                </a:lnTo>
                <a:lnTo>
                  <a:pt x="705" y="128"/>
                </a:lnTo>
                <a:lnTo>
                  <a:pt x="702" y="133"/>
                </a:lnTo>
                <a:lnTo>
                  <a:pt x="697" y="138"/>
                </a:lnTo>
                <a:lnTo>
                  <a:pt x="692" y="143"/>
                </a:lnTo>
                <a:lnTo>
                  <a:pt x="685" y="147"/>
                </a:lnTo>
                <a:lnTo>
                  <a:pt x="672" y="156"/>
                </a:lnTo>
                <a:lnTo>
                  <a:pt x="661" y="163"/>
                </a:lnTo>
                <a:lnTo>
                  <a:pt x="656" y="167"/>
                </a:lnTo>
                <a:lnTo>
                  <a:pt x="653" y="170"/>
                </a:lnTo>
                <a:lnTo>
                  <a:pt x="652" y="170"/>
                </a:lnTo>
                <a:lnTo>
                  <a:pt x="649" y="170"/>
                </a:lnTo>
                <a:lnTo>
                  <a:pt x="646" y="170"/>
                </a:lnTo>
                <a:lnTo>
                  <a:pt x="643" y="170"/>
                </a:lnTo>
                <a:lnTo>
                  <a:pt x="641" y="170"/>
                </a:lnTo>
                <a:lnTo>
                  <a:pt x="639" y="171"/>
                </a:lnTo>
                <a:lnTo>
                  <a:pt x="639" y="174"/>
                </a:lnTo>
                <a:lnTo>
                  <a:pt x="636" y="175"/>
                </a:lnTo>
                <a:lnTo>
                  <a:pt x="634" y="178"/>
                </a:lnTo>
                <a:lnTo>
                  <a:pt x="631" y="180"/>
                </a:lnTo>
                <a:lnTo>
                  <a:pt x="628" y="183"/>
                </a:lnTo>
                <a:lnTo>
                  <a:pt x="625" y="184"/>
                </a:lnTo>
                <a:lnTo>
                  <a:pt x="617" y="187"/>
                </a:lnTo>
                <a:lnTo>
                  <a:pt x="609" y="188"/>
                </a:lnTo>
                <a:lnTo>
                  <a:pt x="600" y="189"/>
                </a:lnTo>
                <a:lnTo>
                  <a:pt x="594" y="192"/>
                </a:lnTo>
                <a:lnTo>
                  <a:pt x="588" y="193"/>
                </a:lnTo>
                <a:lnTo>
                  <a:pt x="586" y="195"/>
                </a:lnTo>
                <a:lnTo>
                  <a:pt x="582" y="197"/>
                </a:lnTo>
                <a:lnTo>
                  <a:pt x="579" y="200"/>
                </a:lnTo>
                <a:lnTo>
                  <a:pt x="574" y="205"/>
                </a:lnTo>
                <a:lnTo>
                  <a:pt x="571" y="209"/>
                </a:lnTo>
                <a:lnTo>
                  <a:pt x="563" y="216"/>
                </a:lnTo>
                <a:lnTo>
                  <a:pt x="554" y="223"/>
                </a:lnTo>
                <a:lnTo>
                  <a:pt x="551" y="228"/>
                </a:lnTo>
                <a:lnTo>
                  <a:pt x="547" y="233"/>
                </a:lnTo>
                <a:lnTo>
                  <a:pt x="542" y="243"/>
                </a:lnTo>
                <a:lnTo>
                  <a:pt x="539" y="250"/>
                </a:lnTo>
                <a:lnTo>
                  <a:pt x="538" y="254"/>
                </a:lnTo>
                <a:lnTo>
                  <a:pt x="541" y="254"/>
                </a:lnTo>
                <a:lnTo>
                  <a:pt x="544" y="254"/>
                </a:lnTo>
                <a:lnTo>
                  <a:pt x="545" y="255"/>
                </a:lnTo>
                <a:lnTo>
                  <a:pt x="547" y="256"/>
                </a:lnTo>
                <a:lnTo>
                  <a:pt x="548" y="256"/>
                </a:lnTo>
                <a:lnTo>
                  <a:pt x="548" y="259"/>
                </a:lnTo>
                <a:lnTo>
                  <a:pt x="547" y="265"/>
                </a:lnTo>
                <a:lnTo>
                  <a:pt x="546" y="272"/>
                </a:lnTo>
                <a:lnTo>
                  <a:pt x="544" y="278"/>
                </a:lnTo>
                <a:lnTo>
                  <a:pt x="543" y="285"/>
                </a:lnTo>
                <a:lnTo>
                  <a:pt x="544" y="285"/>
                </a:lnTo>
                <a:lnTo>
                  <a:pt x="545" y="286"/>
                </a:lnTo>
                <a:lnTo>
                  <a:pt x="547" y="287"/>
                </a:lnTo>
                <a:lnTo>
                  <a:pt x="550" y="286"/>
                </a:lnTo>
                <a:lnTo>
                  <a:pt x="551" y="285"/>
                </a:lnTo>
                <a:lnTo>
                  <a:pt x="552" y="285"/>
                </a:lnTo>
                <a:lnTo>
                  <a:pt x="555" y="285"/>
                </a:lnTo>
                <a:lnTo>
                  <a:pt x="559" y="283"/>
                </a:lnTo>
                <a:lnTo>
                  <a:pt x="563" y="283"/>
                </a:lnTo>
                <a:lnTo>
                  <a:pt x="565" y="285"/>
                </a:lnTo>
                <a:lnTo>
                  <a:pt x="568" y="285"/>
                </a:lnTo>
                <a:lnTo>
                  <a:pt x="571" y="285"/>
                </a:lnTo>
                <a:lnTo>
                  <a:pt x="573" y="287"/>
                </a:lnTo>
                <a:lnTo>
                  <a:pt x="577" y="290"/>
                </a:lnTo>
                <a:lnTo>
                  <a:pt x="580" y="294"/>
                </a:lnTo>
                <a:lnTo>
                  <a:pt x="587" y="302"/>
                </a:lnTo>
                <a:lnTo>
                  <a:pt x="590" y="305"/>
                </a:lnTo>
                <a:lnTo>
                  <a:pt x="591" y="305"/>
                </a:lnTo>
                <a:lnTo>
                  <a:pt x="594" y="308"/>
                </a:lnTo>
                <a:lnTo>
                  <a:pt x="596" y="308"/>
                </a:lnTo>
                <a:lnTo>
                  <a:pt x="598" y="308"/>
                </a:lnTo>
                <a:lnTo>
                  <a:pt x="600" y="308"/>
                </a:lnTo>
                <a:lnTo>
                  <a:pt x="603" y="308"/>
                </a:lnTo>
                <a:lnTo>
                  <a:pt x="606" y="312"/>
                </a:lnTo>
                <a:lnTo>
                  <a:pt x="610" y="317"/>
                </a:lnTo>
                <a:lnTo>
                  <a:pt x="612" y="318"/>
                </a:lnTo>
                <a:lnTo>
                  <a:pt x="614" y="321"/>
                </a:lnTo>
                <a:lnTo>
                  <a:pt x="617" y="321"/>
                </a:lnTo>
                <a:lnTo>
                  <a:pt x="620" y="321"/>
                </a:lnTo>
                <a:lnTo>
                  <a:pt x="631" y="321"/>
                </a:lnTo>
                <a:lnTo>
                  <a:pt x="636" y="321"/>
                </a:lnTo>
                <a:lnTo>
                  <a:pt x="643" y="321"/>
                </a:lnTo>
                <a:lnTo>
                  <a:pt x="643" y="322"/>
                </a:lnTo>
                <a:lnTo>
                  <a:pt x="643" y="324"/>
                </a:lnTo>
                <a:lnTo>
                  <a:pt x="643" y="328"/>
                </a:lnTo>
                <a:lnTo>
                  <a:pt x="643" y="331"/>
                </a:lnTo>
                <a:lnTo>
                  <a:pt x="641" y="336"/>
                </a:lnTo>
                <a:lnTo>
                  <a:pt x="636" y="348"/>
                </a:lnTo>
                <a:lnTo>
                  <a:pt x="635" y="353"/>
                </a:lnTo>
                <a:lnTo>
                  <a:pt x="632" y="359"/>
                </a:lnTo>
                <a:lnTo>
                  <a:pt x="631" y="366"/>
                </a:lnTo>
                <a:lnTo>
                  <a:pt x="630" y="368"/>
                </a:lnTo>
                <a:lnTo>
                  <a:pt x="630" y="371"/>
                </a:lnTo>
                <a:lnTo>
                  <a:pt x="631" y="373"/>
                </a:lnTo>
                <a:lnTo>
                  <a:pt x="632" y="376"/>
                </a:lnTo>
                <a:lnTo>
                  <a:pt x="636" y="384"/>
                </a:lnTo>
                <a:lnTo>
                  <a:pt x="639" y="389"/>
                </a:lnTo>
                <a:lnTo>
                  <a:pt x="641" y="390"/>
                </a:lnTo>
                <a:lnTo>
                  <a:pt x="643" y="392"/>
                </a:lnTo>
                <a:lnTo>
                  <a:pt x="643" y="390"/>
                </a:lnTo>
                <a:lnTo>
                  <a:pt x="645" y="390"/>
                </a:lnTo>
                <a:lnTo>
                  <a:pt x="646" y="388"/>
                </a:lnTo>
                <a:lnTo>
                  <a:pt x="648" y="387"/>
                </a:lnTo>
                <a:lnTo>
                  <a:pt x="652" y="386"/>
                </a:lnTo>
                <a:lnTo>
                  <a:pt x="655" y="384"/>
                </a:lnTo>
                <a:lnTo>
                  <a:pt x="658" y="381"/>
                </a:lnTo>
                <a:lnTo>
                  <a:pt x="659" y="379"/>
                </a:lnTo>
                <a:lnTo>
                  <a:pt x="662" y="375"/>
                </a:lnTo>
                <a:lnTo>
                  <a:pt x="663" y="372"/>
                </a:lnTo>
                <a:lnTo>
                  <a:pt x="666" y="364"/>
                </a:lnTo>
                <a:lnTo>
                  <a:pt x="668" y="357"/>
                </a:lnTo>
                <a:lnTo>
                  <a:pt x="669" y="348"/>
                </a:lnTo>
                <a:lnTo>
                  <a:pt x="671" y="338"/>
                </a:lnTo>
                <a:lnTo>
                  <a:pt x="672" y="328"/>
                </a:lnTo>
                <a:lnTo>
                  <a:pt x="674" y="327"/>
                </a:lnTo>
                <a:lnTo>
                  <a:pt x="676" y="326"/>
                </a:lnTo>
                <a:lnTo>
                  <a:pt x="681" y="323"/>
                </a:lnTo>
                <a:lnTo>
                  <a:pt x="688" y="321"/>
                </a:lnTo>
                <a:lnTo>
                  <a:pt x="692" y="319"/>
                </a:lnTo>
                <a:lnTo>
                  <a:pt x="699" y="317"/>
                </a:lnTo>
                <a:lnTo>
                  <a:pt x="705" y="314"/>
                </a:lnTo>
                <a:lnTo>
                  <a:pt x="712" y="309"/>
                </a:lnTo>
                <a:lnTo>
                  <a:pt x="715" y="307"/>
                </a:lnTo>
                <a:lnTo>
                  <a:pt x="719" y="304"/>
                </a:lnTo>
                <a:lnTo>
                  <a:pt x="720" y="302"/>
                </a:lnTo>
                <a:lnTo>
                  <a:pt x="721" y="300"/>
                </a:lnTo>
                <a:lnTo>
                  <a:pt x="725" y="296"/>
                </a:lnTo>
                <a:lnTo>
                  <a:pt x="726" y="292"/>
                </a:lnTo>
                <a:lnTo>
                  <a:pt x="728" y="288"/>
                </a:lnTo>
                <a:lnTo>
                  <a:pt x="728" y="283"/>
                </a:lnTo>
                <a:lnTo>
                  <a:pt x="728" y="279"/>
                </a:lnTo>
                <a:lnTo>
                  <a:pt x="728" y="275"/>
                </a:lnTo>
                <a:lnTo>
                  <a:pt x="726" y="274"/>
                </a:lnTo>
                <a:lnTo>
                  <a:pt x="725" y="273"/>
                </a:lnTo>
                <a:lnTo>
                  <a:pt x="724" y="272"/>
                </a:lnTo>
                <a:lnTo>
                  <a:pt x="721" y="270"/>
                </a:lnTo>
                <a:lnTo>
                  <a:pt x="719" y="269"/>
                </a:lnTo>
                <a:lnTo>
                  <a:pt x="717" y="268"/>
                </a:lnTo>
                <a:lnTo>
                  <a:pt x="717" y="267"/>
                </a:lnTo>
                <a:lnTo>
                  <a:pt x="716" y="265"/>
                </a:lnTo>
                <a:lnTo>
                  <a:pt x="716" y="261"/>
                </a:lnTo>
                <a:lnTo>
                  <a:pt x="716" y="259"/>
                </a:lnTo>
                <a:lnTo>
                  <a:pt x="717" y="256"/>
                </a:lnTo>
                <a:lnTo>
                  <a:pt x="718" y="255"/>
                </a:lnTo>
                <a:lnTo>
                  <a:pt x="719" y="254"/>
                </a:lnTo>
                <a:lnTo>
                  <a:pt x="723" y="250"/>
                </a:lnTo>
                <a:lnTo>
                  <a:pt x="728" y="247"/>
                </a:lnTo>
                <a:lnTo>
                  <a:pt x="729" y="246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46" name="Freeform 250">
            <a:extLst>
              <a:ext uri="{FF2B5EF4-FFF2-40B4-BE49-F238E27FC236}">
                <a16:creationId xmlns:a16="http://schemas.microsoft.com/office/drawing/2014/main" id="{57641184-1CB9-84A0-6D9B-D29174CE9DB3}"/>
              </a:ext>
            </a:extLst>
          </p:cNvPr>
          <p:cNvSpPr>
            <a:spLocks/>
          </p:cNvSpPr>
          <p:nvPr/>
        </p:nvSpPr>
        <p:spPr bwMode="auto">
          <a:xfrm>
            <a:off x="4520575" y="3273271"/>
            <a:ext cx="66675" cy="38100"/>
          </a:xfrm>
          <a:custGeom>
            <a:avLst/>
            <a:gdLst>
              <a:gd name="T0" fmla="*/ 32 w 33"/>
              <a:gd name="T1" fmla="*/ 19 h 20"/>
              <a:gd name="T2" fmla="*/ 21 w 33"/>
              <a:gd name="T3" fmla="*/ 17 h 20"/>
              <a:gd name="T4" fmla="*/ 17 w 33"/>
              <a:gd name="T5" fmla="*/ 16 h 20"/>
              <a:gd name="T6" fmla="*/ 14 w 33"/>
              <a:gd name="T7" fmla="*/ 16 h 20"/>
              <a:gd name="T8" fmla="*/ 10 w 33"/>
              <a:gd name="T9" fmla="*/ 15 h 20"/>
              <a:gd name="T10" fmla="*/ 7 w 33"/>
              <a:gd name="T11" fmla="*/ 12 h 20"/>
              <a:gd name="T12" fmla="*/ 4 w 33"/>
              <a:gd name="T13" fmla="*/ 10 h 20"/>
              <a:gd name="T14" fmla="*/ 1 w 33"/>
              <a:gd name="T15" fmla="*/ 8 h 20"/>
              <a:gd name="T16" fmla="*/ 0 w 33"/>
              <a:gd name="T17" fmla="*/ 7 h 20"/>
              <a:gd name="T18" fmla="*/ 0 w 33"/>
              <a:gd name="T19" fmla="*/ 6 h 20"/>
              <a:gd name="T20" fmla="*/ 0 w 33"/>
              <a:gd name="T21" fmla="*/ 3 h 20"/>
              <a:gd name="T22" fmla="*/ 0 w 33"/>
              <a:gd name="T23" fmla="*/ 2 h 20"/>
              <a:gd name="T24" fmla="*/ 0 w 33"/>
              <a:gd name="T25" fmla="*/ 1 h 20"/>
              <a:gd name="T26" fmla="*/ 1 w 33"/>
              <a:gd name="T27" fmla="*/ 0 h 20"/>
              <a:gd name="T28" fmla="*/ 3 w 33"/>
              <a:gd name="T29" fmla="*/ 0 h 20"/>
              <a:gd name="T30" fmla="*/ 7 w 33"/>
              <a:gd name="T31" fmla="*/ 0 h 20"/>
              <a:gd name="T32" fmla="*/ 9 w 33"/>
              <a:gd name="T33" fmla="*/ 0 h 20"/>
              <a:gd name="T34" fmla="*/ 13 w 33"/>
              <a:gd name="T35" fmla="*/ 1 h 20"/>
              <a:gd name="T36" fmla="*/ 17 w 33"/>
              <a:gd name="T37" fmla="*/ 2 h 20"/>
              <a:gd name="T38" fmla="*/ 20 w 33"/>
              <a:gd name="T39" fmla="*/ 3 h 20"/>
              <a:gd name="T40" fmla="*/ 24 w 33"/>
              <a:gd name="T41" fmla="*/ 5 h 20"/>
              <a:gd name="T42" fmla="*/ 26 w 33"/>
              <a:gd name="T43" fmla="*/ 8 h 20"/>
              <a:gd name="T44" fmla="*/ 29 w 33"/>
              <a:gd name="T45" fmla="*/ 11 h 20"/>
              <a:gd name="T46" fmla="*/ 30 w 33"/>
              <a:gd name="T47" fmla="*/ 13 h 20"/>
              <a:gd name="T48" fmla="*/ 31 w 33"/>
              <a:gd name="T49" fmla="*/ 15 h 20"/>
              <a:gd name="T50" fmla="*/ 32 w 33"/>
              <a:gd name="T51" fmla="*/ 19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3" h="20">
                <a:moveTo>
                  <a:pt x="32" y="19"/>
                </a:moveTo>
                <a:lnTo>
                  <a:pt x="21" y="17"/>
                </a:lnTo>
                <a:lnTo>
                  <a:pt x="17" y="16"/>
                </a:lnTo>
                <a:lnTo>
                  <a:pt x="14" y="16"/>
                </a:lnTo>
                <a:lnTo>
                  <a:pt x="10" y="15"/>
                </a:lnTo>
                <a:lnTo>
                  <a:pt x="7" y="12"/>
                </a:lnTo>
                <a:lnTo>
                  <a:pt x="4" y="10"/>
                </a:lnTo>
                <a:lnTo>
                  <a:pt x="1" y="8"/>
                </a:lnTo>
                <a:lnTo>
                  <a:pt x="0" y="7"/>
                </a:lnTo>
                <a:lnTo>
                  <a:pt x="0" y="6"/>
                </a:lnTo>
                <a:lnTo>
                  <a:pt x="0" y="3"/>
                </a:lnTo>
                <a:lnTo>
                  <a:pt x="0" y="2"/>
                </a:lnTo>
                <a:lnTo>
                  <a:pt x="0" y="1"/>
                </a:lnTo>
                <a:lnTo>
                  <a:pt x="1" y="0"/>
                </a:lnTo>
                <a:lnTo>
                  <a:pt x="3" y="0"/>
                </a:lnTo>
                <a:lnTo>
                  <a:pt x="7" y="0"/>
                </a:lnTo>
                <a:lnTo>
                  <a:pt x="9" y="0"/>
                </a:lnTo>
                <a:lnTo>
                  <a:pt x="13" y="1"/>
                </a:lnTo>
                <a:lnTo>
                  <a:pt x="17" y="2"/>
                </a:lnTo>
                <a:lnTo>
                  <a:pt x="20" y="3"/>
                </a:lnTo>
                <a:lnTo>
                  <a:pt x="24" y="5"/>
                </a:lnTo>
                <a:lnTo>
                  <a:pt x="26" y="8"/>
                </a:lnTo>
                <a:lnTo>
                  <a:pt x="29" y="11"/>
                </a:lnTo>
                <a:lnTo>
                  <a:pt x="30" y="13"/>
                </a:lnTo>
                <a:lnTo>
                  <a:pt x="31" y="15"/>
                </a:lnTo>
                <a:lnTo>
                  <a:pt x="32" y="19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47" name="Freeform 251">
            <a:extLst>
              <a:ext uri="{FF2B5EF4-FFF2-40B4-BE49-F238E27FC236}">
                <a16:creationId xmlns:a16="http://schemas.microsoft.com/office/drawing/2014/main" id="{C8278CAC-39AA-6219-FC32-FA3D7BCE9BEF}"/>
              </a:ext>
            </a:extLst>
          </p:cNvPr>
          <p:cNvSpPr>
            <a:spLocks/>
          </p:cNvSpPr>
          <p:nvPr/>
        </p:nvSpPr>
        <p:spPr bwMode="auto">
          <a:xfrm>
            <a:off x="4634875" y="3219296"/>
            <a:ext cx="171450" cy="177800"/>
          </a:xfrm>
          <a:custGeom>
            <a:avLst/>
            <a:gdLst>
              <a:gd name="T0" fmla="*/ 62 w 85"/>
              <a:gd name="T1" fmla="*/ 77 h 95"/>
              <a:gd name="T2" fmla="*/ 53 w 85"/>
              <a:gd name="T3" fmla="*/ 82 h 95"/>
              <a:gd name="T4" fmla="*/ 45 w 85"/>
              <a:gd name="T5" fmla="*/ 87 h 95"/>
              <a:gd name="T6" fmla="*/ 40 w 85"/>
              <a:gd name="T7" fmla="*/ 86 h 95"/>
              <a:gd name="T8" fmla="*/ 42 w 85"/>
              <a:gd name="T9" fmla="*/ 78 h 95"/>
              <a:gd name="T10" fmla="*/ 36 w 85"/>
              <a:gd name="T11" fmla="*/ 74 h 95"/>
              <a:gd name="T12" fmla="*/ 4 w 85"/>
              <a:gd name="T13" fmla="*/ 74 h 95"/>
              <a:gd name="T14" fmla="*/ 0 w 85"/>
              <a:gd name="T15" fmla="*/ 72 h 95"/>
              <a:gd name="T16" fmla="*/ 1 w 85"/>
              <a:gd name="T17" fmla="*/ 67 h 95"/>
              <a:gd name="T18" fmla="*/ 6 w 85"/>
              <a:gd name="T19" fmla="*/ 60 h 95"/>
              <a:gd name="T20" fmla="*/ 11 w 85"/>
              <a:gd name="T21" fmla="*/ 52 h 95"/>
              <a:gd name="T22" fmla="*/ 18 w 85"/>
              <a:gd name="T23" fmla="*/ 49 h 95"/>
              <a:gd name="T24" fmla="*/ 22 w 85"/>
              <a:gd name="T25" fmla="*/ 37 h 95"/>
              <a:gd name="T26" fmla="*/ 28 w 85"/>
              <a:gd name="T27" fmla="*/ 31 h 95"/>
              <a:gd name="T28" fmla="*/ 33 w 85"/>
              <a:gd name="T29" fmla="*/ 27 h 95"/>
              <a:gd name="T30" fmla="*/ 45 w 85"/>
              <a:gd name="T31" fmla="*/ 13 h 95"/>
              <a:gd name="T32" fmla="*/ 57 w 85"/>
              <a:gd name="T33" fmla="*/ 1 h 95"/>
              <a:gd name="T34" fmla="*/ 65 w 85"/>
              <a:gd name="T35" fmla="*/ 0 h 95"/>
              <a:gd name="T36" fmla="*/ 62 w 85"/>
              <a:gd name="T37" fmla="*/ 4 h 95"/>
              <a:gd name="T38" fmla="*/ 52 w 85"/>
              <a:gd name="T39" fmla="*/ 18 h 95"/>
              <a:gd name="T40" fmla="*/ 46 w 85"/>
              <a:gd name="T41" fmla="*/ 30 h 95"/>
              <a:gd name="T42" fmla="*/ 49 w 85"/>
              <a:gd name="T43" fmla="*/ 27 h 95"/>
              <a:gd name="T44" fmla="*/ 55 w 85"/>
              <a:gd name="T45" fmla="*/ 31 h 95"/>
              <a:gd name="T46" fmla="*/ 58 w 85"/>
              <a:gd name="T47" fmla="*/ 34 h 95"/>
              <a:gd name="T48" fmla="*/ 59 w 85"/>
              <a:gd name="T49" fmla="*/ 44 h 95"/>
              <a:gd name="T50" fmla="*/ 62 w 85"/>
              <a:gd name="T51" fmla="*/ 44 h 95"/>
              <a:gd name="T52" fmla="*/ 68 w 85"/>
              <a:gd name="T53" fmla="*/ 39 h 95"/>
              <a:gd name="T54" fmla="*/ 77 w 85"/>
              <a:gd name="T55" fmla="*/ 41 h 95"/>
              <a:gd name="T56" fmla="*/ 80 w 85"/>
              <a:gd name="T57" fmla="*/ 45 h 95"/>
              <a:gd name="T58" fmla="*/ 76 w 85"/>
              <a:gd name="T59" fmla="*/ 50 h 95"/>
              <a:gd name="T60" fmla="*/ 71 w 85"/>
              <a:gd name="T61" fmla="*/ 53 h 95"/>
              <a:gd name="T62" fmla="*/ 75 w 85"/>
              <a:gd name="T63" fmla="*/ 54 h 95"/>
              <a:gd name="T64" fmla="*/ 80 w 85"/>
              <a:gd name="T65" fmla="*/ 55 h 95"/>
              <a:gd name="T66" fmla="*/ 83 w 85"/>
              <a:gd name="T67" fmla="*/ 60 h 95"/>
              <a:gd name="T68" fmla="*/ 76 w 85"/>
              <a:gd name="T69" fmla="*/ 69 h 95"/>
              <a:gd name="T70" fmla="*/ 73 w 85"/>
              <a:gd name="T71" fmla="*/ 74 h 95"/>
              <a:gd name="T72" fmla="*/ 80 w 85"/>
              <a:gd name="T73" fmla="*/ 72 h 95"/>
              <a:gd name="T74" fmla="*/ 81 w 85"/>
              <a:gd name="T75" fmla="*/ 77 h 95"/>
              <a:gd name="T76" fmla="*/ 71 w 85"/>
              <a:gd name="T77" fmla="*/ 94 h 95"/>
              <a:gd name="T78" fmla="*/ 66 w 85"/>
              <a:gd name="T79" fmla="*/ 92 h 95"/>
              <a:gd name="T80" fmla="*/ 68 w 85"/>
              <a:gd name="T81" fmla="*/ 86 h 95"/>
              <a:gd name="T82" fmla="*/ 63 w 85"/>
              <a:gd name="T83" fmla="*/ 87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85" h="95">
                <a:moveTo>
                  <a:pt x="66" y="79"/>
                </a:moveTo>
                <a:lnTo>
                  <a:pt x="64" y="78"/>
                </a:lnTo>
                <a:lnTo>
                  <a:pt x="62" y="77"/>
                </a:lnTo>
                <a:lnTo>
                  <a:pt x="59" y="78"/>
                </a:lnTo>
                <a:lnTo>
                  <a:pt x="56" y="80"/>
                </a:lnTo>
                <a:lnTo>
                  <a:pt x="53" y="82"/>
                </a:lnTo>
                <a:lnTo>
                  <a:pt x="50" y="83"/>
                </a:lnTo>
                <a:lnTo>
                  <a:pt x="48" y="86"/>
                </a:lnTo>
                <a:lnTo>
                  <a:pt x="45" y="87"/>
                </a:lnTo>
                <a:lnTo>
                  <a:pt x="42" y="89"/>
                </a:lnTo>
                <a:lnTo>
                  <a:pt x="39" y="87"/>
                </a:lnTo>
                <a:lnTo>
                  <a:pt x="40" y="86"/>
                </a:lnTo>
                <a:lnTo>
                  <a:pt x="41" y="83"/>
                </a:lnTo>
                <a:lnTo>
                  <a:pt x="44" y="80"/>
                </a:lnTo>
                <a:lnTo>
                  <a:pt x="42" y="78"/>
                </a:lnTo>
                <a:lnTo>
                  <a:pt x="40" y="76"/>
                </a:lnTo>
                <a:lnTo>
                  <a:pt x="39" y="76"/>
                </a:lnTo>
                <a:lnTo>
                  <a:pt x="36" y="74"/>
                </a:lnTo>
                <a:lnTo>
                  <a:pt x="10" y="74"/>
                </a:lnTo>
                <a:lnTo>
                  <a:pt x="7" y="76"/>
                </a:lnTo>
                <a:lnTo>
                  <a:pt x="4" y="74"/>
                </a:lnTo>
                <a:lnTo>
                  <a:pt x="2" y="74"/>
                </a:lnTo>
                <a:lnTo>
                  <a:pt x="0" y="73"/>
                </a:lnTo>
                <a:lnTo>
                  <a:pt x="0" y="72"/>
                </a:lnTo>
                <a:lnTo>
                  <a:pt x="0" y="69"/>
                </a:lnTo>
                <a:lnTo>
                  <a:pt x="0" y="68"/>
                </a:lnTo>
                <a:lnTo>
                  <a:pt x="1" y="67"/>
                </a:lnTo>
                <a:lnTo>
                  <a:pt x="4" y="66"/>
                </a:lnTo>
                <a:lnTo>
                  <a:pt x="5" y="65"/>
                </a:lnTo>
                <a:lnTo>
                  <a:pt x="6" y="60"/>
                </a:lnTo>
                <a:lnTo>
                  <a:pt x="6" y="57"/>
                </a:lnTo>
                <a:lnTo>
                  <a:pt x="9" y="54"/>
                </a:lnTo>
                <a:lnTo>
                  <a:pt x="11" y="52"/>
                </a:lnTo>
                <a:lnTo>
                  <a:pt x="14" y="50"/>
                </a:lnTo>
                <a:lnTo>
                  <a:pt x="18" y="50"/>
                </a:lnTo>
                <a:lnTo>
                  <a:pt x="18" y="49"/>
                </a:lnTo>
                <a:lnTo>
                  <a:pt x="18" y="47"/>
                </a:lnTo>
                <a:lnTo>
                  <a:pt x="20" y="42"/>
                </a:lnTo>
                <a:lnTo>
                  <a:pt x="22" y="37"/>
                </a:lnTo>
                <a:lnTo>
                  <a:pt x="24" y="33"/>
                </a:lnTo>
                <a:lnTo>
                  <a:pt x="26" y="31"/>
                </a:lnTo>
                <a:lnTo>
                  <a:pt x="28" y="31"/>
                </a:lnTo>
                <a:lnTo>
                  <a:pt x="29" y="30"/>
                </a:lnTo>
                <a:lnTo>
                  <a:pt x="31" y="28"/>
                </a:lnTo>
                <a:lnTo>
                  <a:pt x="33" y="27"/>
                </a:lnTo>
                <a:lnTo>
                  <a:pt x="35" y="24"/>
                </a:lnTo>
                <a:lnTo>
                  <a:pt x="39" y="21"/>
                </a:lnTo>
                <a:lnTo>
                  <a:pt x="45" y="13"/>
                </a:lnTo>
                <a:lnTo>
                  <a:pt x="49" y="8"/>
                </a:lnTo>
                <a:lnTo>
                  <a:pt x="52" y="4"/>
                </a:lnTo>
                <a:lnTo>
                  <a:pt x="57" y="1"/>
                </a:lnTo>
                <a:lnTo>
                  <a:pt x="59" y="0"/>
                </a:lnTo>
                <a:lnTo>
                  <a:pt x="62" y="0"/>
                </a:lnTo>
                <a:lnTo>
                  <a:pt x="65" y="0"/>
                </a:lnTo>
                <a:lnTo>
                  <a:pt x="65" y="3"/>
                </a:lnTo>
                <a:lnTo>
                  <a:pt x="63" y="3"/>
                </a:lnTo>
                <a:lnTo>
                  <a:pt x="62" y="4"/>
                </a:lnTo>
                <a:lnTo>
                  <a:pt x="62" y="7"/>
                </a:lnTo>
                <a:lnTo>
                  <a:pt x="58" y="12"/>
                </a:lnTo>
                <a:lnTo>
                  <a:pt x="52" y="18"/>
                </a:lnTo>
                <a:lnTo>
                  <a:pt x="48" y="24"/>
                </a:lnTo>
                <a:lnTo>
                  <a:pt x="46" y="27"/>
                </a:lnTo>
                <a:lnTo>
                  <a:pt x="46" y="30"/>
                </a:lnTo>
                <a:lnTo>
                  <a:pt x="46" y="31"/>
                </a:lnTo>
                <a:lnTo>
                  <a:pt x="49" y="31"/>
                </a:lnTo>
                <a:lnTo>
                  <a:pt x="49" y="27"/>
                </a:lnTo>
                <a:lnTo>
                  <a:pt x="51" y="26"/>
                </a:lnTo>
                <a:lnTo>
                  <a:pt x="55" y="26"/>
                </a:lnTo>
                <a:lnTo>
                  <a:pt x="55" y="31"/>
                </a:lnTo>
                <a:lnTo>
                  <a:pt x="56" y="32"/>
                </a:lnTo>
                <a:lnTo>
                  <a:pt x="57" y="33"/>
                </a:lnTo>
                <a:lnTo>
                  <a:pt x="58" y="34"/>
                </a:lnTo>
                <a:lnTo>
                  <a:pt x="59" y="38"/>
                </a:lnTo>
                <a:lnTo>
                  <a:pt x="59" y="41"/>
                </a:lnTo>
                <a:lnTo>
                  <a:pt x="59" y="44"/>
                </a:lnTo>
                <a:lnTo>
                  <a:pt x="61" y="44"/>
                </a:lnTo>
                <a:lnTo>
                  <a:pt x="62" y="45"/>
                </a:lnTo>
                <a:lnTo>
                  <a:pt x="62" y="44"/>
                </a:lnTo>
                <a:lnTo>
                  <a:pt x="63" y="44"/>
                </a:lnTo>
                <a:lnTo>
                  <a:pt x="65" y="41"/>
                </a:lnTo>
                <a:lnTo>
                  <a:pt x="68" y="39"/>
                </a:lnTo>
                <a:lnTo>
                  <a:pt x="70" y="38"/>
                </a:lnTo>
                <a:lnTo>
                  <a:pt x="73" y="39"/>
                </a:lnTo>
                <a:lnTo>
                  <a:pt x="77" y="41"/>
                </a:lnTo>
                <a:lnTo>
                  <a:pt x="80" y="42"/>
                </a:lnTo>
                <a:lnTo>
                  <a:pt x="80" y="44"/>
                </a:lnTo>
                <a:lnTo>
                  <a:pt x="80" y="45"/>
                </a:lnTo>
                <a:lnTo>
                  <a:pt x="80" y="46"/>
                </a:lnTo>
                <a:lnTo>
                  <a:pt x="79" y="47"/>
                </a:lnTo>
                <a:lnTo>
                  <a:pt x="76" y="50"/>
                </a:lnTo>
                <a:lnTo>
                  <a:pt x="73" y="51"/>
                </a:lnTo>
                <a:lnTo>
                  <a:pt x="71" y="52"/>
                </a:lnTo>
                <a:lnTo>
                  <a:pt x="71" y="53"/>
                </a:lnTo>
                <a:lnTo>
                  <a:pt x="71" y="54"/>
                </a:lnTo>
                <a:lnTo>
                  <a:pt x="73" y="54"/>
                </a:lnTo>
                <a:lnTo>
                  <a:pt x="75" y="54"/>
                </a:lnTo>
                <a:lnTo>
                  <a:pt x="77" y="54"/>
                </a:lnTo>
                <a:lnTo>
                  <a:pt x="80" y="53"/>
                </a:lnTo>
                <a:lnTo>
                  <a:pt x="80" y="55"/>
                </a:lnTo>
                <a:lnTo>
                  <a:pt x="77" y="59"/>
                </a:lnTo>
                <a:lnTo>
                  <a:pt x="77" y="60"/>
                </a:lnTo>
                <a:lnTo>
                  <a:pt x="83" y="60"/>
                </a:lnTo>
                <a:lnTo>
                  <a:pt x="81" y="63"/>
                </a:lnTo>
                <a:lnTo>
                  <a:pt x="79" y="67"/>
                </a:lnTo>
                <a:lnTo>
                  <a:pt x="76" y="69"/>
                </a:lnTo>
                <a:lnTo>
                  <a:pt x="74" y="71"/>
                </a:lnTo>
                <a:lnTo>
                  <a:pt x="73" y="72"/>
                </a:lnTo>
                <a:lnTo>
                  <a:pt x="73" y="74"/>
                </a:lnTo>
                <a:lnTo>
                  <a:pt x="76" y="74"/>
                </a:lnTo>
                <a:lnTo>
                  <a:pt x="79" y="73"/>
                </a:lnTo>
                <a:lnTo>
                  <a:pt x="80" y="72"/>
                </a:lnTo>
                <a:lnTo>
                  <a:pt x="81" y="72"/>
                </a:lnTo>
                <a:lnTo>
                  <a:pt x="84" y="72"/>
                </a:lnTo>
                <a:lnTo>
                  <a:pt x="81" y="77"/>
                </a:lnTo>
                <a:lnTo>
                  <a:pt x="77" y="85"/>
                </a:lnTo>
                <a:lnTo>
                  <a:pt x="73" y="91"/>
                </a:lnTo>
                <a:lnTo>
                  <a:pt x="71" y="94"/>
                </a:lnTo>
                <a:lnTo>
                  <a:pt x="70" y="94"/>
                </a:lnTo>
                <a:lnTo>
                  <a:pt x="67" y="94"/>
                </a:lnTo>
                <a:lnTo>
                  <a:pt x="66" y="92"/>
                </a:lnTo>
                <a:lnTo>
                  <a:pt x="66" y="90"/>
                </a:lnTo>
                <a:lnTo>
                  <a:pt x="66" y="89"/>
                </a:lnTo>
                <a:lnTo>
                  <a:pt x="68" y="86"/>
                </a:lnTo>
                <a:lnTo>
                  <a:pt x="70" y="83"/>
                </a:lnTo>
                <a:lnTo>
                  <a:pt x="65" y="87"/>
                </a:lnTo>
                <a:lnTo>
                  <a:pt x="63" y="87"/>
                </a:lnTo>
                <a:lnTo>
                  <a:pt x="62" y="87"/>
                </a:lnTo>
                <a:lnTo>
                  <a:pt x="66" y="79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48" name="Freeform 252">
            <a:extLst>
              <a:ext uri="{FF2B5EF4-FFF2-40B4-BE49-F238E27FC236}">
                <a16:creationId xmlns:a16="http://schemas.microsoft.com/office/drawing/2014/main" id="{D40ABE35-6369-A73C-82F6-23F9CC7075B2}"/>
              </a:ext>
            </a:extLst>
          </p:cNvPr>
          <p:cNvSpPr>
            <a:spLocks/>
          </p:cNvSpPr>
          <p:nvPr/>
        </p:nvSpPr>
        <p:spPr bwMode="auto">
          <a:xfrm>
            <a:off x="2107575" y="2579534"/>
            <a:ext cx="1057275" cy="544513"/>
          </a:xfrm>
          <a:custGeom>
            <a:avLst/>
            <a:gdLst>
              <a:gd name="T0" fmla="*/ 348 w 524"/>
              <a:gd name="T1" fmla="*/ 191 h 292"/>
              <a:gd name="T2" fmla="*/ 326 w 524"/>
              <a:gd name="T3" fmla="*/ 188 h 292"/>
              <a:gd name="T4" fmla="*/ 316 w 524"/>
              <a:gd name="T5" fmla="*/ 177 h 292"/>
              <a:gd name="T6" fmla="*/ 299 w 524"/>
              <a:gd name="T7" fmla="*/ 182 h 292"/>
              <a:gd name="T8" fmla="*/ 284 w 524"/>
              <a:gd name="T9" fmla="*/ 191 h 292"/>
              <a:gd name="T10" fmla="*/ 266 w 524"/>
              <a:gd name="T11" fmla="*/ 194 h 292"/>
              <a:gd name="T12" fmla="*/ 234 w 524"/>
              <a:gd name="T13" fmla="*/ 208 h 292"/>
              <a:gd name="T14" fmla="*/ 249 w 524"/>
              <a:gd name="T15" fmla="*/ 191 h 292"/>
              <a:gd name="T16" fmla="*/ 266 w 524"/>
              <a:gd name="T17" fmla="*/ 176 h 292"/>
              <a:gd name="T18" fmla="*/ 241 w 524"/>
              <a:gd name="T19" fmla="*/ 189 h 292"/>
              <a:gd name="T20" fmla="*/ 219 w 524"/>
              <a:gd name="T21" fmla="*/ 201 h 292"/>
              <a:gd name="T22" fmla="*/ 207 w 524"/>
              <a:gd name="T23" fmla="*/ 209 h 292"/>
              <a:gd name="T24" fmla="*/ 196 w 524"/>
              <a:gd name="T25" fmla="*/ 221 h 292"/>
              <a:gd name="T26" fmla="*/ 177 w 524"/>
              <a:gd name="T27" fmla="*/ 226 h 292"/>
              <a:gd name="T28" fmla="*/ 152 w 524"/>
              <a:gd name="T29" fmla="*/ 236 h 292"/>
              <a:gd name="T30" fmla="*/ 129 w 524"/>
              <a:gd name="T31" fmla="*/ 248 h 292"/>
              <a:gd name="T32" fmla="*/ 88 w 524"/>
              <a:gd name="T33" fmla="*/ 263 h 292"/>
              <a:gd name="T34" fmla="*/ 57 w 524"/>
              <a:gd name="T35" fmla="*/ 275 h 292"/>
              <a:gd name="T36" fmla="*/ 32 w 524"/>
              <a:gd name="T37" fmla="*/ 282 h 292"/>
              <a:gd name="T38" fmla="*/ 7 w 524"/>
              <a:gd name="T39" fmla="*/ 291 h 292"/>
              <a:gd name="T40" fmla="*/ 13 w 524"/>
              <a:gd name="T41" fmla="*/ 282 h 292"/>
              <a:gd name="T42" fmla="*/ 53 w 524"/>
              <a:gd name="T43" fmla="*/ 267 h 292"/>
              <a:gd name="T44" fmla="*/ 75 w 524"/>
              <a:gd name="T45" fmla="*/ 265 h 292"/>
              <a:gd name="T46" fmla="*/ 89 w 524"/>
              <a:gd name="T47" fmla="*/ 254 h 292"/>
              <a:gd name="T48" fmla="*/ 116 w 524"/>
              <a:gd name="T49" fmla="*/ 244 h 292"/>
              <a:gd name="T50" fmla="*/ 148 w 524"/>
              <a:gd name="T51" fmla="*/ 216 h 292"/>
              <a:gd name="T52" fmla="*/ 132 w 524"/>
              <a:gd name="T53" fmla="*/ 214 h 292"/>
              <a:gd name="T54" fmla="*/ 129 w 524"/>
              <a:gd name="T55" fmla="*/ 209 h 292"/>
              <a:gd name="T56" fmla="*/ 120 w 524"/>
              <a:gd name="T57" fmla="*/ 212 h 292"/>
              <a:gd name="T58" fmla="*/ 104 w 524"/>
              <a:gd name="T59" fmla="*/ 214 h 292"/>
              <a:gd name="T60" fmla="*/ 119 w 524"/>
              <a:gd name="T61" fmla="*/ 199 h 292"/>
              <a:gd name="T62" fmla="*/ 119 w 524"/>
              <a:gd name="T63" fmla="*/ 194 h 292"/>
              <a:gd name="T64" fmla="*/ 105 w 524"/>
              <a:gd name="T65" fmla="*/ 194 h 292"/>
              <a:gd name="T66" fmla="*/ 101 w 524"/>
              <a:gd name="T67" fmla="*/ 185 h 292"/>
              <a:gd name="T68" fmla="*/ 138 w 524"/>
              <a:gd name="T69" fmla="*/ 133 h 292"/>
              <a:gd name="T70" fmla="*/ 151 w 524"/>
              <a:gd name="T71" fmla="*/ 137 h 292"/>
              <a:gd name="T72" fmla="*/ 187 w 524"/>
              <a:gd name="T73" fmla="*/ 132 h 292"/>
              <a:gd name="T74" fmla="*/ 213 w 524"/>
              <a:gd name="T75" fmla="*/ 120 h 292"/>
              <a:gd name="T76" fmla="*/ 223 w 524"/>
              <a:gd name="T77" fmla="*/ 109 h 292"/>
              <a:gd name="T78" fmla="*/ 206 w 524"/>
              <a:gd name="T79" fmla="*/ 115 h 292"/>
              <a:gd name="T80" fmla="*/ 191 w 524"/>
              <a:gd name="T81" fmla="*/ 115 h 292"/>
              <a:gd name="T82" fmla="*/ 210 w 524"/>
              <a:gd name="T83" fmla="*/ 70 h 292"/>
              <a:gd name="T84" fmla="*/ 228 w 524"/>
              <a:gd name="T85" fmla="*/ 80 h 292"/>
              <a:gd name="T86" fmla="*/ 233 w 524"/>
              <a:gd name="T87" fmla="*/ 84 h 292"/>
              <a:gd name="T88" fmla="*/ 245 w 524"/>
              <a:gd name="T89" fmla="*/ 82 h 292"/>
              <a:gd name="T90" fmla="*/ 244 w 524"/>
              <a:gd name="T91" fmla="*/ 71 h 292"/>
              <a:gd name="T92" fmla="*/ 241 w 524"/>
              <a:gd name="T93" fmla="*/ 61 h 292"/>
              <a:gd name="T94" fmla="*/ 240 w 524"/>
              <a:gd name="T95" fmla="*/ 52 h 292"/>
              <a:gd name="T96" fmla="*/ 259 w 524"/>
              <a:gd name="T97" fmla="*/ 39 h 292"/>
              <a:gd name="T98" fmla="*/ 276 w 524"/>
              <a:gd name="T99" fmla="*/ 39 h 292"/>
              <a:gd name="T100" fmla="*/ 296 w 524"/>
              <a:gd name="T101" fmla="*/ 28 h 292"/>
              <a:gd name="T102" fmla="*/ 338 w 524"/>
              <a:gd name="T103" fmla="*/ 12 h 292"/>
              <a:gd name="T104" fmla="*/ 381 w 524"/>
              <a:gd name="T105" fmla="*/ 1 h 292"/>
              <a:gd name="T106" fmla="*/ 405 w 524"/>
              <a:gd name="T107" fmla="*/ 1 h 292"/>
              <a:gd name="T108" fmla="*/ 430 w 524"/>
              <a:gd name="T109" fmla="*/ 6 h 292"/>
              <a:gd name="T110" fmla="*/ 464 w 524"/>
              <a:gd name="T111" fmla="*/ 12 h 292"/>
              <a:gd name="T112" fmla="*/ 473 w 524"/>
              <a:gd name="T113" fmla="*/ 16 h 292"/>
              <a:gd name="T114" fmla="*/ 505 w 524"/>
              <a:gd name="T115" fmla="*/ 19 h 292"/>
              <a:gd name="T116" fmla="*/ 365 w 524"/>
              <a:gd name="T117" fmla="*/ 185 h 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24" h="292">
                <a:moveTo>
                  <a:pt x="365" y="185"/>
                </a:moveTo>
                <a:lnTo>
                  <a:pt x="361" y="188"/>
                </a:lnTo>
                <a:lnTo>
                  <a:pt x="355" y="190"/>
                </a:lnTo>
                <a:lnTo>
                  <a:pt x="348" y="191"/>
                </a:lnTo>
                <a:lnTo>
                  <a:pt x="342" y="191"/>
                </a:lnTo>
                <a:lnTo>
                  <a:pt x="335" y="191"/>
                </a:lnTo>
                <a:lnTo>
                  <a:pt x="330" y="190"/>
                </a:lnTo>
                <a:lnTo>
                  <a:pt x="326" y="188"/>
                </a:lnTo>
                <a:lnTo>
                  <a:pt x="323" y="186"/>
                </a:lnTo>
                <a:lnTo>
                  <a:pt x="320" y="183"/>
                </a:lnTo>
                <a:lnTo>
                  <a:pt x="317" y="180"/>
                </a:lnTo>
                <a:lnTo>
                  <a:pt x="316" y="177"/>
                </a:lnTo>
                <a:lnTo>
                  <a:pt x="316" y="175"/>
                </a:lnTo>
                <a:lnTo>
                  <a:pt x="309" y="175"/>
                </a:lnTo>
                <a:lnTo>
                  <a:pt x="302" y="180"/>
                </a:lnTo>
                <a:lnTo>
                  <a:pt x="299" y="182"/>
                </a:lnTo>
                <a:lnTo>
                  <a:pt x="296" y="185"/>
                </a:lnTo>
                <a:lnTo>
                  <a:pt x="292" y="188"/>
                </a:lnTo>
                <a:lnTo>
                  <a:pt x="288" y="190"/>
                </a:lnTo>
                <a:lnTo>
                  <a:pt x="284" y="191"/>
                </a:lnTo>
                <a:lnTo>
                  <a:pt x="279" y="191"/>
                </a:lnTo>
                <a:lnTo>
                  <a:pt x="275" y="191"/>
                </a:lnTo>
                <a:lnTo>
                  <a:pt x="270" y="192"/>
                </a:lnTo>
                <a:lnTo>
                  <a:pt x="266" y="194"/>
                </a:lnTo>
                <a:lnTo>
                  <a:pt x="263" y="195"/>
                </a:lnTo>
                <a:lnTo>
                  <a:pt x="254" y="200"/>
                </a:lnTo>
                <a:lnTo>
                  <a:pt x="246" y="208"/>
                </a:lnTo>
                <a:lnTo>
                  <a:pt x="234" y="208"/>
                </a:lnTo>
                <a:lnTo>
                  <a:pt x="237" y="201"/>
                </a:lnTo>
                <a:lnTo>
                  <a:pt x="241" y="197"/>
                </a:lnTo>
                <a:lnTo>
                  <a:pt x="245" y="194"/>
                </a:lnTo>
                <a:lnTo>
                  <a:pt x="249" y="191"/>
                </a:lnTo>
                <a:lnTo>
                  <a:pt x="259" y="185"/>
                </a:lnTo>
                <a:lnTo>
                  <a:pt x="263" y="181"/>
                </a:lnTo>
                <a:lnTo>
                  <a:pt x="268" y="176"/>
                </a:lnTo>
                <a:lnTo>
                  <a:pt x="266" y="176"/>
                </a:lnTo>
                <a:lnTo>
                  <a:pt x="262" y="177"/>
                </a:lnTo>
                <a:lnTo>
                  <a:pt x="255" y="180"/>
                </a:lnTo>
                <a:lnTo>
                  <a:pt x="249" y="185"/>
                </a:lnTo>
                <a:lnTo>
                  <a:pt x="241" y="189"/>
                </a:lnTo>
                <a:lnTo>
                  <a:pt x="235" y="194"/>
                </a:lnTo>
                <a:lnTo>
                  <a:pt x="228" y="197"/>
                </a:lnTo>
                <a:lnTo>
                  <a:pt x="222" y="200"/>
                </a:lnTo>
                <a:lnTo>
                  <a:pt x="219" y="201"/>
                </a:lnTo>
                <a:lnTo>
                  <a:pt x="217" y="201"/>
                </a:lnTo>
                <a:lnTo>
                  <a:pt x="213" y="201"/>
                </a:lnTo>
                <a:lnTo>
                  <a:pt x="212" y="204"/>
                </a:lnTo>
                <a:lnTo>
                  <a:pt x="207" y="209"/>
                </a:lnTo>
                <a:lnTo>
                  <a:pt x="203" y="214"/>
                </a:lnTo>
                <a:lnTo>
                  <a:pt x="201" y="217"/>
                </a:lnTo>
                <a:lnTo>
                  <a:pt x="200" y="218"/>
                </a:lnTo>
                <a:lnTo>
                  <a:pt x="196" y="221"/>
                </a:lnTo>
                <a:lnTo>
                  <a:pt x="191" y="222"/>
                </a:lnTo>
                <a:lnTo>
                  <a:pt x="187" y="224"/>
                </a:lnTo>
                <a:lnTo>
                  <a:pt x="182" y="225"/>
                </a:lnTo>
                <a:lnTo>
                  <a:pt x="177" y="226"/>
                </a:lnTo>
                <a:lnTo>
                  <a:pt x="166" y="228"/>
                </a:lnTo>
                <a:lnTo>
                  <a:pt x="161" y="231"/>
                </a:lnTo>
                <a:lnTo>
                  <a:pt x="156" y="234"/>
                </a:lnTo>
                <a:lnTo>
                  <a:pt x="152" y="236"/>
                </a:lnTo>
                <a:lnTo>
                  <a:pt x="148" y="240"/>
                </a:lnTo>
                <a:lnTo>
                  <a:pt x="145" y="243"/>
                </a:lnTo>
                <a:lnTo>
                  <a:pt x="139" y="244"/>
                </a:lnTo>
                <a:lnTo>
                  <a:pt x="129" y="248"/>
                </a:lnTo>
                <a:lnTo>
                  <a:pt x="119" y="250"/>
                </a:lnTo>
                <a:lnTo>
                  <a:pt x="109" y="254"/>
                </a:lnTo>
                <a:lnTo>
                  <a:pt x="98" y="258"/>
                </a:lnTo>
                <a:lnTo>
                  <a:pt x="88" y="263"/>
                </a:lnTo>
                <a:lnTo>
                  <a:pt x="78" y="267"/>
                </a:lnTo>
                <a:lnTo>
                  <a:pt x="59" y="279"/>
                </a:lnTo>
                <a:lnTo>
                  <a:pt x="58" y="277"/>
                </a:lnTo>
                <a:lnTo>
                  <a:pt x="57" y="275"/>
                </a:lnTo>
                <a:lnTo>
                  <a:pt x="55" y="274"/>
                </a:lnTo>
                <a:lnTo>
                  <a:pt x="49" y="275"/>
                </a:lnTo>
                <a:lnTo>
                  <a:pt x="43" y="277"/>
                </a:lnTo>
                <a:lnTo>
                  <a:pt x="32" y="282"/>
                </a:lnTo>
                <a:lnTo>
                  <a:pt x="26" y="285"/>
                </a:lnTo>
                <a:lnTo>
                  <a:pt x="19" y="288"/>
                </a:lnTo>
                <a:lnTo>
                  <a:pt x="13" y="290"/>
                </a:lnTo>
                <a:lnTo>
                  <a:pt x="7" y="291"/>
                </a:lnTo>
                <a:lnTo>
                  <a:pt x="0" y="291"/>
                </a:lnTo>
                <a:lnTo>
                  <a:pt x="3" y="288"/>
                </a:lnTo>
                <a:lnTo>
                  <a:pt x="5" y="286"/>
                </a:lnTo>
                <a:lnTo>
                  <a:pt x="13" y="282"/>
                </a:lnTo>
                <a:lnTo>
                  <a:pt x="23" y="277"/>
                </a:lnTo>
                <a:lnTo>
                  <a:pt x="34" y="274"/>
                </a:lnTo>
                <a:lnTo>
                  <a:pt x="44" y="271"/>
                </a:lnTo>
                <a:lnTo>
                  <a:pt x="53" y="267"/>
                </a:lnTo>
                <a:lnTo>
                  <a:pt x="62" y="266"/>
                </a:lnTo>
                <a:lnTo>
                  <a:pt x="68" y="266"/>
                </a:lnTo>
                <a:lnTo>
                  <a:pt x="72" y="266"/>
                </a:lnTo>
                <a:lnTo>
                  <a:pt x="75" y="265"/>
                </a:lnTo>
                <a:lnTo>
                  <a:pt x="77" y="264"/>
                </a:lnTo>
                <a:lnTo>
                  <a:pt x="81" y="259"/>
                </a:lnTo>
                <a:lnTo>
                  <a:pt x="87" y="254"/>
                </a:lnTo>
                <a:lnTo>
                  <a:pt x="89" y="254"/>
                </a:lnTo>
                <a:lnTo>
                  <a:pt x="92" y="253"/>
                </a:lnTo>
                <a:lnTo>
                  <a:pt x="101" y="250"/>
                </a:lnTo>
                <a:lnTo>
                  <a:pt x="109" y="248"/>
                </a:lnTo>
                <a:lnTo>
                  <a:pt x="116" y="244"/>
                </a:lnTo>
                <a:lnTo>
                  <a:pt x="123" y="240"/>
                </a:lnTo>
                <a:lnTo>
                  <a:pt x="137" y="231"/>
                </a:lnTo>
                <a:lnTo>
                  <a:pt x="151" y="221"/>
                </a:lnTo>
                <a:lnTo>
                  <a:pt x="148" y="216"/>
                </a:lnTo>
                <a:lnTo>
                  <a:pt x="146" y="212"/>
                </a:lnTo>
                <a:lnTo>
                  <a:pt x="139" y="218"/>
                </a:lnTo>
                <a:lnTo>
                  <a:pt x="132" y="218"/>
                </a:lnTo>
                <a:lnTo>
                  <a:pt x="132" y="214"/>
                </a:lnTo>
                <a:lnTo>
                  <a:pt x="132" y="212"/>
                </a:lnTo>
                <a:lnTo>
                  <a:pt x="131" y="210"/>
                </a:lnTo>
                <a:lnTo>
                  <a:pt x="130" y="209"/>
                </a:lnTo>
                <a:lnTo>
                  <a:pt x="129" y="209"/>
                </a:lnTo>
                <a:lnTo>
                  <a:pt x="128" y="208"/>
                </a:lnTo>
                <a:lnTo>
                  <a:pt x="124" y="209"/>
                </a:lnTo>
                <a:lnTo>
                  <a:pt x="123" y="209"/>
                </a:lnTo>
                <a:lnTo>
                  <a:pt x="120" y="212"/>
                </a:lnTo>
                <a:lnTo>
                  <a:pt x="116" y="214"/>
                </a:lnTo>
                <a:lnTo>
                  <a:pt x="111" y="218"/>
                </a:lnTo>
                <a:lnTo>
                  <a:pt x="102" y="218"/>
                </a:lnTo>
                <a:lnTo>
                  <a:pt x="104" y="214"/>
                </a:lnTo>
                <a:lnTo>
                  <a:pt x="107" y="211"/>
                </a:lnTo>
                <a:lnTo>
                  <a:pt x="114" y="205"/>
                </a:lnTo>
                <a:lnTo>
                  <a:pt x="116" y="203"/>
                </a:lnTo>
                <a:lnTo>
                  <a:pt x="119" y="199"/>
                </a:lnTo>
                <a:lnTo>
                  <a:pt x="121" y="196"/>
                </a:lnTo>
                <a:lnTo>
                  <a:pt x="121" y="195"/>
                </a:lnTo>
                <a:lnTo>
                  <a:pt x="121" y="194"/>
                </a:lnTo>
                <a:lnTo>
                  <a:pt x="119" y="194"/>
                </a:lnTo>
                <a:lnTo>
                  <a:pt x="115" y="194"/>
                </a:lnTo>
                <a:lnTo>
                  <a:pt x="111" y="194"/>
                </a:lnTo>
                <a:lnTo>
                  <a:pt x="108" y="195"/>
                </a:lnTo>
                <a:lnTo>
                  <a:pt x="105" y="194"/>
                </a:lnTo>
                <a:lnTo>
                  <a:pt x="103" y="192"/>
                </a:lnTo>
                <a:lnTo>
                  <a:pt x="102" y="191"/>
                </a:lnTo>
                <a:lnTo>
                  <a:pt x="101" y="189"/>
                </a:lnTo>
                <a:lnTo>
                  <a:pt x="101" y="185"/>
                </a:lnTo>
                <a:lnTo>
                  <a:pt x="101" y="176"/>
                </a:lnTo>
                <a:lnTo>
                  <a:pt x="101" y="171"/>
                </a:lnTo>
                <a:lnTo>
                  <a:pt x="101" y="168"/>
                </a:lnTo>
                <a:lnTo>
                  <a:pt x="138" y="133"/>
                </a:lnTo>
                <a:lnTo>
                  <a:pt x="139" y="135"/>
                </a:lnTo>
                <a:lnTo>
                  <a:pt x="142" y="136"/>
                </a:lnTo>
                <a:lnTo>
                  <a:pt x="146" y="137"/>
                </a:lnTo>
                <a:lnTo>
                  <a:pt x="151" y="137"/>
                </a:lnTo>
                <a:lnTo>
                  <a:pt x="160" y="136"/>
                </a:lnTo>
                <a:lnTo>
                  <a:pt x="171" y="135"/>
                </a:lnTo>
                <a:lnTo>
                  <a:pt x="182" y="133"/>
                </a:lnTo>
                <a:lnTo>
                  <a:pt x="187" y="132"/>
                </a:lnTo>
                <a:lnTo>
                  <a:pt x="193" y="129"/>
                </a:lnTo>
                <a:lnTo>
                  <a:pt x="199" y="128"/>
                </a:lnTo>
                <a:lnTo>
                  <a:pt x="203" y="126"/>
                </a:lnTo>
                <a:lnTo>
                  <a:pt x="213" y="120"/>
                </a:lnTo>
                <a:lnTo>
                  <a:pt x="217" y="118"/>
                </a:lnTo>
                <a:lnTo>
                  <a:pt x="220" y="115"/>
                </a:lnTo>
                <a:lnTo>
                  <a:pt x="222" y="111"/>
                </a:lnTo>
                <a:lnTo>
                  <a:pt x="223" y="109"/>
                </a:lnTo>
                <a:lnTo>
                  <a:pt x="223" y="107"/>
                </a:lnTo>
                <a:lnTo>
                  <a:pt x="218" y="110"/>
                </a:lnTo>
                <a:lnTo>
                  <a:pt x="212" y="112"/>
                </a:lnTo>
                <a:lnTo>
                  <a:pt x="206" y="115"/>
                </a:lnTo>
                <a:lnTo>
                  <a:pt x="203" y="115"/>
                </a:lnTo>
                <a:lnTo>
                  <a:pt x="200" y="115"/>
                </a:lnTo>
                <a:lnTo>
                  <a:pt x="196" y="115"/>
                </a:lnTo>
                <a:lnTo>
                  <a:pt x="191" y="115"/>
                </a:lnTo>
                <a:lnTo>
                  <a:pt x="183" y="112"/>
                </a:lnTo>
                <a:lnTo>
                  <a:pt x="167" y="106"/>
                </a:lnTo>
                <a:lnTo>
                  <a:pt x="190" y="88"/>
                </a:lnTo>
                <a:lnTo>
                  <a:pt x="210" y="70"/>
                </a:lnTo>
                <a:lnTo>
                  <a:pt x="219" y="74"/>
                </a:lnTo>
                <a:lnTo>
                  <a:pt x="223" y="75"/>
                </a:lnTo>
                <a:lnTo>
                  <a:pt x="228" y="76"/>
                </a:lnTo>
                <a:lnTo>
                  <a:pt x="228" y="80"/>
                </a:lnTo>
                <a:lnTo>
                  <a:pt x="230" y="82"/>
                </a:lnTo>
                <a:lnTo>
                  <a:pt x="230" y="83"/>
                </a:lnTo>
                <a:lnTo>
                  <a:pt x="231" y="83"/>
                </a:lnTo>
                <a:lnTo>
                  <a:pt x="233" y="84"/>
                </a:lnTo>
                <a:lnTo>
                  <a:pt x="237" y="84"/>
                </a:lnTo>
                <a:lnTo>
                  <a:pt x="242" y="84"/>
                </a:lnTo>
                <a:lnTo>
                  <a:pt x="244" y="83"/>
                </a:lnTo>
                <a:lnTo>
                  <a:pt x="245" y="82"/>
                </a:lnTo>
                <a:lnTo>
                  <a:pt x="246" y="79"/>
                </a:lnTo>
                <a:lnTo>
                  <a:pt x="248" y="73"/>
                </a:lnTo>
                <a:lnTo>
                  <a:pt x="246" y="72"/>
                </a:lnTo>
                <a:lnTo>
                  <a:pt x="244" y="71"/>
                </a:lnTo>
                <a:lnTo>
                  <a:pt x="242" y="69"/>
                </a:lnTo>
                <a:lnTo>
                  <a:pt x="241" y="69"/>
                </a:lnTo>
                <a:lnTo>
                  <a:pt x="241" y="66"/>
                </a:lnTo>
                <a:lnTo>
                  <a:pt x="241" y="61"/>
                </a:lnTo>
                <a:lnTo>
                  <a:pt x="240" y="60"/>
                </a:lnTo>
                <a:lnTo>
                  <a:pt x="240" y="59"/>
                </a:lnTo>
                <a:lnTo>
                  <a:pt x="240" y="56"/>
                </a:lnTo>
                <a:lnTo>
                  <a:pt x="240" y="52"/>
                </a:lnTo>
                <a:lnTo>
                  <a:pt x="240" y="47"/>
                </a:lnTo>
                <a:lnTo>
                  <a:pt x="254" y="37"/>
                </a:lnTo>
                <a:lnTo>
                  <a:pt x="257" y="38"/>
                </a:lnTo>
                <a:lnTo>
                  <a:pt x="259" y="39"/>
                </a:lnTo>
                <a:lnTo>
                  <a:pt x="263" y="39"/>
                </a:lnTo>
                <a:lnTo>
                  <a:pt x="266" y="39"/>
                </a:lnTo>
                <a:lnTo>
                  <a:pt x="273" y="39"/>
                </a:lnTo>
                <a:lnTo>
                  <a:pt x="276" y="39"/>
                </a:lnTo>
                <a:lnTo>
                  <a:pt x="277" y="38"/>
                </a:lnTo>
                <a:lnTo>
                  <a:pt x="283" y="36"/>
                </a:lnTo>
                <a:lnTo>
                  <a:pt x="286" y="33"/>
                </a:lnTo>
                <a:lnTo>
                  <a:pt x="296" y="28"/>
                </a:lnTo>
                <a:lnTo>
                  <a:pt x="299" y="25"/>
                </a:lnTo>
                <a:lnTo>
                  <a:pt x="304" y="23"/>
                </a:lnTo>
                <a:lnTo>
                  <a:pt x="325" y="16"/>
                </a:lnTo>
                <a:lnTo>
                  <a:pt x="338" y="12"/>
                </a:lnTo>
                <a:lnTo>
                  <a:pt x="351" y="8"/>
                </a:lnTo>
                <a:lnTo>
                  <a:pt x="364" y="4"/>
                </a:lnTo>
                <a:lnTo>
                  <a:pt x="375" y="2"/>
                </a:lnTo>
                <a:lnTo>
                  <a:pt x="381" y="1"/>
                </a:lnTo>
                <a:lnTo>
                  <a:pt x="387" y="1"/>
                </a:lnTo>
                <a:lnTo>
                  <a:pt x="398" y="0"/>
                </a:lnTo>
                <a:lnTo>
                  <a:pt x="401" y="0"/>
                </a:lnTo>
                <a:lnTo>
                  <a:pt x="405" y="1"/>
                </a:lnTo>
                <a:lnTo>
                  <a:pt x="413" y="3"/>
                </a:lnTo>
                <a:lnTo>
                  <a:pt x="421" y="4"/>
                </a:lnTo>
                <a:lnTo>
                  <a:pt x="426" y="6"/>
                </a:lnTo>
                <a:lnTo>
                  <a:pt x="430" y="6"/>
                </a:lnTo>
                <a:lnTo>
                  <a:pt x="431" y="8"/>
                </a:lnTo>
                <a:lnTo>
                  <a:pt x="432" y="10"/>
                </a:lnTo>
                <a:lnTo>
                  <a:pt x="435" y="12"/>
                </a:lnTo>
                <a:lnTo>
                  <a:pt x="464" y="12"/>
                </a:lnTo>
                <a:lnTo>
                  <a:pt x="467" y="14"/>
                </a:lnTo>
                <a:lnTo>
                  <a:pt x="469" y="15"/>
                </a:lnTo>
                <a:lnTo>
                  <a:pt x="471" y="16"/>
                </a:lnTo>
                <a:lnTo>
                  <a:pt x="473" y="16"/>
                </a:lnTo>
                <a:lnTo>
                  <a:pt x="480" y="17"/>
                </a:lnTo>
                <a:lnTo>
                  <a:pt x="486" y="17"/>
                </a:lnTo>
                <a:lnTo>
                  <a:pt x="499" y="17"/>
                </a:lnTo>
                <a:lnTo>
                  <a:pt x="505" y="19"/>
                </a:lnTo>
                <a:lnTo>
                  <a:pt x="511" y="20"/>
                </a:lnTo>
                <a:lnTo>
                  <a:pt x="523" y="19"/>
                </a:lnTo>
                <a:lnTo>
                  <a:pt x="366" y="187"/>
                </a:lnTo>
                <a:lnTo>
                  <a:pt x="365" y="185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49" name="Freeform 253">
            <a:extLst>
              <a:ext uri="{FF2B5EF4-FFF2-40B4-BE49-F238E27FC236}">
                <a16:creationId xmlns:a16="http://schemas.microsoft.com/office/drawing/2014/main" id="{50170E9F-A053-2509-1585-84E6F7E50B7D}"/>
              </a:ext>
            </a:extLst>
          </p:cNvPr>
          <p:cNvSpPr>
            <a:spLocks/>
          </p:cNvSpPr>
          <p:nvPr/>
        </p:nvSpPr>
        <p:spPr bwMode="auto">
          <a:xfrm>
            <a:off x="3574425" y="2484284"/>
            <a:ext cx="263525" cy="112713"/>
          </a:xfrm>
          <a:custGeom>
            <a:avLst/>
            <a:gdLst>
              <a:gd name="T0" fmla="*/ 0 w 130"/>
              <a:gd name="T1" fmla="*/ 41 h 60"/>
              <a:gd name="T2" fmla="*/ 6 w 130"/>
              <a:gd name="T3" fmla="*/ 40 h 60"/>
              <a:gd name="T4" fmla="*/ 11 w 130"/>
              <a:gd name="T5" fmla="*/ 41 h 60"/>
              <a:gd name="T6" fmla="*/ 13 w 130"/>
              <a:gd name="T7" fmla="*/ 43 h 60"/>
              <a:gd name="T8" fmla="*/ 16 w 130"/>
              <a:gd name="T9" fmla="*/ 47 h 60"/>
              <a:gd name="T10" fmla="*/ 16 w 130"/>
              <a:gd name="T11" fmla="*/ 56 h 60"/>
              <a:gd name="T12" fmla="*/ 17 w 130"/>
              <a:gd name="T13" fmla="*/ 57 h 60"/>
              <a:gd name="T14" fmla="*/ 22 w 130"/>
              <a:gd name="T15" fmla="*/ 53 h 60"/>
              <a:gd name="T16" fmla="*/ 29 w 130"/>
              <a:gd name="T17" fmla="*/ 47 h 60"/>
              <a:gd name="T18" fmla="*/ 34 w 130"/>
              <a:gd name="T19" fmla="*/ 44 h 60"/>
              <a:gd name="T20" fmla="*/ 47 w 130"/>
              <a:gd name="T21" fmla="*/ 44 h 60"/>
              <a:gd name="T22" fmla="*/ 52 w 130"/>
              <a:gd name="T23" fmla="*/ 44 h 60"/>
              <a:gd name="T24" fmla="*/ 57 w 130"/>
              <a:gd name="T25" fmla="*/ 39 h 60"/>
              <a:gd name="T26" fmla="*/ 66 w 130"/>
              <a:gd name="T27" fmla="*/ 35 h 60"/>
              <a:gd name="T28" fmla="*/ 75 w 130"/>
              <a:gd name="T29" fmla="*/ 32 h 60"/>
              <a:gd name="T30" fmla="*/ 89 w 130"/>
              <a:gd name="T31" fmla="*/ 29 h 60"/>
              <a:gd name="T32" fmla="*/ 110 w 130"/>
              <a:gd name="T33" fmla="*/ 23 h 60"/>
              <a:gd name="T34" fmla="*/ 119 w 130"/>
              <a:gd name="T35" fmla="*/ 20 h 60"/>
              <a:gd name="T36" fmla="*/ 129 w 130"/>
              <a:gd name="T37" fmla="*/ 13 h 60"/>
              <a:gd name="T38" fmla="*/ 123 w 130"/>
              <a:gd name="T39" fmla="*/ 8 h 60"/>
              <a:gd name="T40" fmla="*/ 116 w 130"/>
              <a:gd name="T41" fmla="*/ 3 h 60"/>
              <a:gd name="T42" fmla="*/ 112 w 130"/>
              <a:gd name="T43" fmla="*/ 2 h 60"/>
              <a:gd name="T44" fmla="*/ 106 w 130"/>
              <a:gd name="T45" fmla="*/ 4 h 60"/>
              <a:gd name="T46" fmla="*/ 105 w 130"/>
              <a:gd name="T47" fmla="*/ 8 h 60"/>
              <a:gd name="T48" fmla="*/ 101 w 130"/>
              <a:gd name="T49" fmla="*/ 7 h 60"/>
              <a:gd name="T50" fmla="*/ 92 w 130"/>
              <a:gd name="T51" fmla="*/ 2 h 60"/>
              <a:gd name="T52" fmla="*/ 87 w 130"/>
              <a:gd name="T53" fmla="*/ 0 h 60"/>
              <a:gd name="T54" fmla="*/ 69 w 130"/>
              <a:gd name="T55" fmla="*/ 2 h 60"/>
              <a:gd name="T56" fmla="*/ 54 w 130"/>
              <a:gd name="T57" fmla="*/ 4 h 60"/>
              <a:gd name="T58" fmla="*/ 39 w 130"/>
              <a:gd name="T59" fmla="*/ 18 h 60"/>
              <a:gd name="T60" fmla="*/ 27 w 130"/>
              <a:gd name="T61" fmla="*/ 25 h 60"/>
              <a:gd name="T62" fmla="*/ 9 w 130"/>
              <a:gd name="T63" fmla="*/ 34 h 60"/>
              <a:gd name="T64" fmla="*/ 0 w 130"/>
              <a:gd name="T65" fmla="*/ 41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30" h="60">
                <a:moveTo>
                  <a:pt x="0" y="41"/>
                </a:moveTo>
                <a:lnTo>
                  <a:pt x="0" y="41"/>
                </a:lnTo>
                <a:lnTo>
                  <a:pt x="3" y="40"/>
                </a:lnTo>
                <a:lnTo>
                  <a:pt x="6" y="40"/>
                </a:lnTo>
                <a:lnTo>
                  <a:pt x="9" y="40"/>
                </a:lnTo>
                <a:lnTo>
                  <a:pt x="11" y="41"/>
                </a:lnTo>
                <a:lnTo>
                  <a:pt x="12" y="42"/>
                </a:lnTo>
                <a:lnTo>
                  <a:pt x="13" y="43"/>
                </a:lnTo>
                <a:lnTo>
                  <a:pt x="14" y="44"/>
                </a:lnTo>
                <a:lnTo>
                  <a:pt x="16" y="47"/>
                </a:lnTo>
                <a:lnTo>
                  <a:pt x="16" y="49"/>
                </a:lnTo>
                <a:lnTo>
                  <a:pt x="16" y="56"/>
                </a:lnTo>
                <a:lnTo>
                  <a:pt x="16" y="59"/>
                </a:lnTo>
                <a:lnTo>
                  <a:pt x="17" y="57"/>
                </a:lnTo>
                <a:lnTo>
                  <a:pt x="20" y="56"/>
                </a:lnTo>
                <a:lnTo>
                  <a:pt x="22" y="53"/>
                </a:lnTo>
                <a:lnTo>
                  <a:pt x="26" y="50"/>
                </a:lnTo>
                <a:lnTo>
                  <a:pt x="29" y="47"/>
                </a:lnTo>
                <a:lnTo>
                  <a:pt x="31" y="46"/>
                </a:lnTo>
                <a:lnTo>
                  <a:pt x="34" y="44"/>
                </a:lnTo>
                <a:lnTo>
                  <a:pt x="43" y="44"/>
                </a:lnTo>
                <a:lnTo>
                  <a:pt x="47" y="44"/>
                </a:lnTo>
                <a:lnTo>
                  <a:pt x="49" y="44"/>
                </a:lnTo>
                <a:lnTo>
                  <a:pt x="52" y="44"/>
                </a:lnTo>
                <a:lnTo>
                  <a:pt x="53" y="42"/>
                </a:lnTo>
                <a:lnTo>
                  <a:pt x="57" y="39"/>
                </a:lnTo>
                <a:lnTo>
                  <a:pt x="62" y="38"/>
                </a:lnTo>
                <a:lnTo>
                  <a:pt x="66" y="35"/>
                </a:lnTo>
                <a:lnTo>
                  <a:pt x="70" y="34"/>
                </a:lnTo>
                <a:lnTo>
                  <a:pt x="75" y="32"/>
                </a:lnTo>
                <a:lnTo>
                  <a:pt x="80" y="31"/>
                </a:lnTo>
                <a:lnTo>
                  <a:pt x="89" y="29"/>
                </a:lnTo>
                <a:lnTo>
                  <a:pt x="100" y="26"/>
                </a:lnTo>
                <a:lnTo>
                  <a:pt x="110" y="23"/>
                </a:lnTo>
                <a:lnTo>
                  <a:pt x="115" y="21"/>
                </a:lnTo>
                <a:lnTo>
                  <a:pt x="119" y="20"/>
                </a:lnTo>
                <a:lnTo>
                  <a:pt x="124" y="17"/>
                </a:lnTo>
                <a:lnTo>
                  <a:pt x="129" y="13"/>
                </a:lnTo>
                <a:lnTo>
                  <a:pt x="125" y="9"/>
                </a:lnTo>
                <a:lnTo>
                  <a:pt x="123" y="8"/>
                </a:lnTo>
                <a:lnTo>
                  <a:pt x="121" y="6"/>
                </a:lnTo>
                <a:lnTo>
                  <a:pt x="116" y="3"/>
                </a:lnTo>
                <a:lnTo>
                  <a:pt x="115" y="3"/>
                </a:lnTo>
                <a:lnTo>
                  <a:pt x="112" y="2"/>
                </a:lnTo>
                <a:lnTo>
                  <a:pt x="108" y="3"/>
                </a:lnTo>
                <a:lnTo>
                  <a:pt x="106" y="4"/>
                </a:lnTo>
                <a:lnTo>
                  <a:pt x="105" y="5"/>
                </a:lnTo>
                <a:lnTo>
                  <a:pt x="105" y="8"/>
                </a:lnTo>
                <a:lnTo>
                  <a:pt x="102" y="8"/>
                </a:lnTo>
                <a:lnTo>
                  <a:pt x="101" y="7"/>
                </a:lnTo>
                <a:lnTo>
                  <a:pt x="96" y="4"/>
                </a:lnTo>
                <a:lnTo>
                  <a:pt x="92" y="2"/>
                </a:lnTo>
                <a:lnTo>
                  <a:pt x="89" y="0"/>
                </a:lnTo>
                <a:lnTo>
                  <a:pt x="87" y="0"/>
                </a:lnTo>
                <a:lnTo>
                  <a:pt x="79" y="0"/>
                </a:lnTo>
                <a:lnTo>
                  <a:pt x="69" y="2"/>
                </a:lnTo>
                <a:lnTo>
                  <a:pt x="59" y="2"/>
                </a:lnTo>
                <a:lnTo>
                  <a:pt x="54" y="4"/>
                </a:lnTo>
                <a:lnTo>
                  <a:pt x="43" y="14"/>
                </a:lnTo>
                <a:lnTo>
                  <a:pt x="39" y="18"/>
                </a:lnTo>
                <a:lnTo>
                  <a:pt x="33" y="22"/>
                </a:lnTo>
                <a:lnTo>
                  <a:pt x="27" y="25"/>
                </a:lnTo>
                <a:lnTo>
                  <a:pt x="21" y="28"/>
                </a:lnTo>
                <a:lnTo>
                  <a:pt x="9" y="34"/>
                </a:lnTo>
                <a:lnTo>
                  <a:pt x="4" y="37"/>
                </a:lnTo>
                <a:lnTo>
                  <a:pt x="0" y="41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50" name="Freeform 254">
            <a:extLst>
              <a:ext uri="{FF2B5EF4-FFF2-40B4-BE49-F238E27FC236}">
                <a16:creationId xmlns:a16="http://schemas.microsoft.com/office/drawing/2014/main" id="{DB9142B4-F05A-C4F6-BC2E-472C8E0A7A77}"/>
              </a:ext>
            </a:extLst>
          </p:cNvPr>
          <p:cNvSpPr>
            <a:spLocks/>
          </p:cNvSpPr>
          <p:nvPr/>
        </p:nvSpPr>
        <p:spPr bwMode="auto">
          <a:xfrm>
            <a:off x="4196725" y="2354109"/>
            <a:ext cx="100013" cy="50800"/>
          </a:xfrm>
          <a:custGeom>
            <a:avLst/>
            <a:gdLst>
              <a:gd name="T0" fmla="*/ 33 w 50"/>
              <a:gd name="T1" fmla="*/ 26 h 27"/>
              <a:gd name="T2" fmla="*/ 31 w 50"/>
              <a:gd name="T3" fmla="*/ 26 h 27"/>
              <a:gd name="T4" fmla="*/ 29 w 50"/>
              <a:gd name="T5" fmla="*/ 25 h 27"/>
              <a:gd name="T6" fmla="*/ 28 w 50"/>
              <a:gd name="T7" fmla="*/ 23 h 27"/>
              <a:gd name="T8" fmla="*/ 27 w 50"/>
              <a:gd name="T9" fmla="*/ 22 h 27"/>
              <a:gd name="T10" fmla="*/ 26 w 50"/>
              <a:gd name="T11" fmla="*/ 19 h 27"/>
              <a:gd name="T12" fmla="*/ 24 w 50"/>
              <a:gd name="T13" fmla="*/ 16 h 27"/>
              <a:gd name="T14" fmla="*/ 21 w 50"/>
              <a:gd name="T15" fmla="*/ 15 h 27"/>
              <a:gd name="T16" fmla="*/ 19 w 50"/>
              <a:gd name="T17" fmla="*/ 15 h 27"/>
              <a:gd name="T18" fmla="*/ 12 w 50"/>
              <a:gd name="T19" fmla="*/ 15 h 27"/>
              <a:gd name="T20" fmla="*/ 9 w 50"/>
              <a:gd name="T21" fmla="*/ 15 h 27"/>
              <a:gd name="T22" fmla="*/ 6 w 50"/>
              <a:gd name="T23" fmla="*/ 15 h 27"/>
              <a:gd name="T24" fmla="*/ 3 w 50"/>
              <a:gd name="T25" fmla="*/ 14 h 27"/>
              <a:gd name="T26" fmla="*/ 0 w 50"/>
              <a:gd name="T27" fmla="*/ 14 h 27"/>
              <a:gd name="T28" fmla="*/ 4 w 50"/>
              <a:gd name="T29" fmla="*/ 7 h 27"/>
              <a:gd name="T30" fmla="*/ 7 w 50"/>
              <a:gd name="T31" fmla="*/ 6 h 27"/>
              <a:gd name="T32" fmla="*/ 8 w 50"/>
              <a:gd name="T33" fmla="*/ 3 h 27"/>
              <a:gd name="T34" fmla="*/ 11 w 50"/>
              <a:gd name="T35" fmla="*/ 1 h 27"/>
              <a:gd name="T36" fmla="*/ 14 w 50"/>
              <a:gd name="T37" fmla="*/ 0 h 27"/>
              <a:gd name="T38" fmla="*/ 17 w 50"/>
              <a:gd name="T39" fmla="*/ 0 h 27"/>
              <a:gd name="T40" fmla="*/ 21 w 50"/>
              <a:gd name="T41" fmla="*/ 0 h 27"/>
              <a:gd name="T42" fmla="*/ 24 w 50"/>
              <a:gd name="T43" fmla="*/ 0 h 27"/>
              <a:gd name="T44" fmla="*/ 25 w 50"/>
              <a:gd name="T45" fmla="*/ 0 h 27"/>
              <a:gd name="T46" fmla="*/ 28 w 50"/>
              <a:gd name="T47" fmla="*/ 2 h 27"/>
              <a:gd name="T48" fmla="*/ 30 w 50"/>
              <a:gd name="T49" fmla="*/ 5 h 27"/>
              <a:gd name="T50" fmla="*/ 31 w 50"/>
              <a:gd name="T51" fmla="*/ 6 h 27"/>
              <a:gd name="T52" fmla="*/ 38 w 50"/>
              <a:gd name="T53" fmla="*/ 6 h 27"/>
              <a:gd name="T54" fmla="*/ 40 w 50"/>
              <a:gd name="T55" fmla="*/ 6 h 27"/>
              <a:gd name="T56" fmla="*/ 44 w 50"/>
              <a:gd name="T57" fmla="*/ 7 h 27"/>
              <a:gd name="T58" fmla="*/ 46 w 50"/>
              <a:gd name="T59" fmla="*/ 7 h 27"/>
              <a:gd name="T60" fmla="*/ 47 w 50"/>
              <a:gd name="T61" fmla="*/ 10 h 27"/>
              <a:gd name="T62" fmla="*/ 48 w 50"/>
              <a:gd name="T63" fmla="*/ 11 h 27"/>
              <a:gd name="T64" fmla="*/ 49 w 50"/>
              <a:gd name="T65" fmla="*/ 14 h 27"/>
              <a:gd name="T66" fmla="*/ 48 w 50"/>
              <a:gd name="T67" fmla="*/ 18 h 27"/>
              <a:gd name="T68" fmla="*/ 47 w 50"/>
              <a:gd name="T69" fmla="*/ 21 h 27"/>
              <a:gd name="T70" fmla="*/ 46 w 50"/>
              <a:gd name="T71" fmla="*/ 23 h 27"/>
              <a:gd name="T72" fmla="*/ 44 w 50"/>
              <a:gd name="T73" fmla="*/ 24 h 27"/>
              <a:gd name="T74" fmla="*/ 42 w 50"/>
              <a:gd name="T75" fmla="*/ 25 h 27"/>
              <a:gd name="T76" fmla="*/ 39 w 50"/>
              <a:gd name="T77" fmla="*/ 26 h 27"/>
              <a:gd name="T78" fmla="*/ 33 w 50"/>
              <a:gd name="T79" fmla="*/ 26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0" h="27">
                <a:moveTo>
                  <a:pt x="33" y="26"/>
                </a:moveTo>
                <a:lnTo>
                  <a:pt x="31" y="26"/>
                </a:lnTo>
                <a:lnTo>
                  <a:pt x="29" y="25"/>
                </a:lnTo>
                <a:lnTo>
                  <a:pt x="28" y="23"/>
                </a:lnTo>
                <a:lnTo>
                  <a:pt x="27" y="22"/>
                </a:lnTo>
                <a:lnTo>
                  <a:pt x="26" y="19"/>
                </a:lnTo>
                <a:lnTo>
                  <a:pt x="24" y="16"/>
                </a:lnTo>
                <a:lnTo>
                  <a:pt x="21" y="15"/>
                </a:lnTo>
                <a:lnTo>
                  <a:pt x="19" y="15"/>
                </a:lnTo>
                <a:lnTo>
                  <a:pt x="12" y="15"/>
                </a:lnTo>
                <a:lnTo>
                  <a:pt x="9" y="15"/>
                </a:lnTo>
                <a:lnTo>
                  <a:pt x="6" y="15"/>
                </a:lnTo>
                <a:lnTo>
                  <a:pt x="3" y="14"/>
                </a:lnTo>
                <a:lnTo>
                  <a:pt x="0" y="14"/>
                </a:lnTo>
                <a:lnTo>
                  <a:pt x="4" y="7"/>
                </a:lnTo>
                <a:lnTo>
                  <a:pt x="7" y="6"/>
                </a:lnTo>
                <a:lnTo>
                  <a:pt x="8" y="3"/>
                </a:lnTo>
                <a:lnTo>
                  <a:pt x="11" y="1"/>
                </a:lnTo>
                <a:lnTo>
                  <a:pt x="14" y="0"/>
                </a:lnTo>
                <a:lnTo>
                  <a:pt x="17" y="0"/>
                </a:lnTo>
                <a:lnTo>
                  <a:pt x="21" y="0"/>
                </a:lnTo>
                <a:lnTo>
                  <a:pt x="24" y="0"/>
                </a:lnTo>
                <a:lnTo>
                  <a:pt x="25" y="0"/>
                </a:lnTo>
                <a:lnTo>
                  <a:pt x="28" y="2"/>
                </a:lnTo>
                <a:lnTo>
                  <a:pt x="30" y="5"/>
                </a:lnTo>
                <a:lnTo>
                  <a:pt x="31" y="6"/>
                </a:lnTo>
                <a:lnTo>
                  <a:pt x="38" y="6"/>
                </a:lnTo>
                <a:lnTo>
                  <a:pt x="40" y="6"/>
                </a:lnTo>
                <a:lnTo>
                  <a:pt x="44" y="7"/>
                </a:lnTo>
                <a:lnTo>
                  <a:pt x="46" y="7"/>
                </a:lnTo>
                <a:lnTo>
                  <a:pt x="47" y="10"/>
                </a:lnTo>
                <a:lnTo>
                  <a:pt x="48" y="11"/>
                </a:lnTo>
                <a:lnTo>
                  <a:pt x="49" y="14"/>
                </a:lnTo>
                <a:lnTo>
                  <a:pt x="48" y="18"/>
                </a:lnTo>
                <a:lnTo>
                  <a:pt x="47" y="21"/>
                </a:lnTo>
                <a:lnTo>
                  <a:pt x="46" y="23"/>
                </a:lnTo>
                <a:lnTo>
                  <a:pt x="44" y="24"/>
                </a:lnTo>
                <a:lnTo>
                  <a:pt x="42" y="25"/>
                </a:lnTo>
                <a:lnTo>
                  <a:pt x="39" y="26"/>
                </a:lnTo>
                <a:lnTo>
                  <a:pt x="33" y="26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51" name="Freeform 255">
            <a:extLst>
              <a:ext uri="{FF2B5EF4-FFF2-40B4-BE49-F238E27FC236}">
                <a16:creationId xmlns:a16="http://schemas.microsoft.com/office/drawing/2014/main" id="{33D64A7F-CB23-232D-40AB-DAAED2AB5AF8}"/>
              </a:ext>
            </a:extLst>
          </p:cNvPr>
          <p:cNvSpPr>
            <a:spLocks/>
          </p:cNvSpPr>
          <p:nvPr/>
        </p:nvSpPr>
        <p:spPr bwMode="auto">
          <a:xfrm>
            <a:off x="3683963" y="2501746"/>
            <a:ext cx="371475" cy="158750"/>
          </a:xfrm>
          <a:custGeom>
            <a:avLst/>
            <a:gdLst>
              <a:gd name="T0" fmla="*/ 153 w 184"/>
              <a:gd name="T1" fmla="*/ 66 h 85"/>
              <a:gd name="T2" fmla="*/ 147 w 184"/>
              <a:gd name="T3" fmla="*/ 75 h 85"/>
              <a:gd name="T4" fmla="*/ 140 w 184"/>
              <a:gd name="T5" fmla="*/ 80 h 85"/>
              <a:gd name="T6" fmla="*/ 125 w 184"/>
              <a:gd name="T7" fmla="*/ 78 h 85"/>
              <a:gd name="T8" fmla="*/ 111 w 184"/>
              <a:gd name="T9" fmla="*/ 71 h 85"/>
              <a:gd name="T10" fmla="*/ 107 w 184"/>
              <a:gd name="T11" fmla="*/ 66 h 85"/>
              <a:gd name="T12" fmla="*/ 80 w 184"/>
              <a:gd name="T13" fmla="*/ 69 h 85"/>
              <a:gd name="T14" fmla="*/ 66 w 184"/>
              <a:gd name="T15" fmla="*/ 78 h 85"/>
              <a:gd name="T16" fmla="*/ 54 w 184"/>
              <a:gd name="T17" fmla="*/ 83 h 85"/>
              <a:gd name="T18" fmla="*/ 40 w 184"/>
              <a:gd name="T19" fmla="*/ 83 h 85"/>
              <a:gd name="T20" fmla="*/ 30 w 184"/>
              <a:gd name="T21" fmla="*/ 82 h 85"/>
              <a:gd name="T22" fmla="*/ 25 w 184"/>
              <a:gd name="T23" fmla="*/ 76 h 85"/>
              <a:gd name="T24" fmla="*/ 29 w 184"/>
              <a:gd name="T25" fmla="*/ 71 h 85"/>
              <a:gd name="T26" fmla="*/ 20 w 184"/>
              <a:gd name="T27" fmla="*/ 71 h 85"/>
              <a:gd name="T28" fmla="*/ 8 w 184"/>
              <a:gd name="T29" fmla="*/ 67 h 85"/>
              <a:gd name="T30" fmla="*/ 0 w 184"/>
              <a:gd name="T31" fmla="*/ 61 h 85"/>
              <a:gd name="T32" fmla="*/ 24 w 184"/>
              <a:gd name="T33" fmla="*/ 54 h 85"/>
              <a:gd name="T34" fmla="*/ 64 w 184"/>
              <a:gd name="T35" fmla="*/ 52 h 85"/>
              <a:gd name="T36" fmla="*/ 9 w 184"/>
              <a:gd name="T37" fmla="*/ 49 h 85"/>
              <a:gd name="T38" fmla="*/ 13 w 184"/>
              <a:gd name="T39" fmla="*/ 40 h 85"/>
              <a:gd name="T40" fmla="*/ 17 w 184"/>
              <a:gd name="T41" fmla="*/ 33 h 85"/>
              <a:gd name="T42" fmla="*/ 22 w 184"/>
              <a:gd name="T43" fmla="*/ 29 h 85"/>
              <a:gd name="T44" fmla="*/ 43 w 184"/>
              <a:gd name="T45" fmla="*/ 24 h 85"/>
              <a:gd name="T46" fmla="*/ 61 w 184"/>
              <a:gd name="T47" fmla="*/ 18 h 85"/>
              <a:gd name="T48" fmla="*/ 80 w 184"/>
              <a:gd name="T49" fmla="*/ 16 h 85"/>
              <a:gd name="T50" fmla="*/ 87 w 184"/>
              <a:gd name="T51" fmla="*/ 16 h 85"/>
              <a:gd name="T52" fmla="*/ 96 w 184"/>
              <a:gd name="T53" fmla="*/ 16 h 85"/>
              <a:gd name="T54" fmla="*/ 108 w 184"/>
              <a:gd name="T55" fmla="*/ 20 h 85"/>
              <a:gd name="T56" fmla="*/ 114 w 184"/>
              <a:gd name="T57" fmla="*/ 16 h 85"/>
              <a:gd name="T58" fmla="*/ 118 w 184"/>
              <a:gd name="T59" fmla="*/ 11 h 85"/>
              <a:gd name="T60" fmla="*/ 124 w 184"/>
              <a:gd name="T61" fmla="*/ 13 h 85"/>
              <a:gd name="T62" fmla="*/ 124 w 184"/>
              <a:gd name="T63" fmla="*/ 26 h 85"/>
              <a:gd name="T64" fmla="*/ 130 w 184"/>
              <a:gd name="T65" fmla="*/ 29 h 85"/>
              <a:gd name="T66" fmla="*/ 133 w 184"/>
              <a:gd name="T67" fmla="*/ 25 h 85"/>
              <a:gd name="T68" fmla="*/ 136 w 184"/>
              <a:gd name="T69" fmla="*/ 14 h 85"/>
              <a:gd name="T70" fmla="*/ 141 w 184"/>
              <a:gd name="T71" fmla="*/ 9 h 85"/>
              <a:gd name="T72" fmla="*/ 168 w 184"/>
              <a:gd name="T73" fmla="*/ 2 h 85"/>
              <a:gd name="T74" fmla="*/ 182 w 184"/>
              <a:gd name="T75" fmla="*/ 2 h 85"/>
              <a:gd name="T76" fmla="*/ 176 w 184"/>
              <a:gd name="T77" fmla="*/ 9 h 85"/>
              <a:gd name="T78" fmla="*/ 160 w 184"/>
              <a:gd name="T79" fmla="*/ 25 h 85"/>
              <a:gd name="T80" fmla="*/ 151 w 184"/>
              <a:gd name="T81" fmla="*/ 38 h 85"/>
              <a:gd name="T82" fmla="*/ 150 w 184"/>
              <a:gd name="T83" fmla="*/ 45 h 85"/>
              <a:gd name="T84" fmla="*/ 153 w 184"/>
              <a:gd name="T85" fmla="*/ 49 h 85"/>
              <a:gd name="T86" fmla="*/ 164 w 184"/>
              <a:gd name="T87" fmla="*/ 53 h 85"/>
              <a:gd name="T88" fmla="*/ 169 w 184"/>
              <a:gd name="T89" fmla="*/ 57 h 85"/>
              <a:gd name="T90" fmla="*/ 171 w 184"/>
              <a:gd name="T91" fmla="*/ 62 h 85"/>
              <a:gd name="T92" fmla="*/ 167 w 184"/>
              <a:gd name="T93" fmla="*/ 65 h 85"/>
              <a:gd name="T94" fmla="*/ 158 w 184"/>
              <a:gd name="T95" fmla="*/ 63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84" h="85">
                <a:moveTo>
                  <a:pt x="158" y="63"/>
                </a:moveTo>
                <a:lnTo>
                  <a:pt x="155" y="64"/>
                </a:lnTo>
                <a:lnTo>
                  <a:pt x="153" y="66"/>
                </a:lnTo>
                <a:lnTo>
                  <a:pt x="150" y="69"/>
                </a:lnTo>
                <a:lnTo>
                  <a:pt x="150" y="72"/>
                </a:lnTo>
                <a:lnTo>
                  <a:pt x="147" y="75"/>
                </a:lnTo>
                <a:lnTo>
                  <a:pt x="146" y="78"/>
                </a:lnTo>
                <a:lnTo>
                  <a:pt x="143" y="80"/>
                </a:lnTo>
                <a:lnTo>
                  <a:pt x="140" y="80"/>
                </a:lnTo>
                <a:lnTo>
                  <a:pt x="136" y="80"/>
                </a:lnTo>
                <a:lnTo>
                  <a:pt x="131" y="80"/>
                </a:lnTo>
                <a:lnTo>
                  <a:pt x="125" y="78"/>
                </a:lnTo>
                <a:lnTo>
                  <a:pt x="120" y="76"/>
                </a:lnTo>
                <a:lnTo>
                  <a:pt x="115" y="74"/>
                </a:lnTo>
                <a:lnTo>
                  <a:pt x="111" y="71"/>
                </a:lnTo>
                <a:lnTo>
                  <a:pt x="109" y="69"/>
                </a:lnTo>
                <a:lnTo>
                  <a:pt x="108" y="67"/>
                </a:lnTo>
                <a:lnTo>
                  <a:pt x="107" y="66"/>
                </a:lnTo>
                <a:lnTo>
                  <a:pt x="89" y="66"/>
                </a:lnTo>
                <a:lnTo>
                  <a:pt x="84" y="67"/>
                </a:lnTo>
                <a:lnTo>
                  <a:pt x="80" y="69"/>
                </a:lnTo>
                <a:lnTo>
                  <a:pt x="75" y="71"/>
                </a:lnTo>
                <a:lnTo>
                  <a:pt x="71" y="74"/>
                </a:lnTo>
                <a:lnTo>
                  <a:pt x="66" y="78"/>
                </a:lnTo>
                <a:lnTo>
                  <a:pt x="61" y="80"/>
                </a:lnTo>
                <a:lnTo>
                  <a:pt x="58" y="82"/>
                </a:lnTo>
                <a:lnTo>
                  <a:pt x="54" y="83"/>
                </a:lnTo>
                <a:lnTo>
                  <a:pt x="48" y="84"/>
                </a:lnTo>
                <a:lnTo>
                  <a:pt x="44" y="84"/>
                </a:lnTo>
                <a:lnTo>
                  <a:pt x="40" y="83"/>
                </a:lnTo>
                <a:lnTo>
                  <a:pt x="35" y="82"/>
                </a:lnTo>
                <a:lnTo>
                  <a:pt x="33" y="82"/>
                </a:lnTo>
                <a:lnTo>
                  <a:pt x="30" y="82"/>
                </a:lnTo>
                <a:lnTo>
                  <a:pt x="27" y="82"/>
                </a:lnTo>
                <a:lnTo>
                  <a:pt x="25" y="84"/>
                </a:lnTo>
                <a:lnTo>
                  <a:pt x="25" y="76"/>
                </a:lnTo>
                <a:lnTo>
                  <a:pt x="27" y="74"/>
                </a:lnTo>
                <a:lnTo>
                  <a:pt x="29" y="74"/>
                </a:lnTo>
                <a:lnTo>
                  <a:pt x="29" y="71"/>
                </a:lnTo>
                <a:lnTo>
                  <a:pt x="29" y="70"/>
                </a:lnTo>
                <a:lnTo>
                  <a:pt x="25" y="71"/>
                </a:lnTo>
                <a:lnTo>
                  <a:pt x="20" y="71"/>
                </a:lnTo>
                <a:lnTo>
                  <a:pt x="16" y="71"/>
                </a:lnTo>
                <a:lnTo>
                  <a:pt x="12" y="70"/>
                </a:lnTo>
                <a:lnTo>
                  <a:pt x="8" y="67"/>
                </a:lnTo>
                <a:lnTo>
                  <a:pt x="5" y="66"/>
                </a:lnTo>
                <a:lnTo>
                  <a:pt x="3" y="64"/>
                </a:lnTo>
                <a:lnTo>
                  <a:pt x="0" y="61"/>
                </a:lnTo>
                <a:lnTo>
                  <a:pt x="5" y="60"/>
                </a:lnTo>
                <a:lnTo>
                  <a:pt x="12" y="58"/>
                </a:lnTo>
                <a:lnTo>
                  <a:pt x="24" y="54"/>
                </a:lnTo>
                <a:lnTo>
                  <a:pt x="65" y="54"/>
                </a:lnTo>
                <a:lnTo>
                  <a:pt x="64" y="54"/>
                </a:lnTo>
                <a:lnTo>
                  <a:pt x="64" y="52"/>
                </a:lnTo>
                <a:lnTo>
                  <a:pt x="65" y="51"/>
                </a:lnTo>
                <a:lnTo>
                  <a:pt x="65" y="49"/>
                </a:lnTo>
                <a:lnTo>
                  <a:pt x="9" y="49"/>
                </a:lnTo>
                <a:lnTo>
                  <a:pt x="11" y="45"/>
                </a:lnTo>
                <a:lnTo>
                  <a:pt x="12" y="42"/>
                </a:lnTo>
                <a:lnTo>
                  <a:pt x="13" y="40"/>
                </a:lnTo>
                <a:lnTo>
                  <a:pt x="16" y="38"/>
                </a:lnTo>
                <a:lnTo>
                  <a:pt x="17" y="34"/>
                </a:lnTo>
                <a:lnTo>
                  <a:pt x="17" y="33"/>
                </a:lnTo>
                <a:lnTo>
                  <a:pt x="18" y="31"/>
                </a:lnTo>
                <a:lnTo>
                  <a:pt x="21" y="29"/>
                </a:lnTo>
                <a:lnTo>
                  <a:pt x="22" y="29"/>
                </a:lnTo>
                <a:lnTo>
                  <a:pt x="29" y="26"/>
                </a:lnTo>
                <a:lnTo>
                  <a:pt x="37" y="25"/>
                </a:lnTo>
                <a:lnTo>
                  <a:pt x="43" y="24"/>
                </a:lnTo>
                <a:lnTo>
                  <a:pt x="49" y="22"/>
                </a:lnTo>
                <a:lnTo>
                  <a:pt x="55" y="20"/>
                </a:lnTo>
                <a:lnTo>
                  <a:pt x="61" y="18"/>
                </a:lnTo>
                <a:lnTo>
                  <a:pt x="71" y="12"/>
                </a:lnTo>
                <a:lnTo>
                  <a:pt x="81" y="6"/>
                </a:lnTo>
                <a:lnTo>
                  <a:pt x="80" y="16"/>
                </a:lnTo>
                <a:lnTo>
                  <a:pt x="82" y="16"/>
                </a:lnTo>
                <a:lnTo>
                  <a:pt x="84" y="16"/>
                </a:lnTo>
                <a:lnTo>
                  <a:pt x="87" y="16"/>
                </a:lnTo>
                <a:lnTo>
                  <a:pt x="89" y="16"/>
                </a:lnTo>
                <a:lnTo>
                  <a:pt x="93" y="16"/>
                </a:lnTo>
                <a:lnTo>
                  <a:pt x="96" y="16"/>
                </a:lnTo>
                <a:lnTo>
                  <a:pt x="100" y="17"/>
                </a:lnTo>
                <a:lnTo>
                  <a:pt x="104" y="19"/>
                </a:lnTo>
                <a:lnTo>
                  <a:pt x="108" y="20"/>
                </a:lnTo>
                <a:lnTo>
                  <a:pt x="110" y="19"/>
                </a:lnTo>
                <a:lnTo>
                  <a:pt x="111" y="18"/>
                </a:lnTo>
                <a:lnTo>
                  <a:pt x="114" y="16"/>
                </a:lnTo>
                <a:lnTo>
                  <a:pt x="115" y="12"/>
                </a:lnTo>
                <a:lnTo>
                  <a:pt x="116" y="12"/>
                </a:lnTo>
                <a:lnTo>
                  <a:pt x="118" y="11"/>
                </a:lnTo>
                <a:lnTo>
                  <a:pt x="122" y="12"/>
                </a:lnTo>
                <a:lnTo>
                  <a:pt x="124" y="12"/>
                </a:lnTo>
                <a:lnTo>
                  <a:pt x="124" y="13"/>
                </a:lnTo>
                <a:lnTo>
                  <a:pt x="127" y="16"/>
                </a:lnTo>
                <a:lnTo>
                  <a:pt x="124" y="25"/>
                </a:lnTo>
                <a:lnTo>
                  <a:pt x="124" y="26"/>
                </a:lnTo>
                <a:lnTo>
                  <a:pt x="125" y="29"/>
                </a:lnTo>
                <a:lnTo>
                  <a:pt x="127" y="29"/>
                </a:lnTo>
                <a:lnTo>
                  <a:pt x="130" y="29"/>
                </a:lnTo>
                <a:lnTo>
                  <a:pt x="131" y="29"/>
                </a:lnTo>
                <a:lnTo>
                  <a:pt x="132" y="27"/>
                </a:lnTo>
                <a:lnTo>
                  <a:pt x="133" y="25"/>
                </a:lnTo>
                <a:lnTo>
                  <a:pt x="133" y="22"/>
                </a:lnTo>
                <a:lnTo>
                  <a:pt x="136" y="17"/>
                </a:lnTo>
                <a:lnTo>
                  <a:pt x="136" y="14"/>
                </a:lnTo>
                <a:lnTo>
                  <a:pt x="137" y="12"/>
                </a:lnTo>
                <a:lnTo>
                  <a:pt x="140" y="9"/>
                </a:lnTo>
                <a:lnTo>
                  <a:pt x="141" y="9"/>
                </a:lnTo>
                <a:lnTo>
                  <a:pt x="144" y="8"/>
                </a:lnTo>
                <a:lnTo>
                  <a:pt x="156" y="4"/>
                </a:lnTo>
                <a:lnTo>
                  <a:pt x="168" y="2"/>
                </a:lnTo>
                <a:lnTo>
                  <a:pt x="176" y="0"/>
                </a:lnTo>
                <a:lnTo>
                  <a:pt x="183" y="0"/>
                </a:lnTo>
                <a:lnTo>
                  <a:pt x="182" y="2"/>
                </a:lnTo>
                <a:lnTo>
                  <a:pt x="181" y="4"/>
                </a:lnTo>
                <a:lnTo>
                  <a:pt x="179" y="6"/>
                </a:lnTo>
                <a:lnTo>
                  <a:pt x="176" y="9"/>
                </a:lnTo>
                <a:lnTo>
                  <a:pt x="172" y="14"/>
                </a:lnTo>
                <a:lnTo>
                  <a:pt x="165" y="20"/>
                </a:lnTo>
                <a:lnTo>
                  <a:pt x="160" y="25"/>
                </a:lnTo>
                <a:lnTo>
                  <a:pt x="155" y="31"/>
                </a:lnTo>
                <a:lnTo>
                  <a:pt x="153" y="35"/>
                </a:lnTo>
                <a:lnTo>
                  <a:pt x="151" y="38"/>
                </a:lnTo>
                <a:lnTo>
                  <a:pt x="150" y="41"/>
                </a:lnTo>
                <a:lnTo>
                  <a:pt x="150" y="44"/>
                </a:lnTo>
                <a:lnTo>
                  <a:pt x="150" y="45"/>
                </a:lnTo>
                <a:lnTo>
                  <a:pt x="150" y="47"/>
                </a:lnTo>
                <a:lnTo>
                  <a:pt x="151" y="48"/>
                </a:lnTo>
                <a:lnTo>
                  <a:pt x="153" y="49"/>
                </a:lnTo>
                <a:lnTo>
                  <a:pt x="157" y="51"/>
                </a:lnTo>
                <a:lnTo>
                  <a:pt x="160" y="52"/>
                </a:lnTo>
                <a:lnTo>
                  <a:pt x="164" y="53"/>
                </a:lnTo>
                <a:lnTo>
                  <a:pt x="168" y="55"/>
                </a:lnTo>
                <a:lnTo>
                  <a:pt x="169" y="56"/>
                </a:lnTo>
                <a:lnTo>
                  <a:pt x="169" y="57"/>
                </a:lnTo>
                <a:lnTo>
                  <a:pt x="171" y="58"/>
                </a:lnTo>
                <a:lnTo>
                  <a:pt x="171" y="61"/>
                </a:lnTo>
                <a:lnTo>
                  <a:pt x="171" y="62"/>
                </a:lnTo>
                <a:lnTo>
                  <a:pt x="169" y="63"/>
                </a:lnTo>
                <a:lnTo>
                  <a:pt x="169" y="64"/>
                </a:lnTo>
                <a:lnTo>
                  <a:pt x="167" y="65"/>
                </a:lnTo>
                <a:lnTo>
                  <a:pt x="165" y="65"/>
                </a:lnTo>
                <a:lnTo>
                  <a:pt x="160" y="64"/>
                </a:lnTo>
                <a:lnTo>
                  <a:pt x="158" y="63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52" name="Freeform 256">
            <a:extLst>
              <a:ext uri="{FF2B5EF4-FFF2-40B4-BE49-F238E27FC236}">
                <a16:creationId xmlns:a16="http://schemas.microsoft.com/office/drawing/2014/main" id="{F1C028B9-84A0-0BF7-46DD-C3819AFE5B69}"/>
              </a:ext>
            </a:extLst>
          </p:cNvPr>
          <p:cNvSpPr>
            <a:spLocks/>
          </p:cNvSpPr>
          <p:nvPr/>
        </p:nvSpPr>
        <p:spPr bwMode="auto">
          <a:xfrm>
            <a:off x="3780800" y="2396971"/>
            <a:ext cx="173038" cy="50800"/>
          </a:xfrm>
          <a:custGeom>
            <a:avLst/>
            <a:gdLst>
              <a:gd name="T0" fmla="*/ 0 w 86"/>
              <a:gd name="T1" fmla="*/ 21 h 27"/>
              <a:gd name="T2" fmla="*/ 1 w 86"/>
              <a:gd name="T3" fmla="*/ 22 h 27"/>
              <a:gd name="T4" fmla="*/ 4 w 86"/>
              <a:gd name="T5" fmla="*/ 22 h 27"/>
              <a:gd name="T6" fmla="*/ 9 w 86"/>
              <a:gd name="T7" fmla="*/ 22 h 27"/>
              <a:gd name="T8" fmla="*/ 11 w 86"/>
              <a:gd name="T9" fmla="*/ 22 h 27"/>
              <a:gd name="T10" fmla="*/ 13 w 86"/>
              <a:gd name="T11" fmla="*/ 22 h 27"/>
              <a:gd name="T12" fmla="*/ 16 w 86"/>
              <a:gd name="T13" fmla="*/ 23 h 27"/>
              <a:gd name="T14" fmla="*/ 17 w 86"/>
              <a:gd name="T15" fmla="*/ 26 h 27"/>
              <a:gd name="T16" fmla="*/ 22 w 86"/>
              <a:gd name="T17" fmla="*/ 26 h 27"/>
              <a:gd name="T18" fmla="*/ 30 w 86"/>
              <a:gd name="T19" fmla="*/ 22 h 27"/>
              <a:gd name="T20" fmla="*/ 37 w 86"/>
              <a:gd name="T21" fmla="*/ 19 h 27"/>
              <a:gd name="T22" fmla="*/ 44 w 86"/>
              <a:gd name="T23" fmla="*/ 16 h 27"/>
              <a:gd name="T24" fmla="*/ 47 w 86"/>
              <a:gd name="T25" fmla="*/ 13 h 27"/>
              <a:gd name="T26" fmla="*/ 52 w 86"/>
              <a:gd name="T27" fmla="*/ 19 h 27"/>
              <a:gd name="T28" fmla="*/ 55 w 86"/>
              <a:gd name="T29" fmla="*/ 16 h 27"/>
              <a:gd name="T30" fmla="*/ 59 w 86"/>
              <a:gd name="T31" fmla="*/ 13 h 27"/>
              <a:gd name="T32" fmla="*/ 64 w 86"/>
              <a:gd name="T33" fmla="*/ 11 h 27"/>
              <a:gd name="T34" fmla="*/ 68 w 86"/>
              <a:gd name="T35" fmla="*/ 9 h 27"/>
              <a:gd name="T36" fmla="*/ 76 w 86"/>
              <a:gd name="T37" fmla="*/ 6 h 27"/>
              <a:gd name="T38" fmla="*/ 81 w 86"/>
              <a:gd name="T39" fmla="*/ 4 h 27"/>
              <a:gd name="T40" fmla="*/ 85 w 86"/>
              <a:gd name="T41" fmla="*/ 1 h 27"/>
              <a:gd name="T42" fmla="*/ 84 w 86"/>
              <a:gd name="T43" fmla="*/ 0 h 27"/>
              <a:gd name="T44" fmla="*/ 83 w 86"/>
              <a:gd name="T45" fmla="*/ 0 h 27"/>
              <a:gd name="T46" fmla="*/ 80 w 86"/>
              <a:gd name="T47" fmla="*/ 0 h 27"/>
              <a:gd name="T48" fmla="*/ 71 w 86"/>
              <a:gd name="T49" fmla="*/ 0 h 27"/>
              <a:gd name="T50" fmla="*/ 61 w 86"/>
              <a:gd name="T51" fmla="*/ 2 h 27"/>
              <a:gd name="T52" fmla="*/ 51 w 86"/>
              <a:gd name="T53" fmla="*/ 5 h 27"/>
              <a:gd name="T54" fmla="*/ 41 w 86"/>
              <a:gd name="T55" fmla="*/ 8 h 27"/>
              <a:gd name="T56" fmla="*/ 31 w 86"/>
              <a:gd name="T57" fmla="*/ 11 h 27"/>
              <a:gd name="T58" fmla="*/ 22 w 86"/>
              <a:gd name="T59" fmla="*/ 14 h 27"/>
              <a:gd name="T60" fmla="*/ 12 w 86"/>
              <a:gd name="T61" fmla="*/ 16 h 27"/>
              <a:gd name="T62" fmla="*/ 3 w 86"/>
              <a:gd name="T63" fmla="*/ 17 h 27"/>
              <a:gd name="T64" fmla="*/ 3 w 86"/>
              <a:gd name="T65" fmla="*/ 22 h 27"/>
              <a:gd name="T66" fmla="*/ 0 w 86"/>
              <a:gd name="T67" fmla="*/ 21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86" h="27">
                <a:moveTo>
                  <a:pt x="0" y="21"/>
                </a:moveTo>
                <a:lnTo>
                  <a:pt x="1" y="22"/>
                </a:lnTo>
                <a:lnTo>
                  <a:pt x="4" y="22"/>
                </a:lnTo>
                <a:lnTo>
                  <a:pt x="9" y="22"/>
                </a:lnTo>
                <a:lnTo>
                  <a:pt x="11" y="22"/>
                </a:lnTo>
                <a:lnTo>
                  <a:pt x="13" y="22"/>
                </a:lnTo>
                <a:lnTo>
                  <a:pt x="16" y="23"/>
                </a:lnTo>
                <a:lnTo>
                  <a:pt x="17" y="26"/>
                </a:lnTo>
                <a:lnTo>
                  <a:pt x="22" y="26"/>
                </a:lnTo>
                <a:lnTo>
                  <a:pt x="30" y="22"/>
                </a:lnTo>
                <a:lnTo>
                  <a:pt x="37" y="19"/>
                </a:lnTo>
                <a:lnTo>
                  <a:pt x="44" y="16"/>
                </a:lnTo>
                <a:lnTo>
                  <a:pt x="47" y="13"/>
                </a:lnTo>
                <a:lnTo>
                  <a:pt x="52" y="19"/>
                </a:lnTo>
                <a:lnTo>
                  <a:pt x="55" y="16"/>
                </a:lnTo>
                <a:lnTo>
                  <a:pt x="59" y="13"/>
                </a:lnTo>
                <a:lnTo>
                  <a:pt x="64" y="11"/>
                </a:lnTo>
                <a:lnTo>
                  <a:pt x="68" y="9"/>
                </a:lnTo>
                <a:lnTo>
                  <a:pt x="76" y="6"/>
                </a:lnTo>
                <a:lnTo>
                  <a:pt x="81" y="4"/>
                </a:lnTo>
                <a:lnTo>
                  <a:pt x="85" y="1"/>
                </a:lnTo>
                <a:lnTo>
                  <a:pt x="84" y="0"/>
                </a:lnTo>
                <a:lnTo>
                  <a:pt x="83" y="0"/>
                </a:lnTo>
                <a:lnTo>
                  <a:pt x="80" y="0"/>
                </a:lnTo>
                <a:lnTo>
                  <a:pt x="71" y="0"/>
                </a:lnTo>
                <a:lnTo>
                  <a:pt x="61" y="2"/>
                </a:lnTo>
                <a:lnTo>
                  <a:pt x="51" y="5"/>
                </a:lnTo>
                <a:lnTo>
                  <a:pt x="41" y="8"/>
                </a:lnTo>
                <a:lnTo>
                  <a:pt x="31" y="11"/>
                </a:lnTo>
                <a:lnTo>
                  <a:pt x="22" y="14"/>
                </a:lnTo>
                <a:lnTo>
                  <a:pt x="12" y="16"/>
                </a:lnTo>
                <a:lnTo>
                  <a:pt x="3" y="17"/>
                </a:lnTo>
                <a:lnTo>
                  <a:pt x="3" y="22"/>
                </a:lnTo>
                <a:lnTo>
                  <a:pt x="0" y="21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53" name="Freeform 257">
            <a:extLst>
              <a:ext uri="{FF2B5EF4-FFF2-40B4-BE49-F238E27FC236}">
                <a16:creationId xmlns:a16="http://schemas.microsoft.com/office/drawing/2014/main" id="{6D1EE6D1-DDBB-9AC9-136F-24BF6EB00A8A}"/>
              </a:ext>
            </a:extLst>
          </p:cNvPr>
          <p:cNvSpPr>
            <a:spLocks/>
          </p:cNvSpPr>
          <p:nvPr/>
        </p:nvSpPr>
        <p:spPr bwMode="auto">
          <a:xfrm>
            <a:off x="3860175" y="2417609"/>
            <a:ext cx="242888" cy="61913"/>
          </a:xfrm>
          <a:custGeom>
            <a:avLst/>
            <a:gdLst>
              <a:gd name="T0" fmla="*/ 29 w 120"/>
              <a:gd name="T1" fmla="*/ 32 h 33"/>
              <a:gd name="T2" fmla="*/ 26 w 120"/>
              <a:gd name="T3" fmla="*/ 30 h 33"/>
              <a:gd name="T4" fmla="*/ 26 w 120"/>
              <a:gd name="T5" fmla="*/ 27 h 33"/>
              <a:gd name="T6" fmla="*/ 33 w 120"/>
              <a:gd name="T7" fmla="*/ 25 h 33"/>
              <a:gd name="T8" fmla="*/ 26 w 120"/>
              <a:gd name="T9" fmla="*/ 22 h 33"/>
              <a:gd name="T10" fmla="*/ 0 w 120"/>
              <a:gd name="T11" fmla="*/ 22 h 33"/>
              <a:gd name="T12" fmla="*/ 1 w 120"/>
              <a:gd name="T13" fmla="*/ 19 h 33"/>
              <a:gd name="T14" fmla="*/ 12 w 120"/>
              <a:gd name="T15" fmla="*/ 12 h 33"/>
              <a:gd name="T16" fmla="*/ 29 w 120"/>
              <a:gd name="T17" fmla="*/ 5 h 33"/>
              <a:gd name="T18" fmla="*/ 44 w 120"/>
              <a:gd name="T19" fmla="*/ 0 h 33"/>
              <a:gd name="T20" fmla="*/ 49 w 120"/>
              <a:gd name="T21" fmla="*/ 3 h 33"/>
              <a:gd name="T22" fmla="*/ 50 w 120"/>
              <a:gd name="T23" fmla="*/ 5 h 33"/>
              <a:gd name="T24" fmla="*/ 55 w 120"/>
              <a:gd name="T25" fmla="*/ 6 h 33"/>
              <a:gd name="T26" fmla="*/ 59 w 120"/>
              <a:gd name="T27" fmla="*/ 12 h 33"/>
              <a:gd name="T28" fmla="*/ 61 w 120"/>
              <a:gd name="T29" fmla="*/ 17 h 33"/>
              <a:gd name="T30" fmla="*/ 64 w 120"/>
              <a:gd name="T31" fmla="*/ 18 h 33"/>
              <a:gd name="T32" fmla="*/ 72 w 120"/>
              <a:gd name="T33" fmla="*/ 18 h 33"/>
              <a:gd name="T34" fmla="*/ 77 w 120"/>
              <a:gd name="T35" fmla="*/ 16 h 33"/>
              <a:gd name="T36" fmla="*/ 85 w 120"/>
              <a:gd name="T37" fmla="*/ 12 h 33"/>
              <a:gd name="T38" fmla="*/ 94 w 120"/>
              <a:gd name="T39" fmla="*/ 3 h 33"/>
              <a:gd name="T40" fmla="*/ 104 w 120"/>
              <a:gd name="T41" fmla="*/ 0 h 33"/>
              <a:gd name="T42" fmla="*/ 100 w 120"/>
              <a:gd name="T43" fmla="*/ 12 h 33"/>
              <a:gd name="T44" fmla="*/ 109 w 120"/>
              <a:gd name="T45" fmla="*/ 12 h 33"/>
              <a:gd name="T46" fmla="*/ 116 w 120"/>
              <a:gd name="T47" fmla="*/ 12 h 33"/>
              <a:gd name="T48" fmla="*/ 117 w 120"/>
              <a:gd name="T49" fmla="*/ 16 h 33"/>
              <a:gd name="T50" fmla="*/ 107 w 120"/>
              <a:gd name="T51" fmla="*/ 24 h 33"/>
              <a:gd name="T52" fmla="*/ 100 w 120"/>
              <a:gd name="T53" fmla="*/ 27 h 33"/>
              <a:gd name="T54" fmla="*/ 94 w 120"/>
              <a:gd name="T55" fmla="*/ 29 h 33"/>
              <a:gd name="T56" fmla="*/ 89 w 120"/>
              <a:gd name="T57" fmla="*/ 28 h 33"/>
              <a:gd name="T58" fmla="*/ 85 w 120"/>
              <a:gd name="T59" fmla="*/ 26 h 33"/>
              <a:gd name="T60" fmla="*/ 79 w 120"/>
              <a:gd name="T61" fmla="*/ 24 h 33"/>
              <a:gd name="T62" fmla="*/ 72 w 120"/>
              <a:gd name="T63" fmla="*/ 24 h 33"/>
              <a:gd name="T64" fmla="*/ 54 w 120"/>
              <a:gd name="T65" fmla="*/ 27 h 33"/>
              <a:gd name="T66" fmla="*/ 37 w 120"/>
              <a:gd name="T67" fmla="*/ 32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20" h="33">
                <a:moveTo>
                  <a:pt x="31" y="32"/>
                </a:moveTo>
                <a:lnTo>
                  <a:pt x="29" y="32"/>
                </a:lnTo>
                <a:lnTo>
                  <a:pt x="27" y="31"/>
                </a:lnTo>
                <a:lnTo>
                  <a:pt x="26" y="30"/>
                </a:lnTo>
                <a:lnTo>
                  <a:pt x="24" y="29"/>
                </a:lnTo>
                <a:lnTo>
                  <a:pt x="26" y="27"/>
                </a:lnTo>
                <a:lnTo>
                  <a:pt x="28" y="26"/>
                </a:lnTo>
                <a:lnTo>
                  <a:pt x="33" y="25"/>
                </a:lnTo>
                <a:lnTo>
                  <a:pt x="29" y="24"/>
                </a:lnTo>
                <a:lnTo>
                  <a:pt x="26" y="22"/>
                </a:lnTo>
                <a:lnTo>
                  <a:pt x="16" y="22"/>
                </a:lnTo>
                <a:lnTo>
                  <a:pt x="0" y="22"/>
                </a:lnTo>
                <a:lnTo>
                  <a:pt x="0" y="20"/>
                </a:lnTo>
                <a:lnTo>
                  <a:pt x="1" y="19"/>
                </a:lnTo>
                <a:lnTo>
                  <a:pt x="6" y="16"/>
                </a:lnTo>
                <a:lnTo>
                  <a:pt x="12" y="12"/>
                </a:lnTo>
                <a:lnTo>
                  <a:pt x="20" y="9"/>
                </a:lnTo>
                <a:lnTo>
                  <a:pt x="29" y="5"/>
                </a:lnTo>
                <a:lnTo>
                  <a:pt x="37" y="3"/>
                </a:lnTo>
                <a:lnTo>
                  <a:pt x="44" y="0"/>
                </a:lnTo>
                <a:lnTo>
                  <a:pt x="49" y="0"/>
                </a:lnTo>
                <a:lnTo>
                  <a:pt x="49" y="3"/>
                </a:lnTo>
                <a:lnTo>
                  <a:pt x="49" y="4"/>
                </a:lnTo>
                <a:lnTo>
                  <a:pt x="50" y="5"/>
                </a:lnTo>
                <a:lnTo>
                  <a:pt x="52" y="6"/>
                </a:lnTo>
                <a:lnTo>
                  <a:pt x="55" y="6"/>
                </a:lnTo>
                <a:lnTo>
                  <a:pt x="59" y="6"/>
                </a:lnTo>
                <a:lnTo>
                  <a:pt x="59" y="12"/>
                </a:lnTo>
                <a:lnTo>
                  <a:pt x="60" y="16"/>
                </a:lnTo>
                <a:lnTo>
                  <a:pt x="61" y="17"/>
                </a:lnTo>
                <a:lnTo>
                  <a:pt x="62" y="18"/>
                </a:lnTo>
                <a:lnTo>
                  <a:pt x="64" y="18"/>
                </a:lnTo>
                <a:lnTo>
                  <a:pt x="67" y="18"/>
                </a:lnTo>
                <a:lnTo>
                  <a:pt x="72" y="18"/>
                </a:lnTo>
                <a:lnTo>
                  <a:pt x="76" y="17"/>
                </a:lnTo>
                <a:lnTo>
                  <a:pt x="77" y="16"/>
                </a:lnTo>
                <a:lnTo>
                  <a:pt x="81" y="15"/>
                </a:lnTo>
                <a:lnTo>
                  <a:pt x="85" y="12"/>
                </a:lnTo>
                <a:lnTo>
                  <a:pt x="90" y="6"/>
                </a:lnTo>
                <a:lnTo>
                  <a:pt x="94" y="3"/>
                </a:lnTo>
                <a:lnTo>
                  <a:pt x="98" y="0"/>
                </a:lnTo>
                <a:lnTo>
                  <a:pt x="104" y="0"/>
                </a:lnTo>
                <a:lnTo>
                  <a:pt x="104" y="7"/>
                </a:lnTo>
                <a:lnTo>
                  <a:pt x="100" y="12"/>
                </a:lnTo>
                <a:lnTo>
                  <a:pt x="105" y="12"/>
                </a:lnTo>
                <a:lnTo>
                  <a:pt x="109" y="12"/>
                </a:lnTo>
                <a:lnTo>
                  <a:pt x="114" y="12"/>
                </a:lnTo>
                <a:lnTo>
                  <a:pt x="116" y="12"/>
                </a:lnTo>
                <a:lnTo>
                  <a:pt x="119" y="13"/>
                </a:lnTo>
                <a:lnTo>
                  <a:pt x="117" y="16"/>
                </a:lnTo>
                <a:lnTo>
                  <a:pt x="114" y="18"/>
                </a:lnTo>
                <a:lnTo>
                  <a:pt x="107" y="24"/>
                </a:lnTo>
                <a:lnTo>
                  <a:pt x="104" y="25"/>
                </a:lnTo>
                <a:lnTo>
                  <a:pt x="100" y="27"/>
                </a:lnTo>
                <a:lnTo>
                  <a:pt x="96" y="28"/>
                </a:lnTo>
                <a:lnTo>
                  <a:pt x="94" y="29"/>
                </a:lnTo>
                <a:lnTo>
                  <a:pt x="91" y="29"/>
                </a:lnTo>
                <a:lnTo>
                  <a:pt x="89" y="28"/>
                </a:lnTo>
                <a:lnTo>
                  <a:pt x="86" y="27"/>
                </a:lnTo>
                <a:lnTo>
                  <a:pt x="85" y="26"/>
                </a:lnTo>
                <a:lnTo>
                  <a:pt x="82" y="25"/>
                </a:lnTo>
                <a:lnTo>
                  <a:pt x="79" y="24"/>
                </a:lnTo>
                <a:lnTo>
                  <a:pt x="77" y="24"/>
                </a:lnTo>
                <a:lnTo>
                  <a:pt x="72" y="24"/>
                </a:lnTo>
                <a:lnTo>
                  <a:pt x="65" y="25"/>
                </a:lnTo>
                <a:lnTo>
                  <a:pt x="54" y="27"/>
                </a:lnTo>
                <a:lnTo>
                  <a:pt x="42" y="30"/>
                </a:lnTo>
                <a:lnTo>
                  <a:pt x="37" y="32"/>
                </a:lnTo>
                <a:lnTo>
                  <a:pt x="31" y="32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54" name="Freeform 258">
            <a:extLst>
              <a:ext uri="{FF2B5EF4-FFF2-40B4-BE49-F238E27FC236}">
                <a16:creationId xmlns:a16="http://schemas.microsoft.com/office/drawing/2014/main" id="{B09EE648-D25C-FE5E-1093-F74E07C5DF53}"/>
              </a:ext>
            </a:extLst>
          </p:cNvPr>
          <p:cNvSpPr>
            <a:spLocks/>
          </p:cNvSpPr>
          <p:nvPr/>
        </p:nvSpPr>
        <p:spPr bwMode="auto">
          <a:xfrm>
            <a:off x="3993525" y="2363634"/>
            <a:ext cx="122238" cy="36513"/>
          </a:xfrm>
          <a:custGeom>
            <a:avLst/>
            <a:gdLst>
              <a:gd name="T0" fmla="*/ 11 w 60"/>
              <a:gd name="T1" fmla="*/ 19 h 20"/>
              <a:gd name="T2" fmla="*/ 8 w 60"/>
              <a:gd name="T3" fmla="*/ 18 h 20"/>
              <a:gd name="T4" fmla="*/ 5 w 60"/>
              <a:gd name="T5" fmla="*/ 17 h 20"/>
              <a:gd name="T6" fmla="*/ 0 w 60"/>
              <a:gd name="T7" fmla="*/ 13 h 20"/>
              <a:gd name="T8" fmla="*/ 3 w 60"/>
              <a:gd name="T9" fmla="*/ 11 h 20"/>
              <a:gd name="T10" fmla="*/ 6 w 60"/>
              <a:gd name="T11" fmla="*/ 10 h 20"/>
              <a:gd name="T12" fmla="*/ 15 w 60"/>
              <a:gd name="T13" fmla="*/ 9 h 20"/>
              <a:gd name="T14" fmla="*/ 22 w 60"/>
              <a:gd name="T15" fmla="*/ 9 h 20"/>
              <a:gd name="T16" fmla="*/ 26 w 60"/>
              <a:gd name="T17" fmla="*/ 8 h 20"/>
              <a:gd name="T18" fmla="*/ 26 w 60"/>
              <a:gd name="T19" fmla="*/ 7 h 20"/>
              <a:gd name="T20" fmla="*/ 31 w 60"/>
              <a:gd name="T21" fmla="*/ 5 h 20"/>
              <a:gd name="T22" fmla="*/ 35 w 60"/>
              <a:gd name="T23" fmla="*/ 3 h 20"/>
              <a:gd name="T24" fmla="*/ 42 w 60"/>
              <a:gd name="T25" fmla="*/ 0 h 20"/>
              <a:gd name="T26" fmla="*/ 48 w 60"/>
              <a:gd name="T27" fmla="*/ 0 h 20"/>
              <a:gd name="T28" fmla="*/ 52 w 60"/>
              <a:gd name="T29" fmla="*/ 0 h 20"/>
              <a:gd name="T30" fmla="*/ 59 w 60"/>
              <a:gd name="T31" fmla="*/ 1 h 20"/>
              <a:gd name="T32" fmla="*/ 55 w 60"/>
              <a:gd name="T33" fmla="*/ 5 h 20"/>
              <a:gd name="T34" fmla="*/ 52 w 60"/>
              <a:gd name="T35" fmla="*/ 9 h 20"/>
              <a:gd name="T36" fmla="*/ 48 w 60"/>
              <a:gd name="T37" fmla="*/ 12 h 20"/>
              <a:gd name="T38" fmla="*/ 45 w 60"/>
              <a:gd name="T39" fmla="*/ 13 h 20"/>
              <a:gd name="T40" fmla="*/ 42 w 60"/>
              <a:gd name="T41" fmla="*/ 15 h 20"/>
              <a:gd name="T42" fmla="*/ 33 w 60"/>
              <a:gd name="T43" fmla="*/ 17 h 20"/>
              <a:gd name="T44" fmla="*/ 26 w 60"/>
              <a:gd name="T45" fmla="*/ 19 h 20"/>
              <a:gd name="T46" fmla="*/ 26 w 60"/>
              <a:gd name="T47" fmla="*/ 17 h 20"/>
              <a:gd name="T48" fmla="*/ 24 w 60"/>
              <a:gd name="T49" fmla="*/ 17 h 20"/>
              <a:gd name="T50" fmla="*/ 22 w 60"/>
              <a:gd name="T51" fmla="*/ 15 h 20"/>
              <a:gd name="T52" fmla="*/ 19 w 60"/>
              <a:gd name="T53" fmla="*/ 17 h 20"/>
              <a:gd name="T54" fmla="*/ 14 w 60"/>
              <a:gd name="T55" fmla="*/ 18 h 20"/>
              <a:gd name="T56" fmla="*/ 11 w 60"/>
              <a:gd name="T57" fmla="*/ 19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60" h="20">
                <a:moveTo>
                  <a:pt x="11" y="19"/>
                </a:moveTo>
                <a:lnTo>
                  <a:pt x="8" y="18"/>
                </a:lnTo>
                <a:lnTo>
                  <a:pt x="5" y="17"/>
                </a:lnTo>
                <a:lnTo>
                  <a:pt x="0" y="13"/>
                </a:lnTo>
                <a:lnTo>
                  <a:pt x="3" y="11"/>
                </a:lnTo>
                <a:lnTo>
                  <a:pt x="6" y="10"/>
                </a:lnTo>
                <a:lnTo>
                  <a:pt x="15" y="9"/>
                </a:lnTo>
                <a:lnTo>
                  <a:pt x="22" y="9"/>
                </a:lnTo>
                <a:lnTo>
                  <a:pt x="26" y="8"/>
                </a:lnTo>
                <a:lnTo>
                  <a:pt x="26" y="7"/>
                </a:lnTo>
                <a:lnTo>
                  <a:pt x="31" y="5"/>
                </a:lnTo>
                <a:lnTo>
                  <a:pt x="35" y="3"/>
                </a:lnTo>
                <a:lnTo>
                  <a:pt x="42" y="0"/>
                </a:lnTo>
                <a:lnTo>
                  <a:pt x="48" y="0"/>
                </a:lnTo>
                <a:lnTo>
                  <a:pt x="52" y="0"/>
                </a:lnTo>
                <a:lnTo>
                  <a:pt x="59" y="1"/>
                </a:lnTo>
                <a:lnTo>
                  <a:pt x="55" y="5"/>
                </a:lnTo>
                <a:lnTo>
                  <a:pt x="52" y="9"/>
                </a:lnTo>
                <a:lnTo>
                  <a:pt x="48" y="12"/>
                </a:lnTo>
                <a:lnTo>
                  <a:pt x="45" y="13"/>
                </a:lnTo>
                <a:lnTo>
                  <a:pt x="42" y="15"/>
                </a:lnTo>
                <a:lnTo>
                  <a:pt x="33" y="17"/>
                </a:lnTo>
                <a:lnTo>
                  <a:pt x="26" y="19"/>
                </a:lnTo>
                <a:lnTo>
                  <a:pt x="26" y="17"/>
                </a:lnTo>
                <a:lnTo>
                  <a:pt x="24" y="17"/>
                </a:lnTo>
                <a:lnTo>
                  <a:pt x="22" y="15"/>
                </a:lnTo>
                <a:lnTo>
                  <a:pt x="19" y="17"/>
                </a:lnTo>
                <a:lnTo>
                  <a:pt x="14" y="18"/>
                </a:lnTo>
                <a:lnTo>
                  <a:pt x="11" y="19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55" name="Freeform 259">
            <a:extLst>
              <a:ext uri="{FF2B5EF4-FFF2-40B4-BE49-F238E27FC236}">
                <a16:creationId xmlns:a16="http://schemas.microsoft.com/office/drawing/2014/main" id="{C154C4B0-907E-B2E0-3B38-4B3519024A96}"/>
              </a:ext>
            </a:extLst>
          </p:cNvPr>
          <p:cNvSpPr>
            <a:spLocks/>
          </p:cNvSpPr>
          <p:nvPr/>
        </p:nvSpPr>
        <p:spPr bwMode="auto">
          <a:xfrm>
            <a:off x="4077663" y="2490634"/>
            <a:ext cx="131763" cy="85725"/>
          </a:xfrm>
          <a:custGeom>
            <a:avLst/>
            <a:gdLst>
              <a:gd name="T0" fmla="*/ 64 w 65"/>
              <a:gd name="T1" fmla="*/ 6 h 46"/>
              <a:gd name="T2" fmla="*/ 62 w 65"/>
              <a:gd name="T3" fmla="*/ 6 h 46"/>
              <a:gd name="T4" fmla="*/ 60 w 65"/>
              <a:gd name="T5" fmla="*/ 8 h 46"/>
              <a:gd name="T6" fmla="*/ 55 w 65"/>
              <a:gd name="T7" fmla="*/ 10 h 46"/>
              <a:gd name="T8" fmla="*/ 50 w 65"/>
              <a:gd name="T9" fmla="*/ 15 h 46"/>
              <a:gd name="T10" fmla="*/ 54 w 65"/>
              <a:gd name="T11" fmla="*/ 19 h 46"/>
              <a:gd name="T12" fmla="*/ 57 w 65"/>
              <a:gd name="T13" fmla="*/ 23 h 46"/>
              <a:gd name="T14" fmla="*/ 53 w 65"/>
              <a:gd name="T15" fmla="*/ 27 h 46"/>
              <a:gd name="T16" fmla="*/ 49 w 65"/>
              <a:gd name="T17" fmla="*/ 30 h 46"/>
              <a:gd name="T18" fmla="*/ 47 w 65"/>
              <a:gd name="T19" fmla="*/ 31 h 46"/>
              <a:gd name="T20" fmla="*/ 44 w 65"/>
              <a:gd name="T21" fmla="*/ 31 h 46"/>
              <a:gd name="T22" fmla="*/ 42 w 65"/>
              <a:gd name="T23" fmla="*/ 31 h 46"/>
              <a:gd name="T24" fmla="*/ 41 w 65"/>
              <a:gd name="T25" fmla="*/ 30 h 46"/>
              <a:gd name="T26" fmla="*/ 40 w 65"/>
              <a:gd name="T27" fmla="*/ 32 h 46"/>
              <a:gd name="T28" fmla="*/ 39 w 65"/>
              <a:gd name="T29" fmla="*/ 33 h 46"/>
              <a:gd name="T30" fmla="*/ 38 w 65"/>
              <a:gd name="T31" fmla="*/ 35 h 46"/>
              <a:gd name="T32" fmla="*/ 37 w 65"/>
              <a:gd name="T33" fmla="*/ 36 h 46"/>
              <a:gd name="T34" fmla="*/ 35 w 65"/>
              <a:gd name="T35" fmla="*/ 38 h 46"/>
              <a:gd name="T36" fmla="*/ 32 w 65"/>
              <a:gd name="T37" fmla="*/ 39 h 46"/>
              <a:gd name="T38" fmla="*/ 27 w 65"/>
              <a:gd name="T39" fmla="*/ 41 h 46"/>
              <a:gd name="T40" fmla="*/ 24 w 65"/>
              <a:gd name="T41" fmla="*/ 41 h 46"/>
              <a:gd name="T42" fmla="*/ 22 w 65"/>
              <a:gd name="T43" fmla="*/ 45 h 46"/>
              <a:gd name="T44" fmla="*/ 14 w 65"/>
              <a:gd name="T45" fmla="*/ 45 h 46"/>
              <a:gd name="T46" fmla="*/ 14 w 65"/>
              <a:gd name="T47" fmla="*/ 41 h 46"/>
              <a:gd name="T48" fmla="*/ 13 w 65"/>
              <a:gd name="T49" fmla="*/ 39 h 46"/>
              <a:gd name="T50" fmla="*/ 11 w 65"/>
              <a:gd name="T51" fmla="*/ 36 h 46"/>
              <a:gd name="T52" fmla="*/ 9 w 65"/>
              <a:gd name="T53" fmla="*/ 33 h 46"/>
              <a:gd name="T54" fmla="*/ 6 w 65"/>
              <a:gd name="T55" fmla="*/ 32 h 46"/>
              <a:gd name="T56" fmla="*/ 4 w 65"/>
              <a:gd name="T57" fmla="*/ 31 h 46"/>
              <a:gd name="T58" fmla="*/ 1 w 65"/>
              <a:gd name="T59" fmla="*/ 30 h 46"/>
              <a:gd name="T60" fmla="*/ 0 w 65"/>
              <a:gd name="T61" fmla="*/ 27 h 46"/>
              <a:gd name="T62" fmla="*/ 0 w 65"/>
              <a:gd name="T63" fmla="*/ 26 h 46"/>
              <a:gd name="T64" fmla="*/ 0 w 65"/>
              <a:gd name="T65" fmla="*/ 24 h 46"/>
              <a:gd name="T66" fmla="*/ 0 w 65"/>
              <a:gd name="T67" fmla="*/ 22 h 46"/>
              <a:gd name="T68" fmla="*/ 0 w 65"/>
              <a:gd name="T69" fmla="*/ 19 h 46"/>
              <a:gd name="T70" fmla="*/ 1 w 65"/>
              <a:gd name="T71" fmla="*/ 19 h 46"/>
              <a:gd name="T72" fmla="*/ 2 w 65"/>
              <a:gd name="T73" fmla="*/ 18 h 46"/>
              <a:gd name="T74" fmla="*/ 3 w 65"/>
              <a:gd name="T75" fmla="*/ 18 h 46"/>
              <a:gd name="T76" fmla="*/ 5 w 65"/>
              <a:gd name="T77" fmla="*/ 17 h 46"/>
              <a:gd name="T78" fmla="*/ 8 w 65"/>
              <a:gd name="T79" fmla="*/ 17 h 46"/>
              <a:gd name="T80" fmla="*/ 9 w 65"/>
              <a:gd name="T81" fmla="*/ 18 h 46"/>
              <a:gd name="T82" fmla="*/ 12 w 65"/>
              <a:gd name="T83" fmla="*/ 19 h 46"/>
              <a:gd name="T84" fmla="*/ 15 w 65"/>
              <a:gd name="T85" fmla="*/ 20 h 46"/>
              <a:gd name="T86" fmla="*/ 19 w 65"/>
              <a:gd name="T87" fmla="*/ 22 h 46"/>
              <a:gd name="T88" fmla="*/ 22 w 65"/>
              <a:gd name="T89" fmla="*/ 20 h 46"/>
              <a:gd name="T90" fmla="*/ 24 w 65"/>
              <a:gd name="T91" fmla="*/ 19 h 46"/>
              <a:gd name="T92" fmla="*/ 25 w 65"/>
              <a:gd name="T93" fmla="*/ 19 h 46"/>
              <a:gd name="T94" fmla="*/ 26 w 65"/>
              <a:gd name="T95" fmla="*/ 18 h 46"/>
              <a:gd name="T96" fmla="*/ 26 w 65"/>
              <a:gd name="T97" fmla="*/ 17 h 46"/>
              <a:gd name="T98" fmla="*/ 27 w 65"/>
              <a:gd name="T99" fmla="*/ 15 h 46"/>
              <a:gd name="T100" fmla="*/ 26 w 65"/>
              <a:gd name="T101" fmla="*/ 12 h 46"/>
              <a:gd name="T102" fmla="*/ 27 w 65"/>
              <a:gd name="T103" fmla="*/ 9 h 46"/>
              <a:gd name="T104" fmla="*/ 28 w 65"/>
              <a:gd name="T105" fmla="*/ 8 h 46"/>
              <a:gd name="T106" fmla="*/ 32 w 65"/>
              <a:gd name="T107" fmla="*/ 6 h 46"/>
              <a:gd name="T108" fmla="*/ 36 w 65"/>
              <a:gd name="T109" fmla="*/ 5 h 46"/>
              <a:gd name="T110" fmla="*/ 42 w 65"/>
              <a:gd name="T111" fmla="*/ 3 h 46"/>
              <a:gd name="T112" fmla="*/ 55 w 65"/>
              <a:gd name="T113" fmla="*/ 1 h 46"/>
              <a:gd name="T114" fmla="*/ 64 w 65"/>
              <a:gd name="T115" fmla="*/ 0 h 46"/>
              <a:gd name="T116" fmla="*/ 64 w 65"/>
              <a:gd name="T117" fmla="*/ 6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5" h="46">
                <a:moveTo>
                  <a:pt x="64" y="6"/>
                </a:moveTo>
                <a:lnTo>
                  <a:pt x="62" y="6"/>
                </a:lnTo>
                <a:lnTo>
                  <a:pt x="60" y="8"/>
                </a:lnTo>
                <a:lnTo>
                  <a:pt x="55" y="10"/>
                </a:lnTo>
                <a:lnTo>
                  <a:pt x="50" y="15"/>
                </a:lnTo>
                <a:lnTo>
                  <a:pt x="54" y="19"/>
                </a:lnTo>
                <a:lnTo>
                  <a:pt x="57" y="23"/>
                </a:lnTo>
                <a:lnTo>
                  <a:pt x="53" y="27"/>
                </a:lnTo>
                <a:lnTo>
                  <a:pt x="49" y="30"/>
                </a:lnTo>
                <a:lnTo>
                  <a:pt x="47" y="31"/>
                </a:lnTo>
                <a:lnTo>
                  <a:pt x="44" y="31"/>
                </a:lnTo>
                <a:lnTo>
                  <a:pt x="42" y="31"/>
                </a:lnTo>
                <a:lnTo>
                  <a:pt x="41" y="30"/>
                </a:lnTo>
                <a:lnTo>
                  <a:pt x="40" y="32"/>
                </a:lnTo>
                <a:lnTo>
                  <a:pt x="39" y="33"/>
                </a:lnTo>
                <a:lnTo>
                  <a:pt x="38" y="35"/>
                </a:lnTo>
                <a:lnTo>
                  <a:pt x="37" y="36"/>
                </a:lnTo>
                <a:lnTo>
                  <a:pt x="35" y="38"/>
                </a:lnTo>
                <a:lnTo>
                  <a:pt x="32" y="39"/>
                </a:lnTo>
                <a:lnTo>
                  <a:pt x="27" y="41"/>
                </a:lnTo>
                <a:lnTo>
                  <a:pt x="24" y="41"/>
                </a:lnTo>
                <a:lnTo>
                  <a:pt x="22" y="45"/>
                </a:lnTo>
                <a:lnTo>
                  <a:pt x="14" y="45"/>
                </a:lnTo>
                <a:lnTo>
                  <a:pt x="14" y="41"/>
                </a:lnTo>
                <a:lnTo>
                  <a:pt x="13" y="39"/>
                </a:lnTo>
                <a:lnTo>
                  <a:pt x="11" y="36"/>
                </a:lnTo>
                <a:lnTo>
                  <a:pt x="9" y="33"/>
                </a:lnTo>
                <a:lnTo>
                  <a:pt x="6" y="32"/>
                </a:lnTo>
                <a:lnTo>
                  <a:pt x="4" y="31"/>
                </a:lnTo>
                <a:lnTo>
                  <a:pt x="1" y="30"/>
                </a:lnTo>
                <a:lnTo>
                  <a:pt x="0" y="27"/>
                </a:lnTo>
                <a:lnTo>
                  <a:pt x="0" y="26"/>
                </a:lnTo>
                <a:lnTo>
                  <a:pt x="0" y="24"/>
                </a:lnTo>
                <a:lnTo>
                  <a:pt x="0" y="22"/>
                </a:lnTo>
                <a:lnTo>
                  <a:pt x="0" y="19"/>
                </a:lnTo>
                <a:lnTo>
                  <a:pt x="1" y="19"/>
                </a:lnTo>
                <a:lnTo>
                  <a:pt x="2" y="18"/>
                </a:lnTo>
                <a:lnTo>
                  <a:pt x="3" y="18"/>
                </a:lnTo>
                <a:lnTo>
                  <a:pt x="5" y="17"/>
                </a:lnTo>
                <a:lnTo>
                  <a:pt x="8" y="17"/>
                </a:lnTo>
                <a:lnTo>
                  <a:pt x="9" y="18"/>
                </a:lnTo>
                <a:lnTo>
                  <a:pt x="12" y="19"/>
                </a:lnTo>
                <a:lnTo>
                  <a:pt x="15" y="20"/>
                </a:lnTo>
                <a:lnTo>
                  <a:pt x="19" y="22"/>
                </a:lnTo>
                <a:lnTo>
                  <a:pt x="22" y="20"/>
                </a:lnTo>
                <a:lnTo>
                  <a:pt x="24" y="19"/>
                </a:lnTo>
                <a:lnTo>
                  <a:pt x="25" y="19"/>
                </a:lnTo>
                <a:lnTo>
                  <a:pt x="26" y="18"/>
                </a:lnTo>
                <a:lnTo>
                  <a:pt x="26" y="17"/>
                </a:lnTo>
                <a:lnTo>
                  <a:pt x="27" y="15"/>
                </a:lnTo>
                <a:lnTo>
                  <a:pt x="26" y="12"/>
                </a:lnTo>
                <a:lnTo>
                  <a:pt x="27" y="9"/>
                </a:lnTo>
                <a:lnTo>
                  <a:pt x="28" y="8"/>
                </a:lnTo>
                <a:lnTo>
                  <a:pt x="32" y="6"/>
                </a:lnTo>
                <a:lnTo>
                  <a:pt x="36" y="5"/>
                </a:lnTo>
                <a:lnTo>
                  <a:pt x="42" y="3"/>
                </a:lnTo>
                <a:lnTo>
                  <a:pt x="55" y="1"/>
                </a:lnTo>
                <a:lnTo>
                  <a:pt x="64" y="0"/>
                </a:lnTo>
                <a:lnTo>
                  <a:pt x="64" y="6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56" name="Freeform 260">
            <a:extLst>
              <a:ext uri="{FF2B5EF4-FFF2-40B4-BE49-F238E27FC236}">
                <a16:creationId xmlns:a16="http://schemas.microsoft.com/office/drawing/2014/main" id="{5C8C2545-EB40-D736-BDE3-F41F90F14D52}"/>
              </a:ext>
            </a:extLst>
          </p:cNvPr>
          <p:cNvSpPr>
            <a:spLocks/>
          </p:cNvSpPr>
          <p:nvPr/>
        </p:nvSpPr>
        <p:spPr bwMode="auto">
          <a:xfrm>
            <a:off x="4044325" y="2617634"/>
            <a:ext cx="79375" cy="39688"/>
          </a:xfrm>
          <a:custGeom>
            <a:avLst/>
            <a:gdLst>
              <a:gd name="T0" fmla="*/ 21 w 40"/>
              <a:gd name="T1" fmla="*/ 20 h 21"/>
              <a:gd name="T2" fmla="*/ 18 w 40"/>
              <a:gd name="T3" fmla="*/ 20 h 21"/>
              <a:gd name="T4" fmla="*/ 16 w 40"/>
              <a:gd name="T5" fmla="*/ 18 h 21"/>
              <a:gd name="T6" fmla="*/ 9 w 40"/>
              <a:gd name="T7" fmla="*/ 17 h 21"/>
              <a:gd name="T8" fmla="*/ 3 w 40"/>
              <a:gd name="T9" fmla="*/ 14 h 21"/>
              <a:gd name="T10" fmla="*/ 0 w 40"/>
              <a:gd name="T11" fmla="*/ 12 h 21"/>
              <a:gd name="T12" fmla="*/ 7 w 40"/>
              <a:gd name="T13" fmla="*/ 7 h 21"/>
              <a:gd name="T14" fmla="*/ 13 w 40"/>
              <a:gd name="T15" fmla="*/ 5 h 21"/>
              <a:gd name="T16" fmla="*/ 21 w 40"/>
              <a:gd name="T17" fmla="*/ 1 h 21"/>
              <a:gd name="T18" fmla="*/ 28 w 40"/>
              <a:gd name="T19" fmla="*/ 0 h 21"/>
              <a:gd name="T20" fmla="*/ 30 w 40"/>
              <a:gd name="T21" fmla="*/ 2 h 21"/>
              <a:gd name="T22" fmla="*/ 31 w 40"/>
              <a:gd name="T23" fmla="*/ 3 h 21"/>
              <a:gd name="T24" fmla="*/ 32 w 40"/>
              <a:gd name="T25" fmla="*/ 4 h 21"/>
              <a:gd name="T26" fmla="*/ 35 w 40"/>
              <a:gd name="T27" fmla="*/ 5 h 21"/>
              <a:gd name="T28" fmla="*/ 39 w 40"/>
              <a:gd name="T29" fmla="*/ 5 h 21"/>
              <a:gd name="T30" fmla="*/ 39 w 40"/>
              <a:gd name="T31" fmla="*/ 10 h 21"/>
              <a:gd name="T32" fmla="*/ 39 w 40"/>
              <a:gd name="T33" fmla="*/ 16 h 21"/>
              <a:gd name="T34" fmla="*/ 30 w 40"/>
              <a:gd name="T35" fmla="*/ 18 h 21"/>
              <a:gd name="T36" fmla="*/ 26 w 40"/>
              <a:gd name="T37" fmla="*/ 20 h 21"/>
              <a:gd name="T38" fmla="*/ 21 w 40"/>
              <a:gd name="T39" fmla="*/ 20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40" h="21">
                <a:moveTo>
                  <a:pt x="21" y="20"/>
                </a:moveTo>
                <a:lnTo>
                  <a:pt x="18" y="20"/>
                </a:lnTo>
                <a:lnTo>
                  <a:pt x="16" y="18"/>
                </a:lnTo>
                <a:lnTo>
                  <a:pt x="9" y="17"/>
                </a:lnTo>
                <a:lnTo>
                  <a:pt x="3" y="14"/>
                </a:lnTo>
                <a:lnTo>
                  <a:pt x="0" y="12"/>
                </a:lnTo>
                <a:lnTo>
                  <a:pt x="7" y="7"/>
                </a:lnTo>
                <a:lnTo>
                  <a:pt x="13" y="5"/>
                </a:lnTo>
                <a:lnTo>
                  <a:pt x="21" y="1"/>
                </a:lnTo>
                <a:lnTo>
                  <a:pt x="28" y="0"/>
                </a:lnTo>
                <a:lnTo>
                  <a:pt x="30" y="2"/>
                </a:lnTo>
                <a:lnTo>
                  <a:pt x="31" y="3"/>
                </a:lnTo>
                <a:lnTo>
                  <a:pt x="32" y="4"/>
                </a:lnTo>
                <a:lnTo>
                  <a:pt x="35" y="5"/>
                </a:lnTo>
                <a:lnTo>
                  <a:pt x="39" y="5"/>
                </a:lnTo>
                <a:lnTo>
                  <a:pt x="39" y="10"/>
                </a:lnTo>
                <a:lnTo>
                  <a:pt x="39" y="16"/>
                </a:lnTo>
                <a:lnTo>
                  <a:pt x="30" y="18"/>
                </a:lnTo>
                <a:lnTo>
                  <a:pt x="26" y="20"/>
                </a:lnTo>
                <a:lnTo>
                  <a:pt x="21" y="2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57" name="Freeform 261">
            <a:extLst>
              <a:ext uri="{FF2B5EF4-FFF2-40B4-BE49-F238E27FC236}">
                <a16:creationId xmlns:a16="http://schemas.microsoft.com/office/drawing/2014/main" id="{03361C0C-7D1F-EE93-084F-162F9CCC2050}"/>
              </a:ext>
            </a:extLst>
          </p:cNvPr>
          <p:cNvSpPr>
            <a:spLocks/>
          </p:cNvSpPr>
          <p:nvPr/>
        </p:nvSpPr>
        <p:spPr bwMode="auto">
          <a:xfrm>
            <a:off x="4196725" y="2741459"/>
            <a:ext cx="152400" cy="87313"/>
          </a:xfrm>
          <a:custGeom>
            <a:avLst/>
            <a:gdLst>
              <a:gd name="T0" fmla="*/ 53 w 75"/>
              <a:gd name="T1" fmla="*/ 41 h 47"/>
              <a:gd name="T2" fmla="*/ 52 w 75"/>
              <a:gd name="T3" fmla="*/ 37 h 47"/>
              <a:gd name="T4" fmla="*/ 51 w 75"/>
              <a:gd name="T5" fmla="*/ 32 h 47"/>
              <a:gd name="T6" fmla="*/ 48 w 75"/>
              <a:gd name="T7" fmla="*/ 28 h 47"/>
              <a:gd name="T8" fmla="*/ 47 w 75"/>
              <a:gd name="T9" fmla="*/ 28 h 47"/>
              <a:gd name="T10" fmla="*/ 45 w 75"/>
              <a:gd name="T11" fmla="*/ 28 h 47"/>
              <a:gd name="T12" fmla="*/ 42 w 75"/>
              <a:gd name="T13" fmla="*/ 28 h 47"/>
              <a:gd name="T14" fmla="*/ 39 w 75"/>
              <a:gd name="T15" fmla="*/ 28 h 47"/>
              <a:gd name="T16" fmla="*/ 38 w 75"/>
              <a:gd name="T17" fmla="*/ 29 h 47"/>
              <a:gd name="T18" fmla="*/ 35 w 75"/>
              <a:gd name="T19" fmla="*/ 31 h 47"/>
              <a:gd name="T20" fmla="*/ 34 w 75"/>
              <a:gd name="T21" fmla="*/ 32 h 47"/>
              <a:gd name="T22" fmla="*/ 31 w 75"/>
              <a:gd name="T23" fmla="*/ 34 h 47"/>
              <a:gd name="T24" fmla="*/ 27 w 75"/>
              <a:gd name="T25" fmla="*/ 38 h 47"/>
              <a:gd name="T26" fmla="*/ 24 w 75"/>
              <a:gd name="T27" fmla="*/ 42 h 47"/>
              <a:gd name="T28" fmla="*/ 20 w 75"/>
              <a:gd name="T29" fmla="*/ 45 h 47"/>
              <a:gd name="T30" fmla="*/ 17 w 75"/>
              <a:gd name="T31" fmla="*/ 46 h 47"/>
              <a:gd name="T32" fmla="*/ 15 w 75"/>
              <a:gd name="T33" fmla="*/ 46 h 47"/>
              <a:gd name="T34" fmla="*/ 13 w 75"/>
              <a:gd name="T35" fmla="*/ 46 h 47"/>
              <a:gd name="T36" fmla="*/ 10 w 75"/>
              <a:gd name="T37" fmla="*/ 45 h 47"/>
              <a:gd name="T38" fmla="*/ 12 w 75"/>
              <a:gd name="T39" fmla="*/ 42 h 47"/>
              <a:gd name="T40" fmla="*/ 14 w 75"/>
              <a:gd name="T41" fmla="*/ 41 h 47"/>
              <a:gd name="T42" fmla="*/ 10 w 75"/>
              <a:gd name="T43" fmla="*/ 38 h 47"/>
              <a:gd name="T44" fmla="*/ 7 w 75"/>
              <a:gd name="T45" fmla="*/ 38 h 47"/>
              <a:gd name="T46" fmla="*/ 3 w 75"/>
              <a:gd name="T47" fmla="*/ 37 h 47"/>
              <a:gd name="T48" fmla="*/ 2 w 75"/>
              <a:gd name="T49" fmla="*/ 36 h 47"/>
              <a:gd name="T50" fmla="*/ 0 w 75"/>
              <a:gd name="T51" fmla="*/ 35 h 47"/>
              <a:gd name="T52" fmla="*/ 2 w 75"/>
              <a:gd name="T53" fmla="*/ 32 h 47"/>
              <a:gd name="T54" fmla="*/ 3 w 75"/>
              <a:gd name="T55" fmla="*/ 30 h 47"/>
              <a:gd name="T56" fmla="*/ 8 w 75"/>
              <a:gd name="T57" fmla="*/ 25 h 47"/>
              <a:gd name="T58" fmla="*/ 14 w 75"/>
              <a:gd name="T59" fmla="*/ 20 h 47"/>
              <a:gd name="T60" fmla="*/ 21 w 75"/>
              <a:gd name="T61" fmla="*/ 15 h 47"/>
              <a:gd name="T62" fmla="*/ 42 w 75"/>
              <a:gd name="T63" fmla="*/ 0 h 47"/>
              <a:gd name="T64" fmla="*/ 47 w 75"/>
              <a:gd name="T65" fmla="*/ 7 h 47"/>
              <a:gd name="T66" fmla="*/ 53 w 75"/>
              <a:gd name="T67" fmla="*/ 14 h 47"/>
              <a:gd name="T68" fmla="*/ 59 w 75"/>
              <a:gd name="T69" fmla="*/ 18 h 47"/>
              <a:gd name="T70" fmla="*/ 66 w 75"/>
              <a:gd name="T71" fmla="*/ 23 h 47"/>
              <a:gd name="T72" fmla="*/ 65 w 75"/>
              <a:gd name="T73" fmla="*/ 27 h 47"/>
              <a:gd name="T74" fmla="*/ 64 w 75"/>
              <a:gd name="T75" fmla="*/ 29 h 47"/>
              <a:gd name="T76" fmla="*/ 69 w 75"/>
              <a:gd name="T77" fmla="*/ 29 h 47"/>
              <a:gd name="T78" fmla="*/ 71 w 75"/>
              <a:gd name="T79" fmla="*/ 30 h 47"/>
              <a:gd name="T80" fmla="*/ 74 w 75"/>
              <a:gd name="T81" fmla="*/ 31 h 47"/>
              <a:gd name="T82" fmla="*/ 70 w 75"/>
              <a:gd name="T83" fmla="*/ 35 h 47"/>
              <a:gd name="T84" fmla="*/ 67 w 75"/>
              <a:gd name="T85" fmla="*/ 38 h 47"/>
              <a:gd name="T86" fmla="*/ 64 w 75"/>
              <a:gd name="T87" fmla="*/ 40 h 47"/>
              <a:gd name="T88" fmla="*/ 60 w 75"/>
              <a:gd name="T89" fmla="*/ 41 h 47"/>
              <a:gd name="T90" fmla="*/ 58 w 75"/>
              <a:gd name="T91" fmla="*/ 41 h 47"/>
              <a:gd name="T92" fmla="*/ 56 w 75"/>
              <a:gd name="T93" fmla="*/ 40 h 47"/>
              <a:gd name="T94" fmla="*/ 56 w 75"/>
              <a:gd name="T95" fmla="*/ 38 h 47"/>
              <a:gd name="T96" fmla="*/ 54 w 75"/>
              <a:gd name="T97" fmla="*/ 38 h 47"/>
              <a:gd name="T98" fmla="*/ 53 w 75"/>
              <a:gd name="T99" fmla="*/ 41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75" h="47">
                <a:moveTo>
                  <a:pt x="53" y="41"/>
                </a:moveTo>
                <a:lnTo>
                  <a:pt x="52" y="37"/>
                </a:lnTo>
                <a:lnTo>
                  <a:pt x="51" y="32"/>
                </a:lnTo>
                <a:lnTo>
                  <a:pt x="48" y="28"/>
                </a:lnTo>
                <a:lnTo>
                  <a:pt x="47" y="28"/>
                </a:lnTo>
                <a:lnTo>
                  <a:pt x="45" y="28"/>
                </a:lnTo>
                <a:lnTo>
                  <a:pt x="42" y="28"/>
                </a:lnTo>
                <a:lnTo>
                  <a:pt x="39" y="28"/>
                </a:lnTo>
                <a:lnTo>
                  <a:pt x="38" y="29"/>
                </a:lnTo>
                <a:lnTo>
                  <a:pt x="35" y="31"/>
                </a:lnTo>
                <a:lnTo>
                  <a:pt x="34" y="32"/>
                </a:lnTo>
                <a:lnTo>
                  <a:pt x="31" y="34"/>
                </a:lnTo>
                <a:lnTo>
                  <a:pt x="27" y="38"/>
                </a:lnTo>
                <a:lnTo>
                  <a:pt x="24" y="42"/>
                </a:lnTo>
                <a:lnTo>
                  <a:pt x="20" y="45"/>
                </a:lnTo>
                <a:lnTo>
                  <a:pt x="17" y="46"/>
                </a:lnTo>
                <a:lnTo>
                  <a:pt x="15" y="46"/>
                </a:lnTo>
                <a:lnTo>
                  <a:pt x="13" y="46"/>
                </a:lnTo>
                <a:lnTo>
                  <a:pt x="10" y="45"/>
                </a:lnTo>
                <a:lnTo>
                  <a:pt x="12" y="42"/>
                </a:lnTo>
                <a:lnTo>
                  <a:pt x="14" y="41"/>
                </a:lnTo>
                <a:lnTo>
                  <a:pt x="10" y="38"/>
                </a:lnTo>
                <a:lnTo>
                  <a:pt x="7" y="38"/>
                </a:lnTo>
                <a:lnTo>
                  <a:pt x="3" y="37"/>
                </a:lnTo>
                <a:lnTo>
                  <a:pt x="2" y="36"/>
                </a:lnTo>
                <a:lnTo>
                  <a:pt x="0" y="35"/>
                </a:lnTo>
                <a:lnTo>
                  <a:pt x="2" y="32"/>
                </a:lnTo>
                <a:lnTo>
                  <a:pt x="3" y="30"/>
                </a:lnTo>
                <a:lnTo>
                  <a:pt x="8" y="25"/>
                </a:lnTo>
                <a:lnTo>
                  <a:pt x="14" y="20"/>
                </a:lnTo>
                <a:lnTo>
                  <a:pt x="21" y="15"/>
                </a:lnTo>
                <a:lnTo>
                  <a:pt x="42" y="0"/>
                </a:lnTo>
                <a:lnTo>
                  <a:pt x="47" y="7"/>
                </a:lnTo>
                <a:lnTo>
                  <a:pt x="53" y="14"/>
                </a:lnTo>
                <a:lnTo>
                  <a:pt x="59" y="18"/>
                </a:lnTo>
                <a:lnTo>
                  <a:pt x="66" y="23"/>
                </a:lnTo>
                <a:lnTo>
                  <a:pt x="65" y="27"/>
                </a:lnTo>
                <a:lnTo>
                  <a:pt x="64" y="29"/>
                </a:lnTo>
                <a:lnTo>
                  <a:pt x="69" y="29"/>
                </a:lnTo>
                <a:lnTo>
                  <a:pt x="71" y="30"/>
                </a:lnTo>
                <a:lnTo>
                  <a:pt x="74" y="31"/>
                </a:lnTo>
                <a:lnTo>
                  <a:pt x="70" y="35"/>
                </a:lnTo>
                <a:lnTo>
                  <a:pt x="67" y="38"/>
                </a:lnTo>
                <a:lnTo>
                  <a:pt x="64" y="40"/>
                </a:lnTo>
                <a:lnTo>
                  <a:pt x="60" y="41"/>
                </a:lnTo>
                <a:lnTo>
                  <a:pt x="58" y="41"/>
                </a:lnTo>
                <a:lnTo>
                  <a:pt x="56" y="40"/>
                </a:lnTo>
                <a:lnTo>
                  <a:pt x="56" y="38"/>
                </a:lnTo>
                <a:lnTo>
                  <a:pt x="54" y="38"/>
                </a:lnTo>
                <a:lnTo>
                  <a:pt x="53" y="41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58" name="Freeform 262">
            <a:extLst>
              <a:ext uri="{FF2B5EF4-FFF2-40B4-BE49-F238E27FC236}">
                <a16:creationId xmlns:a16="http://schemas.microsoft.com/office/drawing/2014/main" id="{03BC3405-3B1E-DBF8-8048-E5AB1A785BCB}"/>
              </a:ext>
            </a:extLst>
          </p:cNvPr>
          <p:cNvSpPr>
            <a:spLocks/>
          </p:cNvSpPr>
          <p:nvPr/>
        </p:nvSpPr>
        <p:spPr bwMode="auto">
          <a:xfrm>
            <a:off x="4142750" y="2416021"/>
            <a:ext cx="128588" cy="52388"/>
          </a:xfrm>
          <a:custGeom>
            <a:avLst/>
            <a:gdLst>
              <a:gd name="T0" fmla="*/ 10 w 64"/>
              <a:gd name="T1" fmla="*/ 6 h 28"/>
              <a:gd name="T2" fmla="*/ 16 w 64"/>
              <a:gd name="T3" fmla="*/ 10 h 28"/>
              <a:gd name="T4" fmla="*/ 18 w 64"/>
              <a:gd name="T5" fmla="*/ 13 h 28"/>
              <a:gd name="T6" fmla="*/ 21 w 64"/>
              <a:gd name="T7" fmla="*/ 13 h 28"/>
              <a:gd name="T8" fmla="*/ 22 w 64"/>
              <a:gd name="T9" fmla="*/ 9 h 28"/>
              <a:gd name="T10" fmla="*/ 23 w 64"/>
              <a:gd name="T11" fmla="*/ 6 h 28"/>
              <a:gd name="T12" fmla="*/ 24 w 64"/>
              <a:gd name="T13" fmla="*/ 6 h 28"/>
              <a:gd name="T14" fmla="*/ 27 w 64"/>
              <a:gd name="T15" fmla="*/ 6 h 28"/>
              <a:gd name="T16" fmla="*/ 29 w 64"/>
              <a:gd name="T17" fmla="*/ 6 h 28"/>
              <a:gd name="T18" fmla="*/ 31 w 64"/>
              <a:gd name="T19" fmla="*/ 8 h 28"/>
              <a:gd name="T20" fmla="*/ 36 w 64"/>
              <a:gd name="T21" fmla="*/ 12 h 28"/>
              <a:gd name="T22" fmla="*/ 39 w 64"/>
              <a:gd name="T23" fmla="*/ 4 h 28"/>
              <a:gd name="T24" fmla="*/ 41 w 64"/>
              <a:gd name="T25" fmla="*/ 1 h 28"/>
              <a:gd name="T26" fmla="*/ 42 w 64"/>
              <a:gd name="T27" fmla="*/ 0 h 28"/>
              <a:gd name="T28" fmla="*/ 43 w 64"/>
              <a:gd name="T29" fmla="*/ 0 h 28"/>
              <a:gd name="T30" fmla="*/ 48 w 64"/>
              <a:gd name="T31" fmla="*/ 0 h 28"/>
              <a:gd name="T32" fmla="*/ 52 w 64"/>
              <a:gd name="T33" fmla="*/ 2 h 28"/>
              <a:gd name="T34" fmla="*/ 54 w 64"/>
              <a:gd name="T35" fmla="*/ 2 h 28"/>
              <a:gd name="T36" fmla="*/ 56 w 64"/>
              <a:gd name="T37" fmla="*/ 2 h 28"/>
              <a:gd name="T38" fmla="*/ 58 w 64"/>
              <a:gd name="T39" fmla="*/ 1 h 28"/>
              <a:gd name="T40" fmla="*/ 59 w 64"/>
              <a:gd name="T41" fmla="*/ 0 h 28"/>
              <a:gd name="T42" fmla="*/ 61 w 64"/>
              <a:gd name="T43" fmla="*/ 4 h 28"/>
              <a:gd name="T44" fmla="*/ 63 w 64"/>
              <a:gd name="T45" fmla="*/ 8 h 28"/>
              <a:gd name="T46" fmla="*/ 58 w 64"/>
              <a:gd name="T47" fmla="*/ 13 h 28"/>
              <a:gd name="T48" fmla="*/ 55 w 64"/>
              <a:gd name="T49" fmla="*/ 16 h 28"/>
              <a:gd name="T50" fmla="*/ 52 w 64"/>
              <a:gd name="T51" fmla="*/ 19 h 28"/>
              <a:gd name="T52" fmla="*/ 48 w 64"/>
              <a:gd name="T53" fmla="*/ 21 h 28"/>
              <a:gd name="T54" fmla="*/ 44 w 64"/>
              <a:gd name="T55" fmla="*/ 23 h 28"/>
              <a:gd name="T56" fmla="*/ 39 w 64"/>
              <a:gd name="T57" fmla="*/ 23 h 28"/>
              <a:gd name="T58" fmla="*/ 37 w 64"/>
              <a:gd name="T59" fmla="*/ 23 h 28"/>
              <a:gd name="T60" fmla="*/ 35 w 64"/>
              <a:gd name="T61" fmla="*/ 22 h 28"/>
              <a:gd name="T62" fmla="*/ 35 w 64"/>
              <a:gd name="T63" fmla="*/ 24 h 28"/>
              <a:gd name="T64" fmla="*/ 32 w 64"/>
              <a:gd name="T65" fmla="*/ 26 h 28"/>
              <a:gd name="T66" fmla="*/ 30 w 64"/>
              <a:gd name="T67" fmla="*/ 27 h 28"/>
              <a:gd name="T68" fmla="*/ 27 w 64"/>
              <a:gd name="T69" fmla="*/ 27 h 28"/>
              <a:gd name="T70" fmla="*/ 24 w 64"/>
              <a:gd name="T71" fmla="*/ 27 h 28"/>
              <a:gd name="T72" fmla="*/ 22 w 64"/>
              <a:gd name="T73" fmla="*/ 26 h 28"/>
              <a:gd name="T74" fmla="*/ 21 w 64"/>
              <a:gd name="T75" fmla="*/ 26 h 28"/>
              <a:gd name="T76" fmla="*/ 19 w 64"/>
              <a:gd name="T77" fmla="*/ 24 h 28"/>
              <a:gd name="T78" fmla="*/ 18 w 64"/>
              <a:gd name="T79" fmla="*/ 23 h 28"/>
              <a:gd name="T80" fmla="*/ 18 w 64"/>
              <a:gd name="T81" fmla="*/ 22 h 28"/>
              <a:gd name="T82" fmla="*/ 17 w 64"/>
              <a:gd name="T83" fmla="*/ 17 h 28"/>
              <a:gd name="T84" fmla="*/ 10 w 64"/>
              <a:gd name="T85" fmla="*/ 18 h 28"/>
              <a:gd name="T86" fmla="*/ 7 w 64"/>
              <a:gd name="T87" fmla="*/ 17 h 28"/>
              <a:gd name="T88" fmla="*/ 5 w 64"/>
              <a:gd name="T89" fmla="*/ 17 h 28"/>
              <a:gd name="T90" fmla="*/ 3 w 64"/>
              <a:gd name="T91" fmla="*/ 14 h 28"/>
              <a:gd name="T92" fmla="*/ 0 w 64"/>
              <a:gd name="T93" fmla="*/ 12 h 28"/>
              <a:gd name="T94" fmla="*/ 0 w 64"/>
              <a:gd name="T95" fmla="*/ 10 h 28"/>
              <a:gd name="T96" fmla="*/ 0 w 64"/>
              <a:gd name="T97" fmla="*/ 8 h 28"/>
              <a:gd name="T98" fmla="*/ 0 w 64"/>
              <a:gd name="T99" fmla="*/ 6 h 28"/>
              <a:gd name="T100" fmla="*/ 0 w 64"/>
              <a:gd name="T101" fmla="*/ 5 h 28"/>
              <a:gd name="T102" fmla="*/ 3 w 64"/>
              <a:gd name="T103" fmla="*/ 3 h 28"/>
              <a:gd name="T104" fmla="*/ 5 w 64"/>
              <a:gd name="T105" fmla="*/ 2 h 28"/>
              <a:gd name="T106" fmla="*/ 7 w 64"/>
              <a:gd name="T107" fmla="*/ 1 h 28"/>
              <a:gd name="T108" fmla="*/ 9 w 64"/>
              <a:gd name="T109" fmla="*/ 2 h 28"/>
              <a:gd name="T110" fmla="*/ 10 w 64"/>
              <a:gd name="T111" fmla="*/ 2 h 28"/>
              <a:gd name="T112" fmla="*/ 13 w 64"/>
              <a:gd name="T113" fmla="*/ 5 h 28"/>
              <a:gd name="T114" fmla="*/ 14 w 64"/>
              <a:gd name="T115" fmla="*/ 8 h 28"/>
              <a:gd name="T116" fmla="*/ 14 w 64"/>
              <a:gd name="T117" fmla="*/ 10 h 28"/>
              <a:gd name="T118" fmla="*/ 14 w 64"/>
              <a:gd name="T119" fmla="*/ 9 h 28"/>
              <a:gd name="T120" fmla="*/ 10 w 64"/>
              <a:gd name="T121" fmla="*/ 6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4" h="28">
                <a:moveTo>
                  <a:pt x="10" y="6"/>
                </a:moveTo>
                <a:lnTo>
                  <a:pt x="16" y="10"/>
                </a:lnTo>
                <a:lnTo>
                  <a:pt x="18" y="13"/>
                </a:lnTo>
                <a:lnTo>
                  <a:pt x="21" y="13"/>
                </a:lnTo>
                <a:lnTo>
                  <a:pt x="22" y="9"/>
                </a:lnTo>
                <a:lnTo>
                  <a:pt x="23" y="6"/>
                </a:lnTo>
                <a:lnTo>
                  <a:pt x="24" y="6"/>
                </a:lnTo>
                <a:lnTo>
                  <a:pt x="27" y="6"/>
                </a:lnTo>
                <a:lnTo>
                  <a:pt x="29" y="6"/>
                </a:lnTo>
                <a:lnTo>
                  <a:pt x="31" y="8"/>
                </a:lnTo>
                <a:lnTo>
                  <a:pt x="36" y="12"/>
                </a:lnTo>
                <a:lnTo>
                  <a:pt x="39" y="4"/>
                </a:lnTo>
                <a:lnTo>
                  <a:pt x="41" y="1"/>
                </a:lnTo>
                <a:lnTo>
                  <a:pt x="42" y="0"/>
                </a:lnTo>
                <a:lnTo>
                  <a:pt x="43" y="0"/>
                </a:lnTo>
                <a:lnTo>
                  <a:pt x="48" y="0"/>
                </a:lnTo>
                <a:lnTo>
                  <a:pt x="52" y="2"/>
                </a:lnTo>
                <a:lnTo>
                  <a:pt x="54" y="2"/>
                </a:lnTo>
                <a:lnTo>
                  <a:pt x="56" y="2"/>
                </a:lnTo>
                <a:lnTo>
                  <a:pt x="58" y="1"/>
                </a:lnTo>
                <a:lnTo>
                  <a:pt x="59" y="0"/>
                </a:lnTo>
                <a:lnTo>
                  <a:pt x="61" y="4"/>
                </a:lnTo>
                <a:lnTo>
                  <a:pt x="63" y="8"/>
                </a:lnTo>
                <a:lnTo>
                  <a:pt x="58" y="13"/>
                </a:lnTo>
                <a:lnTo>
                  <a:pt x="55" y="16"/>
                </a:lnTo>
                <a:lnTo>
                  <a:pt x="52" y="19"/>
                </a:lnTo>
                <a:lnTo>
                  <a:pt x="48" y="21"/>
                </a:lnTo>
                <a:lnTo>
                  <a:pt x="44" y="23"/>
                </a:lnTo>
                <a:lnTo>
                  <a:pt x="39" y="23"/>
                </a:lnTo>
                <a:lnTo>
                  <a:pt x="37" y="23"/>
                </a:lnTo>
                <a:lnTo>
                  <a:pt x="35" y="22"/>
                </a:lnTo>
                <a:lnTo>
                  <a:pt x="35" y="24"/>
                </a:lnTo>
                <a:lnTo>
                  <a:pt x="32" y="26"/>
                </a:lnTo>
                <a:lnTo>
                  <a:pt x="30" y="27"/>
                </a:lnTo>
                <a:lnTo>
                  <a:pt x="27" y="27"/>
                </a:lnTo>
                <a:lnTo>
                  <a:pt x="24" y="27"/>
                </a:lnTo>
                <a:lnTo>
                  <a:pt x="22" y="26"/>
                </a:lnTo>
                <a:lnTo>
                  <a:pt x="21" y="26"/>
                </a:lnTo>
                <a:lnTo>
                  <a:pt x="19" y="24"/>
                </a:lnTo>
                <a:lnTo>
                  <a:pt x="18" y="23"/>
                </a:lnTo>
                <a:lnTo>
                  <a:pt x="18" y="22"/>
                </a:lnTo>
                <a:lnTo>
                  <a:pt x="17" y="17"/>
                </a:lnTo>
                <a:lnTo>
                  <a:pt x="10" y="18"/>
                </a:lnTo>
                <a:lnTo>
                  <a:pt x="7" y="17"/>
                </a:lnTo>
                <a:lnTo>
                  <a:pt x="5" y="17"/>
                </a:lnTo>
                <a:lnTo>
                  <a:pt x="3" y="14"/>
                </a:lnTo>
                <a:lnTo>
                  <a:pt x="0" y="12"/>
                </a:lnTo>
                <a:lnTo>
                  <a:pt x="0" y="10"/>
                </a:lnTo>
                <a:lnTo>
                  <a:pt x="0" y="8"/>
                </a:lnTo>
                <a:lnTo>
                  <a:pt x="0" y="6"/>
                </a:lnTo>
                <a:lnTo>
                  <a:pt x="0" y="5"/>
                </a:lnTo>
                <a:lnTo>
                  <a:pt x="3" y="3"/>
                </a:lnTo>
                <a:lnTo>
                  <a:pt x="5" y="2"/>
                </a:lnTo>
                <a:lnTo>
                  <a:pt x="7" y="1"/>
                </a:lnTo>
                <a:lnTo>
                  <a:pt x="9" y="2"/>
                </a:lnTo>
                <a:lnTo>
                  <a:pt x="10" y="2"/>
                </a:lnTo>
                <a:lnTo>
                  <a:pt x="13" y="5"/>
                </a:lnTo>
                <a:lnTo>
                  <a:pt x="14" y="8"/>
                </a:lnTo>
                <a:lnTo>
                  <a:pt x="14" y="10"/>
                </a:lnTo>
                <a:lnTo>
                  <a:pt x="14" y="9"/>
                </a:lnTo>
                <a:lnTo>
                  <a:pt x="10" y="6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59" name="Freeform 263">
            <a:extLst>
              <a:ext uri="{FF2B5EF4-FFF2-40B4-BE49-F238E27FC236}">
                <a16:creationId xmlns:a16="http://schemas.microsoft.com/office/drawing/2014/main" id="{BE7CCE4A-970D-12F0-F9A2-C442159ED07A}"/>
              </a:ext>
            </a:extLst>
          </p:cNvPr>
          <p:cNvSpPr>
            <a:spLocks/>
          </p:cNvSpPr>
          <p:nvPr/>
        </p:nvSpPr>
        <p:spPr bwMode="auto">
          <a:xfrm>
            <a:off x="4301500" y="2409671"/>
            <a:ext cx="300038" cy="73025"/>
          </a:xfrm>
          <a:custGeom>
            <a:avLst/>
            <a:gdLst>
              <a:gd name="T0" fmla="*/ 33 w 149"/>
              <a:gd name="T1" fmla="*/ 17 h 39"/>
              <a:gd name="T2" fmla="*/ 29 w 149"/>
              <a:gd name="T3" fmla="*/ 13 h 39"/>
              <a:gd name="T4" fmla="*/ 24 w 149"/>
              <a:gd name="T5" fmla="*/ 13 h 39"/>
              <a:gd name="T6" fmla="*/ 16 w 149"/>
              <a:gd name="T7" fmla="*/ 15 h 39"/>
              <a:gd name="T8" fmla="*/ 9 w 149"/>
              <a:gd name="T9" fmla="*/ 15 h 39"/>
              <a:gd name="T10" fmla="*/ 5 w 149"/>
              <a:gd name="T11" fmla="*/ 11 h 39"/>
              <a:gd name="T12" fmla="*/ 0 w 149"/>
              <a:gd name="T13" fmla="*/ 5 h 39"/>
              <a:gd name="T14" fmla="*/ 9 w 149"/>
              <a:gd name="T15" fmla="*/ 1 h 39"/>
              <a:gd name="T16" fmla="*/ 19 w 149"/>
              <a:gd name="T17" fmla="*/ 0 h 39"/>
              <a:gd name="T18" fmla="*/ 25 w 149"/>
              <a:gd name="T19" fmla="*/ 1 h 39"/>
              <a:gd name="T20" fmla="*/ 34 w 149"/>
              <a:gd name="T21" fmla="*/ 7 h 39"/>
              <a:gd name="T22" fmla="*/ 40 w 149"/>
              <a:gd name="T23" fmla="*/ 8 h 39"/>
              <a:gd name="T24" fmla="*/ 53 w 149"/>
              <a:gd name="T25" fmla="*/ 8 h 39"/>
              <a:gd name="T26" fmla="*/ 59 w 149"/>
              <a:gd name="T27" fmla="*/ 4 h 39"/>
              <a:gd name="T28" fmla="*/ 62 w 149"/>
              <a:gd name="T29" fmla="*/ 5 h 39"/>
              <a:gd name="T30" fmla="*/ 60 w 149"/>
              <a:gd name="T31" fmla="*/ 8 h 39"/>
              <a:gd name="T32" fmla="*/ 55 w 149"/>
              <a:gd name="T33" fmla="*/ 10 h 39"/>
              <a:gd name="T34" fmla="*/ 54 w 149"/>
              <a:gd name="T35" fmla="*/ 12 h 39"/>
              <a:gd name="T36" fmla="*/ 55 w 149"/>
              <a:gd name="T37" fmla="*/ 17 h 39"/>
              <a:gd name="T38" fmla="*/ 58 w 149"/>
              <a:gd name="T39" fmla="*/ 20 h 39"/>
              <a:gd name="T40" fmla="*/ 64 w 149"/>
              <a:gd name="T41" fmla="*/ 20 h 39"/>
              <a:gd name="T42" fmla="*/ 72 w 149"/>
              <a:gd name="T43" fmla="*/ 20 h 39"/>
              <a:gd name="T44" fmla="*/ 86 w 149"/>
              <a:gd name="T45" fmla="*/ 20 h 39"/>
              <a:gd name="T46" fmla="*/ 98 w 149"/>
              <a:gd name="T47" fmla="*/ 17 h 39"/>
              <a:gd name="T48" fmla="*/ 116 w 149"/>
              <a:gd name="T49" fmla="*/ 15 h 39"/>
              <a:gd name="T50" fmla="*/ 127 w 149"/>
              <a:gd name="T51" fmla="*/ 15 h 39"/>
              <a:gd name="T52" fmla="*/ 138 w 149"/>
              <a:gd name="T53" fmla="*/ 17 h 39"/>
              <a:gd name="T54" fmla="*/ 148 w 149"/>
              <a:gd name="T55" fmla="*/ 22 h 39"/>
              <a:gd name="T56" fmla="*/ 144 w 149"/>
              <a:gd name="T57" fmla="*/ 30 h 39"/>
              <a:gd name="T58" fmla="*/ 141 w 149"/>
              <a:gd name="T59" fmla="*/ 35 h 39"/>
              <a:gd name="T60" fmla="*/ 138 w 149"/>
              <a:gd name="T61" fmla="*/ 36 h 39"/>
              <a:gd name="T62" fmla="*/ 127 w 149"/>
              <a:gd name="T63" fmla="*/ 38 h 39"/>
              <a:gd name="T64" fmla="*/ 118 w 149"/>
              <a:gd name="T65" fmla="*/ 38 h 39"/>
              <a:gd name="T66" fmla="*/ 107 w 149"/>
              <a:gd name="T67" fmla="*/ 35 h 39"/>
              <a:gd name="T68" fmla="*/ 99 w 149"/>
              <a:gd name="T69" fmla="*/ 34 h 39"/>
              <a:gd name="T70" fmla="*/ 88 w 149"/>
              <a:gd name="T71" fmla="*/ 31 h 39"/>
              <a:gd name="T72" fmla="*/ 80 w 149"/>
              <a:gd name="T73" fmla="*/ 29 h 39"/>
              <a:gd name="T74" fmla="*/ 73 w 149"/>
              <a:gd name="T75" fmla="*/ 29 h 39"/>
              <a:gd name="T76" fmla="*/ 66 w 149"/>
              <a:gd name="T77" fmla="*/ 34 h 39"/>
              <a:gd name="T78" fmla="*/ 59 w 149"/>
              <a:gd name="T79" fmla="*/ 38 h 39"/>
              <a:gd name="T80" fmla="*/ 53 w 149"/>
              <a:gd name="T81" fmla="*/ 38 h 39"/>
              <a:gd name="T82" fmla="*/ 39 w 149"/>
              <a:gd name="T83" fmla="*/ 35 h 39"/>
              <a:gd name="T84" fmla="*/ 29 w 149"/>
              <a:gd name="T85" fmla="*/ 35 h 39"/>
              <a:gd name="T86" fmla="*/ 25 w 149"/>
              <a:gd name="T87" fmla="*/ 35 h 39"/>
              <a:gd name="T88" fmla="*/ 22 w 149"/>
              <a:gd name="T89" fmla="*/ 38 h 39"/>
              <a:gd name="T90" fmla="*/ 23 w 149"/>
              <a:gd name="T91" fmla="*/ 29 h 39"/>
              <a:gd name="T92" fmla="*/ 25 w 149"/>
              <a:gd name="T93" fmla="*/ 24 h 39"/>
              <a:gd name="T94" fmla="*/ 29 w 149"/>
              <a:gd name="T95" fmla="*/ 20 h 39"/>
              <a:gd name="T96" fmla="*/ 27 w 149"/>
              <a:gd name="T97" fmla="*/ 22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49" h="39">
                <a:moveTo>
                  <a:pt x="27" y="22"/>
                </a:moveTo>
                <a:lnTo>
                  <a:pt x="33" y="17"/>
                </a:lnTo>
                <a:lnTo>
                  <a:pt x="32" y="15"/>
                </a:lnTo>
                <a:lnTo>
                  <a:pt x="29" y="13"/>
                </a:lnTo>
                <a:lnTo>
                  <a:pt x="27" y="13"/>
                </a:lnTo>
                <a:lnTo>
                  <a:pt x="24" y="13"/>
                </a:lnTo>
                <a:lnTo>
                  <a:pt x="19" y="14"/>
                </a:lnTo>
                <a:lnTo>
                  <a:pt x="16" y="15"/>
                </a:lnTo>
                <a:lnTo>
                  <a:pt x="13" y="15"/>
                </a:lnTo>
                <a:lnTo>
                  <a:pt x="9" y="15"/>
                </a:lnTo>
                <a:lnTo>
                  <a:pt x="7" y="14"/>
                </a:lnTo>
                <a:lnTo>
                  <a:pt x="5" y="11"/>
                </a:lnTo>
                <a:lnTo>
                  <a:pt x="2" y="8"/>
                </a:lnTo>
                <a:lnTo>
                  <a:pt x="0" y="5"/>
                </a:lnTo>
                <a:lnTo>
                  <a:pt x="3" y="3"/>
                </a:lnTo>
                <a:lnTo>
                  <a:pt x="9" y="1"/>
                </a:lnTo>
                <a:lnTo>
                  <a:pt x="14" y="0"/>
                </a:lnTo>
                <a:lnTo>
                  <a:pt x="19" y="0"/>
                </a:lnTo>
                <a:lnTo>
                  <a:pt x="23" y="0"/>
                </a:lnTo>
                <a:lnTo>
                  <a:pt x="25" y="1"/>
                </a:lnTo>
                <a:lnTo>
                  <a:pt x="29" y="4"/>
                </a:lnTo>
                <a:lnTo>
                  <a:pt x="34" y="7"/>
                </a:lnTo>
                <a:lnTo>
                  <a:pt x="37" y="8"/>
                </a:lnTo>
                <a:lnTo>
                  <a:pt x="40" y="8"/>
                </a:lnTo>
                <a:lnTo>
                  <a:pt x="51" y="8"/>
                </a:lnTo>
                <a:lnTo>
                  <a:pt x="53" y="8"/>
                </a:lnTo>
                <a:lnTo>
                  <a:pt x="55" y="5"/>
                </a:lnTo>
                <a:lnTo>
                  <a:pt x="59" y="4"/>
                </a:lnTo>
                <a:lnTo>
                  <a:pt x="60" y="5"/>
                </a:lnTo>
                <a:lnTo>
                  <a:pt x="62" y="5"/>
                </a:lnTo>
                <a:lnTo>
                  <a:pt x="62" y="7"/>
                </a:lnTo>
                <a:lnTo>
                  <a:pt x="60" y="8"/>
                </a:lnTo>
                <a:lnTo>
                  <a:pt x="58" y="9"/>
                </a:lnTo>
                <a:lnTo>
                  <a:pt x="55" y="10"/>
                </a:lnTo>
                <a:lnTo>
                  <a:pt x="55" y="11"/>
                </a:lnTo>
                <a:lnTo>
                  <a:pt x="54" y="12"/>
                </a:lnTo>
                <a:lnTo>
                  <a:pt x="54" y="14"/>
                </a:lnTo>
                <a:lnTo>
                  <a:pt x="55" y="17"/>
                </a:lnTo>
                <a:lnTo>
                  <a:pt x="55" y="18"/>
                </a:lnTo>
                <a:lnTo>
                  <a:pt x="58" y="20"/>
                </a:lnTo>
                <a:lnTo>
                  <a:pt x="60" y="20"/>
                </a:lnTo>
                <a:lnTo>
                  <a:pt x="64" y="20"/>
                </a:lnTo>
                <a:lnTo>
                  <a:pt x="67" y="20"/>
                </a:lnTo>
                <a:lnTo>
                  <a:pt x="72" y="20"/>
                </a:lnTo>
                <a:lnTo>
                  <a:pt x="80" y="20"/>
                </a:lnTo>
                <a:lnTo>
                  <a:pt x="86" y="20"/>
                </a:lnTo>
                <a:lnTo>
                  <a:pt x="92" y="18"/>
                </a:lnTo>
                <a:lnTo>
                  <a:pt x="98" y="17"/>
                </a:lnTo>
                <a:lnTo>
                  <a:pt x="109" y="16"/>
                </a:lnTo>
                <a:lnTo>
                  <a:pt x="116" y="15"/>
                </a:lnTo>
                <a:lnTo>
                  <a:pt x="123" y="15"/>
                </a:lnTo>
                <a:lnTo>
                  <a:pt x="127" y="15"/>
                </a:lnTo>
                <a:lnTo>
                  <a:pt x="131" y="16"/>
                </a:lnTo>
                <a:lnTo>
                  <a:pt x="138" y="17"/>
                </a:lnTo>
                <a:lnTo>
                  <a:pt x="142" y="20"/>
                </a:lnTo>
                <a:lnTo>
                  <a:pt x="148" y="22"/>
                </a:lnTo>
                <a:lnTo>
                  <a:pt x="147" y="26"/>
                </a:lnTo>
                <a:lnTo>
                  <a:pt x="144" y="30"/>
                </a:lnTo>
                <a:lnTo>
                  <a:pt x="143" y="33"/>
                </a:lnTo>
                <a:lnTo>
                  <a:pt x="141" y="35"/>
                </a:lnTo>
                <a:lnTo>
                  <a:pt x="139" y="35"/>
                </a:lnTo>
                <a:lnTo>
                  <a:pt x="138" y="36"/>
                </a:lnTo>
                <a:lnTo>
                  <a:pt x="134" y="38"/>
                </a:lnTo>
                <a:lnTo>
                  <a:pt x="127" y="38"/>
                </a:lnTo>
                <a:lnTo>
                  <a:pt x="122" y="38"/>
                </a:lnTo>
                <a:lnTo>
                  <a:pt x="118" y="38"/>
                </a:lnTo>
                <a:lnTo>
                  <a:pt x="112" y="35"/>
                </a:lnTo>
                <a:lnTo>
                  <a:pt x="107" y="35"/>
                </a:lnTo>
                <a:lnTo>
                  <a:pt x="103" y="34"/>
                </a:lnTo>
                <a:lnTo>
                  <a:pt x="99" y="34"/>
                </a:lnTo>
                <a:lnTo>
                  <a:pt x="94" y="33"/>
                </a:lnTo>
                <a:lnTo>
                  <a:pt x="88" y="31"/>
                </a:lnTo>
                <a:lnTo>
                  <a:pt x="82" y="30"/>
                </a:lnTo>
                <a:lnTo>
                  <a:pt x="80" y="29"/>
                </a:lnTo>
                <a:lnTo>
                  <a:pt x="77" y="29"/>
                </a:lnTo>
                <a:lnTo>
                  <a:pt x="73" y="29"/>
                </a:lnTo>
                <a:lnTo>
                  <a:pt x="71" y="30"/>
                </a:lnTo>
                <a:lnTo>
                  <a:pt x="66" y="34"/>
                </a:lnTo>
                <a:lnTo>
                  <a:pt x="62" y="36"/>
                </a:lnTo>
                <a:lnTo>
                  <a:pt x="59" y="38"/>
                </a:lnTo>
                <a:lnTo>
                  <a:pt x="56" y="38"/>
                </a:lnTo>
                <a:lnTo>
                  <a:pt x="53" y="38"/>
                </a:lnTo>
                <a:lnTo>
                  <a:pt x="49" y="36"/>
                </a:lnTo>
                <a:lnTo>
                  <a:pt x="39" y="35"/>
                </a:lnTo>
                <a:lnTo>
                  <a:pt x="33" y="34"/>
                </a:lnTo>
                <a:lnTo>
                  <a:pt x="29" y="35"/>
                </a:lnTo>
                <a:lnTo>
                  <a:pt x="27" y="35"/>
                </a:lnTo>
                <a:lnTo>
                  <a:pt x="25" y="35"/>
                </a:lnTo>
                <a:lnTo>
                  <a:pt x="23" y="36"/>
                </a:lnTo>
                <a:lnTo>
                  <a:pt x="22" y="38"/>
                </a:lnTo>
                <a:lnTo>
                  <a:pt x="22" y="33"/>
                </a:lnTo>
                <a:lnTo>
                  <a:pt x="23" y="29"/>
                </a:lnTo>
                <a:lnTo>
                  <a:pt x="23" y="26"/>
                </a:lnTo>
                <a:lnTo>
                  <a:pt x="25" y="24"/>
                </a:lnTo>
                <a:lnTo>
                  <a:pt x="27" y="22"/>
                </a:lnTo>
                <a:lnTo>
                  <a:pt x="29" y="20"/>
                </a:lnTo>
                <a:lnTo>
                  <a:pt x="33" y="17"/>
                </a:lnTo>
                <a:lnTo>
                  <a:pt x="27" y="22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60" name="Freeform 264">
            <a:extLst>
              <a:ext uri="{FF2B5EF4-FFF2-40B4-BE49-F238E27FC236}">
                <a16:creationId xmlns:a16="http://schemas.microsoft.com/office/drawing/2014/main" id="{2CA41467-6CE8-0F56-BC2B-5A1A00AF36B6}"/>
              </a:ext>
            </a:extLst>
          </p:cNvPr>
          <p:cNvSpPr>
            <a:spLocks/>
          </p:cNvSpPr>
          <p:nvPr/>
        </p:nvSpPr>
        <p:spPr bwMode="auto">
          <a:xfrm>
            <a:off x="4257050" y="2450946"/>
            <a:ext cx="61913" cy="31750"/>
          </a:xfrm>
          <a:custGeom>
            <a:avLst/>
            <a:gdLst>
              <a:gd name="T0" fmla="*/ 30 w 31"/>
              <a:gd name="T1" fmla="*/ 9 h 17"/>
              <a:gd name="T2" fmla="*/ 27 w 31"/>
              <a:gd name="T3" fmla="*/ 10 h 17"/>
              <a:gd name="T4" fmla="*/ 25 w 31"/>
              <a:gd name="T5" fmla="*/ 12 h 17"/>
              <a:gd name="T6" fmla="*/ 22 w 31"/>
              <a:gd name="T7" fmla="*/ 15 h 17"/>
              <a:gd name="T8" fmla="*/ 21 w 31"/>
              <a:gd name="T9" fmla="*/ 16 h 17"/>
              <a:gd name="T10" fmla="*/ 19 w 31"/>
              <a:gd name="T11" fmla="*/ 16 h 17"/>
              <a:gd name="T12" fmla="*/ 13 w 31"/>
              <a:gd name="T13" fmla="*/ 16 h 17"/>
              <a:gd name="T14" fmla="*/ 9 w 31"/>
              <a:gd name="T15" fmla="*/ 15 h 17"/>
              <a:gd name="T16" fmla="*/ 4 w 31"/>
              <a:gd name="T17" fmla="*/ 12 h 17"/>
              <a:gd name="T18" fmla="*/ 0 w 31"/>
              <a:gd name="T19" fmla="*/ 12 h 17"/>
              <a:gd name="T20" fmla="*/ 3 w 31"/>
              <a:gd name="T21" fmla="*/ 8 h 17"/>
              <a:gd name="T22" fmla="*/ 5 w 31"/>
              <a:gd name="T23" fmla="*/ 4 h 17"/>
              <a:gd name="T24" fmla="*/ 10 w 31"/>
              <a:gd name="T25" fmla="*/ 0 h 17"/>
              <a:gd name="T26" fmla="*/ 15 w 31"/>
              <a:gd name="T27" fmla="*/ 0 h 17"/>
              <a:gd name="T28" fmla="*/ 17 w 31"/>
              <a:gd name="T29" fmla="*/ 0 h 17"/>
              <a:gd name="T30" fmla="*/ 19 w 31"/>
              <a:gd name="T31" fmla="*/ 0 h 17"/>
              <a:gd name="T32" fmla="*/ 21 w 31"/>
              <a:gd name="T33" fmla="*/ 0 h 17"/>
              <a:gd name="T34" fmla="*/ 24 w 31"/>
              <a:gd name="T35" fmla="*/ 0 h 17"/>
              <a:gd name="T36" fmla="*/ 25 w 31"/>
              <a:gd name="T37" fmla="*/ 2 h 17"/>
              <a:gd name="T38" fmla="*/ 27 w 31"/>
              <a:gd name="T39" fmla="*/ 3 h 17"/>
              <a:gd name="T40" fmla="*/ 30 w 31"/>
              <a:gd name="T41" fmla="*/ 9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31" h="17">
                <a:moveTo>
                  <a:pt x="30" y="9"/>
                </a:moveTo>
                <a:lnTo>
                  <a:pt x="27" y="10"/>
                </a:lnTo>
                <a:lnTo>
                  <a:pt x="25" y="12"/>
                </a:lnTo>
                <a:lnTo>
                  <a:pt x="22" y="15"/>
                </a:lnTo>
                <a:lnTo>
                  <a:pt x="21" y="16"/>
                </a:lnTo>
                <a:lnTo>
                  <a:pt x="19" y="16"/>
                </a:lnTo>
                <a:lnTo>
                  <a:pt x="13" y="16"/>
                </a:lnTo>
                <a:lnTo>
                  <a:pt x="9" y="15"/>
                </a:lnTo>
                <a:lnTo>
                  <a:pt x="4" y="12"/>
                </a:lnTo>
                <a:lnTo>
                  <a:pt x="0" y="12"/>
                </a:lnTo>
                <a:lnTo>
                  <a:pt x="3" y="8"/>
                </a:lnTo>
                <a:lnTo>
                  <a:pt x="5" y="4"/>
                </a:lnTo>
                <a:lnTo>
                  <a:pt x="10" y="0"/>
                </a:lnTo>
                <a:lnTo>
                  <a:pt x="15" y="0"/>
                </a:lnTo>
                <a:lnTo>
                  <a:pt x="17" y="0"/>
                </a:lnTo>
                <a:lnTo>
                  <a:pt x="19" y="0"/>
                </a:lnTo>
                <a:lnTo>
                  <a:pt x="21" y="0"/>
                </a:lnTo>
                <a:lnTo>
                  <a:pt x="24" y="0"/>
                </a:lnTo>
                <a:lnTo>
                  <a:pt x="25" y="2"/>
                </a:lnTo>
                <a:lnTo>
                  <a:pt x="27" y="3"/>
                </a:lnTo>
                <a:lnTo>
                  <a:pt x="30" y="9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61" name="Freeform 265">
            <a:extLst>
              <a:ext uri="{FF2B5EF4-FFF2-40B4-BE49-F238E27FC236}">
                <a16:creationId xmlns:a16="http://schemas.microsoft.com/office/drawing/2014/main" id="{14F3A38D-9545-2C49-95C5-DC84CEE77BD1}"/>
              </a:ext>
            </a:extLst>
          </p:cNvPr>
          <p:cNvSpPr>
            <a:spLocks/>
          </p:cNvSpPr>
          <p:nvPr/>
        </p:nvSpPr>
        <p:spPr bwMode="auto">
          <a:xfrm>
            <a:off x="4318963" y="2363634"/>
            <a:ext cx="66675" cy="36513"/>
          </a:xfrm>
          <a:custGeom>
            <a:avLst/>
            <a:gdLst>
              <a:gd name="T0" fmla="*/ 28 w 33"/>
              <a:gd name="T1" fmla="*/ 6 h 20"/>
              <a:gd name="T2" fmla="*/ 24 w 33"/>
              <a:gd name="T3" fmla="*/ 9 h 20"/>
              <a:gd name="T4" fmla="*/ 28 w 33"/>
              <a:gd name="T5" fmla="*/ 10 h 20"/>
              <a:gd name="T6" fmla="*/ 29 w 33"/>
              <a:gd name="T7" fmla="*/ 10 h 20"/>
              <a:gd name="T8" fmla="*/ 32 w 33"/>
              <a:gd name="T9" fmla="*/ 10 h 20"/>
              <a:gd name="T10" fmla="*/ 31 w 33"/>
              <a:gd name="T11" fmla="*/ 14 h 20"/>
              <a:gd name="T12" fmla="*/ 31 w 33"/>
              <a:gd name="T13" fmla="*/ 15 h 20"/>
              <a:gd name="T14" fmla="*/ 32 w 33"/>
              <a:gd name="T15" fmla="*/ 19 h 20"/>
              <a:gd name="T16" fmla="*/ 14 w 33"/>
              <a:gd name="T17" fmla="*/ 19 h 20"/>
              <a:gd name="T18" fmla="*/ 5 w 33"/>
              <a:gd name="T19" fmla="*/ 13 h 20"/>
              <a:gd name="T20" fmla="*/ 1 w 33"/>
              <a:gd name="T21" fmla="*/ 10 h 20"/>
              <a:gd name="T22" fmla="*/ 0 w 33"/>
              <a:gd name="T23" fmla="*/ 7 h 20"/>
              <a:gd name="T24" fmla="*/ 0 w 33"/>
              <a:gd name="T25" fmla="*/ 6 h 20"/>
              <a:gd name="T26" fmla="*/ 0 w 33"/>
              <a:gd name="T27" fmla="*/ 4 h 20"/>
              <a:gd name="T28" fmla="*/ 0 w 33"/>
              <a:gd name="T29" fmla="*/ 2 h 20"/>
              <a:gd name="T30" fmla="*/ 1 w 33"/>
              <a:gd name="T31" fmla="*/ 0 h 20"/>
              <a:gd name="T32" fmla="*/ 3 w 33"/>
              <a:gd name="T33" fmla="*/ 0 h 20"/>
              <a:gd name="T34" fmla="*/ 7 w 33"/>
              <a:gd name="T35" fmla="*/ 0 h 20"/>
              <a:gd name="T36" fmla="*/ 11 w 33"/>
              <a:gd name="T37" fmla="*/ 0 h 20"/>
              <a:gd name="T38" fmla="*/ 16 w 33"/>
              <a:gd name="T39" fmla="*/ 0 h 20"/>
              <a:gd name="T40" fmla="*/ 21 w 33"/>
              <a:gd name="T41" fmla="*/ 2 h 20"/>
              <a:gd name="T42" fmla="*/ 24 w 33"/>
              <a:gd name="T43" fmla="*/ 4 h 20"/>
              <a:gd name="T44" fmla="*/ 28 w 33"/>
              <a:gd name="T45" fmla="*/ 6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33" h="20">
                <a:moveTo>
                  <a:pt x="28" y="6"/>
                </a:moveTo>
                <a:lnTo>
                  <a:pt x="24" y="9"/>
                </a:lnTo>
                <a:lnTo>
                  <a:pt x="28" y="10"/>
                </a:lnTo>
                <a:lnTo>
                  <a:pt x="29" y="10"/>
                </a:lnTo>
                <a:lnTo>
                  <a:pt x="32" y="10"/>
                </a:lnTo>
                <a:lnTo>
                  <a:pt x="31" y="14"/>
                </a:lnTo>
                <a:lnTo>
                  <a:pt x="31" y="15"/>
                </a:lnTo>
                <a:lnTo>
                  <a:pt x="32" y="19"/>
                </a:lnTo>
                <a:lnTo>
                  <a:pt x="14" y="19"/>
                </a:lnTo>
                <a:lnTo>
                  <a:pt x="5" y="13"/>
                </a:lnTo>
                <a:lnTo>
                  <a:pt x="1" y="10"/>
                </a:lnTo>
                <a:lnTo>
                  <a:pt x="0" y="7"/>
                </a:lnTo>
                <a:lnTo>
                  <a:pt x="0" y="6"/>
                </a:lnTo>
                <a:lnTo>
                  <a:pt x="0" y="4"/>
                </a:lnTo>
                <a:lnTo>
                  <a:pt x="0" y="2"/>
                </a:lnTo>
                <a:lnTo>
                  <a:pt x="1" y="0"/>
                </a:lnTo>
                <a:lnTo>
                  <a:pt x="3" y="0"/>
                </a:lnTo>
                <a:lnTo>
                  <a:pt x="7" y="0"/>
                </a:lnTo>
                <a:lnTo>
                  <a:pt x="11" y="0"/>
                </a:lnTo>
                <a:lnTo>
                  <a:pt x="16" y="0"/>
                </a:lnTo>
                <a:lnTo>
                  <a:pt x="21" y="2"/>
                </a:lnTo>
                <a:lnTo>
                  <a:pt x="24" y="4"/>
                </a:lnTo>
                <a:lnTo>
                  <a:pt x="28" y="6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62" name="Freeform 266">
            <a:extLst>
              <a:ext uri="{FF2B5EF4-FFF2-40B4-BE49-F238E27FC236}">
                <a16:creationId xmlns:a16="http://schemas.microsoft.com/office/drawing/2014/main" id="{DA29D52B-11A9-D870-F453-E36BF4EE14B1}"/>
              </a:ext>
            </a:extLst>
          </p:cNvPr>
          <p:cNvSpPr>
            <a:spLocks/>
          </p:cNvSpPr>
          <p:nvPr/>
        </p:nvSpPr>
        <p:spPr bwMode="auto">
          <a:xfrm>
            <a:off x="4296738" y="2501746"/>
            <a:ext cx="523875" cy="368300"/>
          </a:xfrm>
          <a:custGeom>
            <a:avLst/>
            <a:gdLst>
              <a:gd name="T0" fmla="*/ 113 w 259"/>
              <a:gd name="T1" fmla="*/ 8 h 197"/>
              <a:gd name="T2" fmla="*/ 124 w 259"/>
              <a:gd name="T3" fmla="*/ 0 h 197"/>
              <a:gd name="T4" fmla="*/ 148 w 259"/>
              <a:gd name="T5" fmla="*/ 5 h 197"/>
              <a:gd name="T6" fmla="*/ 157 w 259"/>
              <a:gd name="T7" fmla="*/ 13 h 197"/>
              <a:gd name="T8" fmla="*/ 137 w 259"/>
              <a:gd name="T9" fmla="*/ 21 h 197"/>
              <a:gd name="T10" fmla="*/ 160 w 259"/>
              <a:gd name="T11" fmla="*/ 20 h 197"/>
              <a:gd name="T12" fmla="*/ 171 w 259"/>
              <a:gd name="T13" fmla="*/ 38 h 197"/>
              <a:gd name="T14" fmla="*/ 182 w 259"/>
              <a:gd name="T15" fmla="*/ 32 h 197"/>
              <a:gd name="T16" fmla="*/ 216 w 259"/>
              <a:gd name="T17" fmla="*/ 54 h 197"/>
              <a:gd name="T18" fmla="*/ 211 w 259"/>
              <a:gd name="T19" fmla="*/ 68 h 197"/>
              <a:gd name="T20" fmla="*/ 196 w 259"/>
              <a:gd name="T21" fmla="*/ 75 h 197"/>
              <a:gd name="T22" fmla="*/ 222 w 259"/>
              <a:gd name="T23" fmla="*/ 90 h 197"/>
              <a:gd name="T24" fmla="*/ 234 w 259"/>
              <a:gd name="T25" fmla="*/ 102 h 197"/>
              <a:gd name="T26" fmla="*/ 244 w 259"/>
              <a:gd name="T27" fmla="*/ 109 h 197"/>
              <a:gd name="T28" fmla="*/ 254 w 259"/>
              <a:gd name="T29" fmla="*/ 110 h 197"/>
              <a:gd name="T30" fmla="*/ 247 w 259"/>
              <a:gd name="T31" fmla="*/ 119 h 197"/>
              <a:gd name="T32" fmla="*/ 235 w 259"/>
              <a:gd name="T33" fmla="*/ 127 h 197"/>
              <a:gd name="T34" fmla="*/ 222 w 259"/>
              <a:gd name="T35" fmla="*/ 138 h 197"/>
              <a:gd name="T36" fmla="*/ 211 w 259"/>
              <a:gd name="T37" fmla="*/ 137 h 197"/>
              <a:gd name="T38" fmla="*/ 205 w 259"/>
              <a:gd name="T39" fmla="*/ 117 h 197"/>
              <a:gd name="T40" fmla="*/ 185 w 259"/>
              <a:gd name="T41" fmla="*/ 124 h 197"/>
              <a:gd name="T42" fmla="*/ 184 w 259"/>
              <a:gd name="T43" fmla="*/ 133 h 197"/>
              <a:gd name="T44" fmla="*/ 194 w 259"/>
              <a:gd name="T45" fmla="*/ 145 h 197"/>
              <a:gd name="T46" fmla="*/ 199 w 259"/>
              <a:gd name="T47" fmla="*/ 160 h 197"/>
              <a:gd name="T48" fmla="*/ 195 w 259"/>
              <a:gd name="T49" fmla="*/ 177 h 197"/>
              <a:gd name="T50" fmla="*/ 191 w 259"/>
              <a:gd name="T51" fmla="*/ 182 h 197"/>
              <a:gd name="T52" fmla="*/ 172 w 259"/>
              <a:gd name="T53" fmla="*/ 168 h 197"/>
              <a:gd name="T54" fmla="*/ 158 w 259"/>
              <a:gd name="T55" fmla="*/ 163 h 197"/>
              <a:gd name="T56" fmla="*/ 177 w 259"/>
              <a:gd name="T57" fmla="*/ 189 h 197"/>
              <a:gd name="T58" fmla="*/ 166 w 259"/>
              <a:gd name="T59" fmla="*/ 194 h 197"/>
              <a:gd name="T60" fmla="*/ 120 w 259"/>
              <a:gd name="T61" fmla="*/ 179 h 197"/>
              <a:gd name="T62" fmla="*/ 122 w 259"/>
              <a:gd name="T63" fmla="*/ 170 h 197"/>
              <a:gd name="T64" fmla="*/ 119 w 259"/>
              <a:gd name="T65" fmla="*/ 163 h 197"/>
              <a:gd name="T66" fmla="*/ 109 w 259"/>
              <a:gd name="T67" fmla="*/ 154 h 197"/>
              <a:gd name="T68" fmla="*/ 86 w 259"/>
              <a:gd name="T69" fmla="*/ 150 h 197"/>
              <a:gd name="T70" fmla="*/ 60 w 259"/>
              <a:gd name="T71" fmla="*/ 154 h 197"/>
              <a:gd name="T72" fmla="*/ 53 w 259"/>
              <a:gd name="T73" fmla="*/ 148 h 197"/>
              <a:gd name="T74" fmla="*/ 69 w 259"/>
              <a:gd name="T75" fmla="*/ 137 h 197"/>
              <a:gd name="T76" fmla="*/ 82 w 259"/>
              <a:gd name="T77" fmla="*/ 137 h 197"/>
              <a:gd name="T78" fmla="*/ 106 w 259"/>
              <a:gd name="T79" fmla="*/ 134 h 197"/>
              <a:gd name="T80" fmla="*/ 117 w 259"/>
              <a:gd name="T81" fmla="*/ 124 h 197"/>
              <a:gd name="T82" fmla="*/ 146 w 259"/>
              <a:gd name="T83" fmla="*/ 101 h 197"/>
              <a:gd name="T84" fmla="*/ 132 w 259"/>
              <a:gd name="T85" fmla="*/ 81 h 197"/>
              <a:gd name="T86" fmla="*/ 117 w 259"/>
              <a:gd name="T87" fmla="*/ 75 h 197"/>
              <a:gd name="T88" fmla="*/ 119 w 259"/>
              <a:gd name="T89" fmla="*/ 67 h 197"/>
              <a:gd name="T90" fmla="*/ 105 w 259"/>
              <a:gd name="T91" fmla="*/ 56 h 197"/>
              <a:gd name="T92" fmla="*/ 93 w 259"/>
              <a:gd name="T93" fmla="*/ 60 h 197"/>
              <a:gd name="T94" fmla="*/ 86 w 259"/>
              <a:gd name="T95" fmla="*/ 67 h 197"/>
              <a:gd name="T96" fmla="*/ 79 w 259"/>
              <a:gd name="T97" fmla="*/ 65 h 197"/>
              <a:gd name="T98" fmla="*/ 64 w 259"/>
              <a:gd name="T99" fmla="*/ 61 h 197"/>
              <a:gd name="T100" fmla="*/ 28 w 259"/>
              <a:gd name="T101" fmla="*/ 58 h 197"/>
              <a:gd name="T102" fmla="*/ 20 w 259"/>
              <a:gd name="T103" fmla="*/ 49 h 197"/>
              <a:gd name="T104" fmla="*/ 8 w 259"/>
              <a:gd name="T105" fmla="*/ 52 h 197"/>
              <a:gd name="T106" fmla="*/ 0 w 259"/>
              <a:gd name="T107" fmla="*/ 43 h 197"/>
              <a:gd name="T108" fmla="*/ 9 w 259"/>
              <a:gd name="T109" fmla="*/ 39 h 197"/>
              <a:gd name="T110" fmla="*/ 3 w 259"/>
              <a:gd name="T111" fmla="*/ 27 h 197"/>
              <a:gd name="T112" fmla="*/ 19 w 259"/>
              <a:gd name="T113" fmla="*/ 13 h 197"/>
              <a:gd name="T114" fmla="*/ 66 w 259"/>
              <a:gd name="T115" fmla="*/ 0 h 197"/>
              <a:gd name="T116" fmla="*/ 56 w 259"/>
              <a:gd name="T117" fmla="*/ 12 h 197"/>
              <a:gd name="T118" fmla="*/ 43 w 259"/>
              <a:gd name="T119" fmla="*/ 25 h 197"/>
              <a:gd name="T120" fmla="*/ 61 w 259"/>
              <a:gd name="T121" fmla="*/ 16 h 197"/>
              <a:gd name="T122" fmla="*/ 86 w 259"/>
              <a:gd name="T123" fmla="*/ 6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59" h="197">
                <a:moveTo>
                  <a:pt x="102" y="0"/>
                </a:moveTo>
                <a:lnTo>
                  <a:pt x="112" y="0"/>
                </a:lnTo>
                <a:lnTo>
                  <a:pt x="111" y="6"/>
                </a:lnTo>
                <a:lnTo>
                  <a:pt x="110" y="9"/>
                </a:lnTo>
                <a:lnTo>
                  <a:pt x="113" y="8"/>
                </a:lnTo>
                <a:lnTo>
                  <a:pt x="114" y="7"/>
                </a:lnTo>
                <a:lnTo>
                  <a:pt x="117" y="3"/>
                </a:lnTo>
                <a:lnTo>
                  <a:pt x="119" y="0"/>
                </a:lnTo>
                <a:lnTo>
                  <a:pt x="122" y="0"/>
                </a:lnTo>
                <a:lnTo>
                  <a:pt x="124" y="0"/>
                </a:lnTo>
                <a:lnTo>
                  <a:pt x="129" y="0"/>
                </a:lnTo>
                <a:lnTo>
                  <a:pt x="133" y="0"/>
                </a:lnTo>
                <a:lnTo>
                  <a:pt x="138" y="2"/>
                </a:lnTo>
                <a:lnTo>
                  <a:pt x="144" y="3"/>
                </a:lnTo>
                <a:lnTo>
                  <a:pt x="148" y="5"/>
                </a:lnTo>
                <a:lnTo>
                  <a:pt x="152" y="8"/>
                </a:lnTo>
                <a:lnTo>
                  <a:pt x="154" y="9"/>
                </a:lnTo>
                <a:lnTo>
                  <a:pt x="155" y="11"/>
                </a:lnTo>
                <a:lnTo>
                  <a:pt x="155" y="12"/>
                </a:lnTo>
                <a:lnTo>
                  <a:pt x="157" y="13"/>
                </a:lnTo>
                <a:lnTo>
                  <a:pt x="141" y="16"/>
                </a:lnTo>
                <a:lnTo>
                  <a:pt x="135" y="18"/>
                </a:lnTo>
                <a:lnTo>
                  <a:pt x="128" y="20"/>
                </a:lnTo>
                <a:lnTo>
                  <a:pt x="132" y="20"/>
                </a:lnTo>
                <a:lnTo>
                  <a:pt x="137" y="21"/>
                </a:lnTo>
                <a:lnTo>
                  <a:pt x="144" y="21"/>
                </a:lnTo>
                <a:lnTo>
                  <a:pt x="149" y="20"/>
                </a:lnTo>
                <a:lnTo>
                  <a:pt x="157" y="20"/>
                </a:lnTo>
                <a:lnTo>
                  <a:pt x="158" y="20"/>
                </a:lnTo>
                <a:lnTo>
                  <a:pt x="160" y="20"/>
                </a:lnTo>
                <a:lnTo>
                  <a:pt x="163" y="22"/>
                </a:lnTo>
                <a:lnTo>
                  <a:pt x="165" y="25"/>
                </a:lnTo>
                <a:lnTo>
                  <a:pt x="167" y="29"/>
                </a:lnTo>
                <a:lnTo>
                  <a:pt x="168" y="35"/>
                </a:lnTo>
                <a:lnTo>
                  <a:pt x="171" y="38"/>
                </a:lnTo>
                <a:lnTo>
                  <a:pt x="172" y="40"/>
                </a:lnTo>
                <a:lnTo>
                  <a:pt x="174" y="38"/>
                </a:lnTo>
                <a:lnTo>
                  <a:pt x="177" y="35"/>
                </a:lnTo>
                <a:lnTo>
                  <a:pt x="180" y="33"/>
                </a:lnTo>
                <a:lnTo>
                  <a:pt x="182" y="32"/>
                </a:lnTo>
                <a:lnTo>
                  <a:pt x="185" y="33"/>
                </a:lnTo>
                <a:lnTo>
                  <a:pt x="186" y="34"/>
                </a:lnTo>
                <a:lnTo>
                  <a:pt x="191" y="36"/>
                </a:lnTo>
                <a:lnTo>
                  <a:pt x="204" y="45"/>
                </a:lnTo>
                <a:lnTo>
                  <a:pt x="216" y="54"/>
                </a:lnTo>
                <a:lnTo>
                  <a:pt x="222" y="60"/>
                </a:lnTo>
                <a:lnTo>
                  <a:pt x="221" y="62"/>
                </a:lnTo>
                <a:lnTo>
                  <a:pt x="218" y="62"/>
                </a:lnTo>
                <a:lnTo>
                  <a:pt x="213" y="66"/>
                </a:lnTo>
                <a:lnTo>
                  <a:pt x="211" y="68"/>
                </a:lnTo>
                <a:lnTo>
                  <a:pt x="208" y="70"/>
                </a:lnTo>
                <a:lnTo>
                  <a:pt x="208" y="72"/>
                </a:lnTo>
                <a:lnTo>
                  <a:pt x="207" y="75"/>
                </a:lnTo>
                <a:lnTo>
                  <a:pt x="201" y="75"/>
                </a:lnTo>
                <a:lnTo>
                  <a:pt x="196" y="75"/>
                </a:lnTo>
                <a:lnTo>
                  <a:pt x="196" y="82"/>
                </a:lnTo>
                <a:lnTo>
                  <a:pt x="205" y="82"/>
                </a:lnTo>
                <a:lnTo>
                  <a:pt x="212" y="84"/>
                </a:lnTo>
                <a:lnTo>
                  <a:pt x="217" y="88"/>
                </a:lnTo>
                <a:lnTo>
                  <a:pt x="222" y="90"/>
                </a:lnTo>
                <a:lnTo>
                  <a:pt x="227" y="93"/>
                </a:lnTo>
                <a:lnTo>
                  <a:pt x="231" y="97"/>
                </a:lnTo>
                <a:lnTo>
                  <a:pt x="233" y="98"/>
                </a:lnTo>
                <a:lnTo>
                  <a:pt x="234" y="101"/>
                </a:lnTo>
                <a:lnTo>
                  <a:pt x="234" y="102"/>
                </a:lnTo>
                <a:lnTo>
                  <a:pt x="234" y="104"/>
                </a:lnTo>
                <a:lnTo>
                  <a:pt x="238" y="105"/>
                </a:lnTo>
                <a:lnTo>
                  <a:pt x="240" y="106"/>
                </a:lnTo>
                <a:lnTo>
                  <a:pt x="243" y="107"/>
                </a:lnTo>
                <a:lnTo>
                  <a:pt x="244" y="109"/>
                </a:lnTo>
                <a:lnTo>
                  <a:pt x="245" y="111"/>
                </a:lnTo>
                <a:lnTo>
                  <a:pt x="248" y="111"/>
                </a:lnTo>
                <a:lnTo>
                  <a:pt x="251" y="111"/>
                </a:lnTo>
                <a:lnTo>
                  <a:pt x="252" y="111"/>
                </a:lnTo>
                <a:lnTo>
                  <a:pt x="254" y="110"/>
                </a:lnTo>
                <a:lnTo>
                  <a:pt x="258" y="107"/>
                </a:lnTo>
                <a:lnTo>
                  <a:pt x="258" y="116"/>
                </a:lnTo>
                <a:lnTo>
                  <a:pt x="253" y="117"/>
                </a:lnTo>
                <a:lnTo>
                  <a:pt x="251" y="119"/>
                </a:lnTo>
                <a:lnTo>
                  <a:pt x="247" y="119"/>
                </a:lnTo>
                <a:lnTo>
                  <a:pt x="242" y="120"/>
                </a:lnTo>
                <a:lnTo>
                  <a:pt x="242" y="130"/>
                </a:lnTo>
                <a:lnTo>
                  <a:pt x="239" y="130"/>
                </a:lnTo>
                <a:lnTo>
                  <a:pt x="238" y="128"/>
                </a:lnTo>
                <a:lnTo>
                  <a:pt x="235" y="127"/>
                </a:lnTo>
                <a:lnTo>
                  <a:pt x="234" y="125"/>
                </a:lnTo>
                <a:lnTo>
                  <a:pt x="231" y="130"/>
                </a:lnTo>
                <a:lnTo>
                  <a:pt x="227" y="134"/>
                </a:lnTo>
                <a:lnTo>
                  <a:pt x="224" y="137"/>
                </a:lnTo>
                <a:lnTo>
                  <a:pt x="222" y="138"/>
                </a:lnTo>
                <a:lnTo>
                  <a:pt x="221" y="140"/>
                </a:lnTo>
                <a:lnTo>
                  <a:pt x="218" y="140"/>
                </a:lnTo>
                <a:lnTo>
                  <a:pt x="216" y="140"/>
                </a:lnTo>
                <a:lnTo>
                  <a:pt x="214" y="139"/>
                </a:lnTo>
                <a:lnTo>
                  <a:pt x="211" y="137"/>
                </a:lnTo>
                <a:lnTo>
                  <a:pt x="208" y="134"/>
                </a:lnTo>
                <a:lnTo>
                  <a:pt x="208" y="130"/>
                </a:lnTo>
                <a:lnTo>
                  <a:pt x="206" y="124"/>
                </a:lnTo>
                <a:lnTo>
                  <a:pt x="206" y="120"/>
                </a:lnTo>
                <a:lnTo>
                  <a:pt x="205" y="117"/>
                </a:lnTo>
                <a:lnTo>
                  <a:pt x="190" y="117"/>
                </a:lnTo>
                <a:lnTo>
                  <a:pt x="191" y="121"/>
                </a:lnTo>
                <a:lnTo>
                  <a:pt x="190" y="123"/>
                </a:lnTo>
                <a:lnTo>
                  <a:pt x="189" y="124"/>
                </a:lnTo>
                <a:lnTo>
                  <a:pt x="185" y="124"/>
                </a:lnTo>
                <a:lnTo>
                  <a:pt x="178" y="125"/>
                </a:lnTo>
                <a:lnTo>
                  <a:pt x="180" y="129"/>
                </a:lnTo>
                <a:lnTo>
                  <a:pt x="181" y="130"/>
                </a:lnTo>
                <a:lnTo>
                  <a:pt x="182" y="132"/>
                </a:lnTo>
                <a:lnTo>
                  <a:pt x="184" y="133"/>
                </a:lnTo>
                <a:lnTo>
                  <a:pt x="187" y="133"/>
                </a:lnTo>
                <a:lnTo>
                  <a:pt x="187" y="138"/>
                </a:lnTo>
                <a:lnTo>
                  <a:pt x="187" y="143"/>
                </a:lnTo>
                <a:lnTo>
                  <a:pt x="191" y="143"/>
                </a:lnTo>
                <a:lnTo>
                  <a:pt x="194" y="145"/>
                </a:lnTo>
                <a:lnTo>
                  <a:pt x="196" y="147"/>
                </a:lnTo>
                <a:lnTo>
                  <a:pt x="198" y="150"/>
                </a:lnTo>
                <a:lnTo>
                  <a:pt x="199" y="153"/>
                </a:lnTo>
                <a:lnTo>
                  <a:pt x="200" y="156"/>
                </a:lnTo>
                <a:lnTo>
                  <a:pt x="199" y="160"/>
                </a:lnTo>
                <a:lnTo>
                  <a:pt x="198" y="163"/>
                </a:lnTo>
                <a:lnTo>
                  <a:pt x="198" y="167"/>
                </a:lnTo>
                <a:lnTo>
                  <a:pt x="198" y="170"/>
                </a:lnTo>
                <a:lnTo>
                  <a:pt x="196" y="175"/>
                </a:lnTo>
                <a:lnTo>
                  <a:pt x="195" y="177"/>
                </a:lnTo>
                <a:lnTo>
                  <a:pt x="195" y="179"/>
                </a:lnTo>
                <a:lnTo>
                  <a:pt x="196" y="181"/>
                </a:lnTo>
                <a:lnTo>
                  <a:pt x="198" y="183"/>
                </a:lnTo>
                <a:lnTo>
                  <a:pt x="195" y="183"/>
                </a:lnTo>
                <a:lnTo>
                  <a:pt x="191" y="182"/>
                </a:lnTo>
                <a:lnTo>
                  <a:pt x="184" y="178"/>
                </a:lnTo>
                <a:lnTo>
                  <a:pt x="178" y="175"/>
                </a:lnTo>
                <a:lnTo>
                  <a:pt x="176" y="173"/>
                </a:lnTo>
                <a:lnTo>
                  <a:pt x="173" y="169"/>
                </a:lnTo>
                <a:lnTo>
                  <a:pt x="172" y="168"/>
                </a:lnTo>
                <a:lnTo>
                  <a:pt x="172" y="166"/>
                </a:lnTo>
                <a:lnTo>
                  <a:pt x="171" y="165"/>
                </a:lnTo>
                <a:lnTo>
                  <a:pt x="168" y="164"/>
                </a:lnTo>
                <a:lnTo>
                  <a:pt x="165" y="164"/>
                </a:lnTo>
                <a:lnTo>
                  <a:pt x="158" y="163"/>
                </a:lnTo>
                <a:lnTo>
                  <a:pt x="154" y="163"/>
                </a:lnTo>
                <a:lnTo>
                  <a:pt x="155" y="166"/>
                </a:lnTo>
                <a:lnTo>
                  <a:pt x="163" y="174"/>
                </a:lnTo>
                <a:lnTo>
                  <a:pt x="171" y="183"/>
                </a:lnTo>
                <a:lnTo>
                  <a:pt x="177" y="189"/>
                </a:lnTo>
                <a:lnTo>
                  <a:pt x="174" y="194"/>
                </a:lnTo>
                <a:lnTo>
                  <a:pt x="173" y="195"/>
                </a:lnTo>
                <a:lnTo>
                  <a:pt x="172" y="196"/>
                </a:lnTo>
                <a:lnTo>
                  <a:pt x="169" y="195"/>
                </a:lnTo>
                <a:lnTo>
                  <a:pt x="166" y="194"/>
                </a:lnTo>
                <a:lnTo>
                  <a:pt x="158" y="190"/>
                </a:lnTo>
                <a:lnTo>
                  <a:pt x="151" y="186"/>
                </a:lnTo>
                <a:lnTo>
                  <a:pt x="145" y="182"/>
                </a:lnTo>
                <a:lnTo>
                  <a:pt x="122" y="182"/>
                </a:lnTo>
                <a:lnTo>
                  <a:pt x="120" y="179"/>
                </a:lnTo>
                <a:lnTo>
                  <a:pt x="120" y="178"/>
                </a:lnTo>
                <a:lnTo>
                  <a:pt x="120" y="177"/>
                </a:lnTo>
                <a:lnTo>
                  <a:pt x="120" y="176"/>
                </a:lnTo>
                <a:lnTo>
                  <a:pt x="122" y="174"/>
                </a:lnTo>
                <a:lnTo>
                  <a:pt x="122" y="170"/>
                </a:lnTo>
                <a:lnTo>
                  <a:pt x="120" y="168"/>
                </a:lnTo>
                <a:lnTo>
                  <a:pt x="120" y="166"/>
                </a:lnTo>
                <a:lnTo>
                  <a:pt x="120" y="164"/>
                </a:lnTo>
                <a:lnTo>
                  <a:pt x="122" y="163"/>
                </a:lnTo>
                <a:lnTo>
                  <a:pt x="119" y="163"/>
                </a:lnTo>
                <a:lnTo>
                  <a:pt x="115" y="160"/>
                </a:lnTo>
                <a:lnTo>
                  <a:pt x="114" y="160"/>
                </a:lnTo>
                <a:lnTo>
                  <a:pt x="112" y="157"/>
                </a:lnTo>
                <a:lnTo>
                  <a:pt x="110" y="156"/>
                </a:lnTo>
                <a:lnTo>
                  <a:pt x="109" y="154"/>
                </a:lnTo>
                <a:lnTo>
                  <a:pt x="109" y="151"/>
                </a:lnTo>
                <a:lnTo>
                  <a:pt x="109" y="148"/>
                </a:lnTo>
                <a:lnTo>
                  <a:pt x="92" y="148"/>
                </a:lnTo>
                <a:lnTo>
                  <a:pt x="89" y="150"/>
                </a:lnTo>
                <a:lnTo>
                  <a:pt x="86" y="150"/>
                </a:lnTo>
                <a:lnTo>
                  <a:pt x="79" y="152"/>
                </a:lnTo>
                <a:lnTo>
                  <a:pt x="71" y="154"/>
                </a:lnTo>
                <a:lnTo>
                  <a:pt x="68" y="154"/>
                </a:lnTo>
                <a:lnTo>
                  <a:pt x="63" y="155"/>
                </a:lnTo>
                <a:lnTo>
                  <a:pt x="60" y="154"/>
                </a:lnTo>
                <a:lnTo>
                  <a:pt x="58" y="154"/>
                </a:lnTo>
                <a:lnTo>
                  <a:pt x="57" y="153"/>
                </a:lnTo>
                <a:lnTo>
                  <a:pt x="55" y="151"/>
                </a:lnTo>
                <a:lnTo>
                  <a:pt x="55" y="150"/>
                </a:lnTo>
                <a:lnTo>
                  <a:pt x="53" y="148"/>
                </a:lnTo>
                <a:lnTo>
                  <a:pt x="55" y="147"/>
                </a:lnTo>
                <a:lnTo>
                  <a:pt x="57" y="143"/>
                </a:lnTo>
                <a:lnTo>
                  <a:pt x="60" y="141"/>
                </a:lnTo>
                <a:lnTo>
                  <a:pt x="64" y="139"/>
                </a:lnTo>
                <a:lnTo>
                  <a:pt x="69" y="137"/>
                </a:lnTo>
                <a:lnTo>
                  <a:pt x="72" y="134"/>
                </a:lnTo>
                <a:lnTo>
                  <a:pt x="77" y="132"/>
                </a:lnTo>
                <a:lnTo>
                  <a:pt x="79" y="133"/>
                </a:lnTo>
                <a:lnTo>
                  <a:pt x="79" y="136"/>
                </a:lnTo>
                <a:lnTo>
                  <a:pt x="82" y="137"/>
                </a:lnTo>
                <a:lnTo>
                  <a:pt x="84" y="137"/>
                </a:lnTo>
                <a:lnTo>
                  <a:pt x="95" y="137"/>
                </a:lnTo>
                <a:lnTo>
                  <a:pt x="99" y="137"/>
                </a:lnTo>
                <a:lnTo>
                  <a:pt x="102" y="137"/>
                </a:lnTo>
                <a:lnTo>
                  <a:pt x="106" y="134"/>
                </a:lnTo>
                <a:lnTo>
                  <a:pt x="109" y="133"/>
                </a:lnTo>
                <a:lnTo>
                  <a:pt x="110" y="129"/>
                </a:lnTo>
                <a:lnTo>
                  <a:pt x="111" y="127"/>
                </a:lnTo>
                <a:lnTo>
                  <a:pt x="111" y="124"/>
                </a:lnTo>
                <a:lnTo>
                  <a:pt x="117" y="124"/>
                </a:lnTo>
                <a:lnTo>
                  <a:pt x="122" y="120"/>
                </a:lnTo>
                <a:lnTo>
                  <a:pt x="126" y="119"/>
                </a:lnTo>
                <a:lnTo>
                  <a:pt x="129" y="116"/>
                </a:lnTo>
                <a:lnTo>
                  <a:pt x="138" y="109"/>
                </a:lnTo>
                <a:lnTo>
                  <a:pt x="146" y="101"/>
                </a:lnTo>
                <a:lnTo>
                  <a:pt x="142" y="93"/>
                </a:lnTo>
                <a:lnTo>
                  <a:pt x="139" y="88"/>
                </a:lnTo>
                <a:lnTo>
                  <a:pt x="137" y="84"/>
                </a:lnTo>
                <a:lnTo>
                  <a:pt x="135" y="83"/>
                </a:lnTo>
                <a:lnTo>
                  <a:pt x="132" y="81"/>
                </a:lnTo>
                <a:lnTo>
                  <a:pt x="129" y="81"/>
                </a:lnTo>
                <a:lnTo>
                  <a:pt x="129" y="79"/>
                </a:lnTo>
                <a:lnTo>
                  <a:pt x="129" y="78"/>
                </a:lnTo>
                <a:lnTo>
                  <a:pt x="115" y="78"/>
                </a:lnTo>
                <a:lnTo>
                  <a:pt x="117" y="75"/>
                </a:lnTo>
                <a:lnTo>
                  <a:pt x="118" y="75"/>
                </a:lnTo>
                <a:lnTo>
                  <a:pt x="119" y="75"/>
                </a:lnTo>
                <a:lnTo>
                  <a:pt x="122" y="75"/>
                </a:lnTo>
                <a:lnTo>
                  <a:pt x="122" y="67"/>
                </a:lnTo>
                <a:lnTo>
                  <a:pt x="119" y="67"/>
                </a:lnTo>
                <a:lnTo>
                  <a:pt x="118" y="66"/>
                </a:lnTo>
                <a:lnTo>
                  <a:pt x="114" y="65"/>
                </a:lnTo>
                <a:lnTo>
                  <a:pt x="111" y="62"/>
                </a:lnTo>
                <a:lnTo>
                  <a:pt x="109" y="58"/>
                </a:lnTo>
                <a:lnTo>
                  <a:pt x="105" y="56"/>
                </a:lnTo>
                <a:lnTo>
                  <a:pt x="102" y="55"/>
                </a:lnTo>
                <a:lnTo>
                  <a:pt x="101" y="55"/>
                </a:lnTo>
                <a:lnTo>
                  <a:pt x="98" y="58"/>
                </a:lnTo>
                <a:lnTo>
                  <a:pt x="95" y="58"/>
                </a:lnTo>
                <a:lnTo>
                  <a:pt x="93" y="60"/>
                </a:lnTo>
                <a:lnTo>
                  <a:pt x="92" y="62"/>
                </a:lnTo>
                <a:lnTo>
                  <a:pt x="91" y="63"/>
                </a:lnTo>
                <a:lnTo>
                  <a:pt x="89" y="65"/>
                </a:lnTo>
                <a:lnTo>
                  <a:pt x="87" y="66"/>
                </a:lnTo>
                <a:lnTo>
                  <a:pt x="86" y="67"/>
                </a:lnTo>
                <a:lnTo>
                  <a:pt x="83" y="67"/>
                </a:lnTo>
                <a:lnTo>
                  <a:pt x="82" y="67"/>
                </a:lnTo>
                <a:lnTo>
                  <a:pt x="80" y="67"/>
                </a:lnTo>
                <a:lnTo>
                  <a:pt x="79" y="66"/>
                </a:lnTo>
                <a:lnTo>
                  <a:pt x="79" y="65"/>
                </a:lnTo>
                <a:lnTo>
                  <a:pt x="79" y="62"/>
                </a:lnTo>
                <a:lnTo>
                  <a:pt x="79" y="58"/>
                </a:lnTo>
                <a:lnTo>
                  <a:pt x="74" y="60"/>
                </a:lnTo>
                <a:lnTo>
                  <a:pt x="69" y="61"/>
                </a:lnTo>
                <a:lnTo>
                  <a:pt x="64" y="61"/>
                </a:lnTo>
                <a:lnTo>
                  <a:pt x="58" y="60"/>
                </a:lnTo>
                <a:lnTo>
                  <a:pt x="47" y="58"/>
                </a:lnTo>
                <a:lnTo>
                  <a:pt x="34" y="58"/>
                </a:lnTo>
                <a:lnTo>
                  <a:pt x="30" y="58"/>
                </a:lnTo>
                <a:lnTo>
                  <a:pt x="28" y="58"/>
                </a:lnTo>
                <a:lnTo>
                  <a:pt x="25" y="56"/>
                </a:lnTo>
                <a:lnTo>
                  <a:pt x="23" y="55"/>
                </a:lnTo>
                <a:lnTo>
                  <a:pt x="22" y="53"/>
                </a:lnTo>
                <a:lnTo>
                  <a:pt x="21" y="52"/>
                </a:lnTo>
                <a:lnTo>
                  <a:pt x="20" y="49"/>
                </a:lnTo>
                <a:lnTo>
                  <a:pt x="19" y="47"/>
                </a:lnTo>
                <a:lnTo>
                  <a:pt x="16" y="48"/>
                </a:lnTo>
                <a:lnTo>
                  <a:pt x="13" y="51"/>
                </a:lnTo>
                <a:lnTo>
                  <a:pt x="10" y="52"/>
                </a:lnTo>
                <a:lnTo>
                  <a:pt x="8" y="52"/>
                </a:lnTo>
                <a:lnTo>
                  <a:pt x="6" y="53"/>
                </a:lnTo>
                <a:lnTo>
                  <a:pt x="4" y="52"/>
                </a:lnTo>
                <a:lnTo>
                  <a:pt x="3" y="52"/>
                </a:lnTo>
                <a:lnTo>
                  <a:pt x="2" y="49"/>
                </a:lnTo>
                <a:lnTo>
                  <a:pt x="0" y="43"/>
                </a:lnTo>
                <a:lnTo>
                  <a:pt x="3" y="42"/>
                </a:lnTo>
                <a:lnTo>
                  <a:pt x="6" y="41"/>
                </a:lnTo>
                <a:lnTo>
                  <a:pt x="9" y="40"/>
                </a:lnTo>
                <a:lnTo>
                  <a:pt x="13" y="40"/>
                </a:lnTo>
                <a:lnTo>
                  <a:pt x="9" y="39"/>
                </a:lnTo>
                <a:lnTo>
                  <a:pt x="6" y="36"/>
                </a:lnTo>
                <a:lnTo>
                  <a:pt x="3" y="35"/>
                </a:lnTo>
                <a:lnTo>
                  <a:pt x="3" y="33"/>
                </a:lnTo>
                <a:lnTo>
                  <a:pt x="3" y="31"/>
                </a:lnTo>
                <a:lnTo>
                  <a:pt x="3" y="27"/>
                </a:lnTo>
                <a:lnTo>
                  <a:pt x="4" y="24"/>
                </a:lnTo>
                <a:lnTo>
                  <a:pt x="7" y="20"/>
                </a:lnTo>
                <a:lnTo>
                  <a:pt x="11" y="17"/>
                </a:lnTo>
                <a:lnTo>
                  <a:pt x="15" y="16"/>
                </a:lnTo>
                <a:lnTo>
                  <a:pt x="19" y="13"/>
                </a:lnTo>
                <a:lnTo>
                  <a:pt x="29" y="9"/>
                </a:lnTo>
                <a:lnTo>
                  <a:pt x="39" y="7"/>
                </a:lnTo>
                <a:lnTo>
                  <a:pt x="50" y="5"/>
                </a:lnTo>
                <a:lnTo>
                  <a:pt x="59" y="3"/>
                </a:lnTo>
                <a:lnTo>
                  <a:pt x="66" y="0"/>
                </a:lnTo>
                <a:lnTo>
                  <a:pt x="73" y="0"/>
                </a:lnTo>
                <a:lnTo>
                  <a:pt x="71" y="3"/>
                </a:lnTo>
                <a:lnTo>
                  <a:pt x="69" y="5"/>
                </a:lnTo>
                <a:lnTo>
                  <a:pt x="66" y="8"/>
                </a:lnTo>
                <a:lnTo>
                  <a:pt x="56" y="12"/>
                </a:lnTo>
                <a:lnTo>
                  <a:pt x="52" y="14"/>
                </a:lnTo>
                <a:lnTo>
                  <a:pt x="48" y="17"/>
                </a:lnTo>
                <a:lnTo>
                  <a:pt x="46" y="19"/>
                </a:lnTo>
                <a:lnTo>
                  <a:pt x="46" y="22"/>
                </a:lnTo>
                <a:lnTo>
                  <a:pt x="43" y="25"/>
                </a:lnTo>
                <a:lnTo>
                  <a:pt x="43" y="29"/>
                </a:lnTo>
                <a:lnTo>
                  <a:pt x="51" y="29"/>
                </a:lnTo>
                <a:lnTo>
                  <a:pt x="53" y="22"/>
                </a:lnTo>
                <a:lnTo>
                  <a:pt x="58" y="17"/>
                </a:lnTo>
                <a:lnTo>
                  <a:pt x="61" y="16"/>
                </a:lnTo>
                <a:lnTo>
                  <a:pt x="64" y="13"/>
                </a:lnTo>
                <a:lnTo>
                  <a:pt x="66" y="13"/>
                </a:lnTo>
                <a:lnTo>
                  <a:pt x="69" y="12"/>
                </a:lnTo>
                <a:lnTo>
                  <a:pt x="75" y="9"/>
                </a:lnTo>
                <a:lnTo>
                  <a:pt x="86" y="6"/>
                </a:lnTo>
                <a:lnTo>
                  <a:pt x="95" y="2"/>
                </a:lnTo>
                <a:lnTo>
                  <a:pt x="102" y="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63" name="Freeform 267">
            <a:extLst>
              <a:ext uri="{FF2B5EF4-FFF2-40B4-BE49-F238E27FC236}">
                <a16:creationId xmlns:a16="http://schemas.microsoft.com/office/drawing/2014/main" id="{17DE7109-5CFB-A67A-AADF-0202BB13CB45}"/>
              </a:ext>
            </a:extLst>
          </p:cNvPr>
          <p:cNvSpPr>
            <a:spLocks/>
          </p:cNvSpPr>
          <p:nvPr/>
        </p:nvSpPr>
        <p:spPr bwMode="auto">
          <a:xfrm>
            <a:off x="4484063" y="2660496"/>
            <a:ext cx="63500" cy="34925"/>
          </a:xfrm>
          <a:custGeom>
            <a:avLst/>
            <a:gdLst>
              <a:gd name="T0" fmla="*/ 15 w 31"/>
              <a:gd name="T1" fmla="*/ 2 h 19"/>
              <a:gd name="T2" fmla="*/ 22 w 31"/>
              <a:gd name="T3" fmla="*/ 0 h 19"/>
              <a:gd name="T4" fmla="*/ 26 w 31"/>
              <a:gd name="T5" fmla="*/ 0 h 19"/>
              <a:gd name="T6" fmla="*/ 29 w 31"/>
              <a:gd name="T7" fmla="*/ 0 h 19"/>
              <a:gd name="T8" fmla="*/ 30 w 31"/>
              <a:gd name="T9" fmla="*/ 0 h 19"/>
              <a:gd name="T10" fmla="*/ 30 w 31"/>
              <a:gd name="T11" fmla="*/ 2 h 19"/>
              <a:gd name="T12" fmla="*/ 29 w 31"/>
              <a:gd name="T13" fmla="*/ 7 h 19"/>
              <a:gd name="T14" fmla="*/ 27 w 31"/>
              <a:gd name="T15" fmla="*/ 10 h 19"/>
              <a:gd name="T16" fmla="*/ 25 w 31"/>
              <a:gd name="T17" fmla="*/ 13 h 19"/>
              <a:gd name="T18" fmla="*/ 22 w 31"/>
              <a:gd name="T19" fmla="*/ 14 h 19"/>
              <a:gd name="T20" fmla="*/ 18 w 31"/>
              <a:gd name="T21" fmla="*/ 17 h 19"/>
              <a:gd name="T22" fmla="*/ 14 w 31"/>
              <a:gd name="T23" fmla="*/ 17 h 19"/>
              <a:gd name="T24" fmla="*/ 11 w 31"/>
              <a:gd name="T25" fmla="*/ 18 h 19"/>
              <a:gd name="T26" fmla="*/ 6 w 31"/>
              <a:gd name="T27" fmla="*/ 18 h 19"/>
              <a:gd name="T28" fmla="*/ 3 w 31"/>
              <a:gd name="T29" fmla="*/ 18 h 19"/>
              <a:gd name="T30" fmla="*/ 2 w 31"/>
              <a:gd name="T31" fmla="*/ 16 h 19"/>
              <a:gd name="T32" fmla="*/ 0 w 31"/>
              <a:gd name="T33" fmla="*/ 14 h 19"/>
              <a:gd name="T34" fmla="*/ 0 w 31"/>
              <a:gd name="T35" fmla="*/ 12 h 19"/>
              <a:gd name="T36" fmla="*/ 2 w 31"/>
              <a:gd name="T37" fmla="*/ 9 h 19"/>
              <a:gd name="T38" fmla="*/ 3 w 31"/>
              <a:gd name="T39" fmla="*/ 7 h 19"/>
              <a:gd name="T40" fmla="*/ 7 w 31"/>
              <a:gd name="T41" fmla="*/ 5 h 19"/>
              <a:gd name="T42" fmla="*/ 12 w 31"/>
              <a:gd name="T43" fmla="*/ 3 h 19"/>
              <a:gd name="T44" fmla="*/ 18 w 31"/>
              <a:gd name="T45" fmla="*/ 2 h 19"/>
              <a:gd name="T46" fmla="*/ 18 w 31"/>
              <a:gd name="T47" fmla="*/ 0 h 19"/>
              <a:gd name="T48" fmla="*/ 15 w 31"/>
              <a:gd name="T49" fmla="*/ 2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1" h="19">
                <a:moveTo>
                  <a:pt x="15" y="2"/>
                </a:moveTo>
                <a:lnTo>
                  <a:pt x="22" y="0"/>
                </a:lnTo>
                <a:lnTo>
                  <a:pt x="26" y="0"/>
                </a:lnTo>
                <a:lnTo>
                  <a:pt x="29" y="0"/>
                </a:lnTo>
                <a:lnTo>
                  <a:pt x="30" y="0"/>
                </a:lnTo>
                <a:lnTo>
                  <a:pt x="30" y="2"/>
                </a:lnTo>
                <a:lnTo>
                  <a:pt x="29" y="7"/>
                </a:lnTo>
                <a:lnTo>
                  <a:pt x="27" y="10"/>
                </a:lnTo>
                <a:lnTo>
                  <a:pt x="25" y="13"/>
                </a:lnTo>
                <a:lnTo>
                  <a:pt x="22" y="14"/>
                </a:lnTo>
                <a:lnTo>
                  <a:pt x="18" y="17"/>
                </a:lnTo>
                <a:lnTo>
                  <a:pt x="14" y="17"/>
                </a:lnTo>
                <a:lnTo>
                  <a:pt x="11" y="18"/>
                </a:lnTo>
                <a:lnTo>
                  <a:pt x="6" y="18"/>
                </a:lnTo>
                <a:lnTo>
                  <a:pt x="3" y="18"/>
                </a:lnTo>
                <a:lnTo>
                  <a:pt x="2" y="16"/>
                </a:lnTo>
                <a:lnTo>
                  <a:pt x="0" y="14"/>
                </a:lnTo>
                <a:lnTo>
                  <a:pt x="0" y="12"/>
                </a:lnTo>
                <a:lnTo>
                  <a:pt x="2" y="9"/>
                </a:lnTo>
                <a:lnTo>
                  <a:pt x="3" y="7"/>
                </a:lnTo>
                <a:lnTo>
                  <a:pt x="7" y="5"/>
                </a:lnTo>
                <a:lnTo>
                  <a:pt x="12" y="3"/>
                </a:lnTo>
                <a:lnTo>
                  <a:pt x="18" y="2"/>
                </a:lnTo>
                <a:lnTo>
                  <a:pt x="18" y="0"/>
                </a:lnTo>
                <a:lnTo>
                  <a:pt x="15" y="2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64" name="Freeform 268">
            <a:extLst>
              <a:ext uri="{FF2B5EF4-FFF2-40B4-BE49-F238E27FC236}">
                <a16:creationId xmlns:a16="http://schemas.microsoft.com/office/drawing/2014/main" id="{95F85FC5-258B-E341-9130-18151EC99784}"/>
              </a:ext>
            </a:extLst>
          </p:cNvPr>
          <p:cNvSpPr>
            <a:spLocks/>
          </p:cNvSpPr>
          <p:nvPr/>
        </p:nvSpPr>
        <p:spPr bwMode="auto">
          <a:xfrm>
            <a:off x="3926850" y="4168621"/>
            <a:ext cx="36513" cy="31750"/>
          </a:xfrm>
          <a:custGeom>
            <a:avLst/>
            <a:gdLst>
              <a:gd name="T0" fmla="*/ 16 w 17"/>
              <a:gd name="T1" fmla="*/ 9 h 17"/>
              <a:gd name="T2" fmla="*/ 16 w 17"/>
              <a:gd name="T3" fmla="*/ 13 h 17"/>
              <a:gd name="T4" fmla="*/ 14 w 17"/>
              <a:gd name="T5" fmla="*/ 15 h 17"/>
              <a:gd name="T6" fmla="*/ 11 w 17"/>
              <a:gd name="T7" fmla="*/ 16 h 17"/>
              <a:gd name="T8" fmla="*/ 8 w 17"/>
              <a:gd name="T9" fmla="*/ 16 h 17"/>
              <a:gd name="T10" fmla="*/ 4 w 17"/>
              <a:gd name="T11" fmla="*/ 16 h 17"/>
              <a:gd name="T12" fmla="*/ 1 w 17"/>
              <a:gd name="T13" fmla="*/ 14 h 17"/>
              <a:gd name="T14" fmla="*/ 0 w 17"/>
              <a:gd name="T15" fmla="*/ 11 h 17"/>
              <a:gd name="T16" fmla="*/ 0 w 17"/>
              <a:gd name="T17" fmla="*/ 10 h 17"/>
              <a:gd name="T18" fmla="*/ 0 w 17"/>
              <a:gd name="T19" fmla="*/ 8 h 17"/>
              <a:gd name="T20" fmla="*/ 1 w 17"/>
              <a:gd name="T21" fmla="*/ 5 h 17"/>
              <a:gd name="T22" fmla="*/ 6 w 17"/>
              <a:gd name="T23" fmla="*/ 2 h 17"/>
              <a:gd name="T24" fmla="*/ 8 w 17"/>
              <a:gd name="T25" fmla="*/ 0 h 17"/>
              <a:gd name="T26" fmla="*/ 14 w 17"/>
              <a:gd name="T27" fmla="*/ 4 h 17"/>
              <a:gd name="T28" fmla="*/ 16 w 17"/>
              <a:gd name="T29" fmla="*/ 8 h 17"/>
              <a:gd name="T30" fmla="*/ 16 w 17"/>
              <a:gd name="T31" fmla="*/ 9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7" h="17">
                <a:moveTo>
                  <a:pt x="16" y="9"/>
                </a:moveTo>
                <a:lnTo>
                  <a:pt x="16" y="13"/>
                </a:lnTo>
                <a:lnTo>
                  <a:pt x="14" y="15"/>
                </a:lnTo>
                <a:lnTo>
                  <a:pt x="11" y="16"/>
                </a:lnTo>
                <a:lnTo>
                  <a:pt x="8" y="16"/>
                </a:lnTo>
                <a:lnTo>
                  <a:pt x="4" y="16"/>
                </a:lnTo>
                <a:lnTo>
                  <a:pt x="1" y="14"/>
                </a:lnTo>
                <a:lnTo>
                  <a:pt x="0" y="11"/>
                </a:lnTo>
                <a:lnTo>
                  <a:pt x="0" y="10"/>
                </a:lnTo>
                <a:lnTo>
                  <a:pt x="0" y="8"/>
                </a:lnTo>
                <a:lnTo>
                  <a:pt x="1" y="5"/>
                </a:lnTo>
                <a:lnTo>
                  <a:pt x="6" y="2"/>
                </a:lnTo>
                <a:lnTo>
                  <a:pt x="8" y="0"/>
                </a:lnTo>
                <a:lnTo>
                  <a:pt x="14" y="4"/>
                </a:lnTo>
                <a:lnTo>
                  <a:pt x="16" y="8"/>
                </a:lnTo>
                <a:lnTo>
                  <a:pt x="16" y="9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65" name="Freeform 269">
            <a:extLst>
              <a:ext uri="{FF2B5EF4-FFF2-40B4-BE49-F238E27FC236}">
                <a16:creationId xmlns:a16="http://schemas.microsoft.com/office/drawing/2014/main" id="{32CE4DE7-A7A3-2CC6-0FAD-BD9DAB4B7A24}"/>
              </a:ext>
            </a:extLst>
          </p:cNvPr>
          <p:cNvSpPr>
            <a:spLocks/>
          </p:cNvSpPr>
          <p:nvPr/>
        </p:nvSpPr>
        <p:spPr bwMode="auto">
          <a:xfrm>
            <a:off x="6687513" y="3544734"/>
            <a:ext cx="65088" cy="52388"/>
          </a:xfrm>
          <a:custGeom>
            <a:avLst/>
            <a:gdLst>
              <a:gd name="T0" fmla="*/ 23 w 33"/>
              <a:gd name="T1" fmla="*/ 0 h 28"/>
              <a:gd name="T2" fmla="*/ 19 w 33"/>
              <a:gd name="T3" fmla="*/ 0 h 28"/>
              <a:gd name="T4" fmla="*/ 13 w 33"/>
              <a:gd name="T5" fmla="*/ 2 h 28"/>
              <a:gd name="T6" fmla="*/ 10 w 33"/>
              <a:gd name="T7" fmla="*/ 5 h 28"/>
              <a:gd name="T8" fmla="*/ 5 w 33"/>
              <a:gd name="T9" fmla="*/ 6 h 28"/>
              <a:gd name="T10" fmla="*/ 1 w 33"/>
              <a:gd name="T11" fmla="*/ 8 h 28"/>
              <a:gd name="T12" fmla="*/ 0 w 33"/>
              <a:gd name="T13" fmla="*/ 12 h 28"/>
              <a:gd name="T14" fmla="*/ 1 w 33"/>
              <a:gd name="T15" fmla="*/ 16 h 28"/>
              <a:gd name="T16" fmla="*/ 2 w 33"/>
              <a:gd name="T17" fmla="*/ 19 h 28"/>
              <a:gd name="T18" fmla="*/ 2 w 33"/>
              <a:gd name="T19" fmla="*/ 20 h 28"/>
              <a:gd name="T20" fmla="*/ 2 w 33"/>
              <a:gd name="T21" fmla="*/ 21 h 28"/>
              <a:gd name="T22" fmla="*/ 3 w 33"/>
              <a:gd name="T23" fmla="*/ 23 h 28"/>
              <a:gd name="T24" fmla="*/ 4 w 33"/>
              <a:gd name="T25" fmla="*/ 24 h 28"/>
              <a:gd name="T26" fmla="*/ 7 w 33"/>
              <a:gd name="T27" fmla="*/ 25 h 28"/>
              <a:gd name="T28" fmla="*/ 8 w 33"/>
              <a:gd name="T29" fmla="*/ 27 h 28"/>
              <a:gd name="T30" fmla="*/ 10 w 33"/>
              <a:gd name="T31" fmla="*/ 27 h 28"/>
              <a:gd name="T32" fmla="*/ 18 w 33"/>
              <a:gd name="T33" fmla="*/ 25 h 28"/>
              <a:gd name="T34" fmla="*/ 21 w 33"/>
              <a:gd name="T35" fmla="*/ 24 h 28"/>
              <a:gd name="T36" fmla="*/ 24 w 33"/>
              <a:gd name="T37" fmla="*/ 24 h 28"/>
              <a:gd name="T38" fmla="*/ 27 w 33"/>
              <a:gd name="T39" fmla="*/ 23 h 28"/>
              <a:gd name="T40" fmla="*/ 29 w 33"/>
              <a:gd name="T41" fmla="*/ 21 h 28"/>
              <a:gd name="T42" fmla="*/ 32 w 33"/>
              <a:gd name="T43" fmla="*/ 18 h 28"/>
              <a:gd name="T44" fmla="*/ 32 w 33"/>
              <a:gd name="T45" fmla="*/ 17 h 28"/>
              <a:gd name="T46" fmla="*/ 32 w 33"/>
              <a:gd name="T47" fmla="*/ 16 h 28"/>
              <a:gd name="T48" fmla="*/ 32 w 33"/>
              <a:gd name="T49" fmla="*/ 6 h 28"/>
              <a:gd name="T50" fmla="*/ 31 w 33"/>
              <a:gd name="T51" fmla="*/ 6 h 28"/>
              <a:gd name="T52" fmla="*/ 29 w 33"/>
              <a:gd name="T53" fmla="*/ 6 h 28"/>
              <a:gd name="T54" fmla="*/ 28 w 33"/>
              <a:gd name="T55" fmla="*/ 4 h 28"/>
              <a:gd name="T56" fmla="*/ 27 w 33"/>
              <a:gd name="T57" fmla="*/ 3 h 28"/>
              <a:gd name="T58" fmla="*/ 26 w 33"/>
              <a:gd name="T59" fmla="*/ 2 h 28"/>
              <a:gd name="T60" fmla="*/ 25 w 33"/>
              <a:gd name="T61" fmla="*/ 1 h 28"/>
              <a:gd name="T62" fmla="*/ 25 w 33"/>
              <a:gd name="T63" fmla="*/ 0 h 28"/>
              <a:gd name="T64" fmla="*/ 23 w 33"/>
              <a:gd name="T65" fmla="*/ 0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3" h="28">
                <a:moveTo>
                  <a:pt x="23" y="0"/>
                </a:moveTo>
                <a:lnTo>
                  <a:pt x="19" y="0"/>
                </a:lnTo>
                <a:lnTo>
                  <a:pt x="13" y="2"/>
                </a:lnTo>
                <a:lnTo>
                  <a:pt x="10" y="5"/>
                </a:lnTo>
                <a:lnTo>
                  <a:pt x="5" y="6"/>
                </a:lnTo>
                <a:lnTo>
                  <a:pt x="1" y="8"/>
                </a:lnTo>
                <a:lnTo>
                  <a:pt x="0" y="12"/>
                </a:lnTo>
                <a:lnTo>
                  <a:pt x="1" y="16"/>
                </a:lnTo>
                <a:lnTo>
                  <a:pt x="2" y="19"/>
                </a:lnTo>
                <a:lnTo>
                  <a:pt x="2" y="20"/>
                </a:lnTo>
                <a:lnTo>
                  <a:pt x="2" y="21"/>
                </a:lnTo>
                <a:lnTo>
                  <a:pt x="3" y="23"/>
                </a:lnTo>
                <a:lnTo>
                  <a:pt x="4" y="24"/>
                </a:lnTo>
                <a:lnTo>
                  <a:pt x="7" y="25"/>
                </a:lnTo>
                <a:lnTo>
                  <a:pt x="8" y="27"/>
                </a:lnTo>
                <a:lnTo>
                  <a:pt x="10" y="27"/>
                </a:lnTo>
                <a:lnTo>
                  <a:pt x="18" y="25"/>
                </a:lnTo>
                <a:lnTo>
                  <a:pt x="21" y="24"/>
                </a:lnTo>
                <a:lnTo>
                  <a:pt x="24" y="24"/>
                </a:lnTo>
                <a:lnTo>
                  <a:pt x="27" y="23"/>
                </a:lnTo>
                <a:lnTo>
                  <a:pt x="29" y="21"/>
                </a:lnTo>
                <a:lnTo>
                  <a:pt x="32" y="18"/>
                </a:lnTo>
                <a:lnTo>
                  <a:pt x="32" y="17"/>
                </a:lnTo>
                <a:lnTo>
                  <a:pt x="32" y="16"/>
                </a:lnTo>
                <a:lnTo>
                  <a:pt x="32" y="6"/>
                </a:lnTo>
                <a:lnTo>
                  <a:pt x="31" y="6"/>
                </a:lnTo>
                <a:lnTo>
                  <a:pt x="29" y="6"/>
                </a:lnTo>
                <a:lnTo>
                  <a:pt x="28" y="4"/>
                </a:lnTo>
                <a:lnTo>
                  <a:pt x="27" y="3"/>
                </a:lnTo>
                <a:lnTo>
                  <a:pt x="26" y="2"/>
                </a:lnTo>
                <a:lnTo>
                  <a:pt x="25" y="1"/>
                </a:lnTo>
                <a:lnTo>
                  <a:pt x="25" y="0"/>
                </a:lnTo>
                <a:lnTo>
                  <a:pt x="23" y="0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grpSp>
        <p:nvGrpSpPr>
          <p:cNvPr id="266" name="Group 270">
            <a:extLst>
              <a:ext uri="{FF2B5EF4-FFF2-40B4-BE49-F238E27FC236}">
                <a16:creationId xmlns:a16="http://schemas.microsoft.com/office/drawing/2014/main" id="{2D6EC695-627A-9DA5-A72D-D3E8AD39D98E}"/>
              </a:ext>
            </a:extLst>
          </p:cNvPr>
          <p:cNvGrpSpPr>
            <a:grpSpLocks/>
          </p:cNvGrpSpPr>
          <p:nvPr/>
        </p:nvGrpSpPr>
        <p:grpSpPr bwMode="auto">
          <a:xfrm>
            <a:off x="6481138" y="3385984"/>
            <a:ext cx="163513" cy="142875"/>
            <a:chOff x="2818" y="1713"/>
            <a:chExt cx="81" cy="77"/>
          </a:xfrm>
          <a:solidFill>
            <a:srgbClr val="2E2E38">
              <a:lumMod val="60000"/>
              <a:lumOff val="40000"/>
            </a:srgbClr>
          </a:solidFill>
        </p:grpSpPr>
        <p:sp>
          <p:nvSpPr>
            <p:cNvPr id="267" name="Freeform 271">
              <a:extLst>
                <a:ext uri="{FF2B5EF4-FFF2-40B4-BE49-F238E27FC236}">
                  <a16:creationId xmlns:a16="http://schemas.microsoft.com/office/drawing/2014/main" id="{A5F3FCE6-6130-B399-9CBD-9F72C34C7A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6" y="1719"/>
              <a:ext cx="73" cy="71"/>
            </a:xfrm>
            <a:custGeom>
              <a:avLst/>
              <a:gdLst>
                <a:gd name="T0" fmla="*/ 31 w 73"/>
                <a:gd name="T1" fmla="*/ 2 h 71"/>
                <a:gd name="T2" fmla="*/ 29 w 73"/>
                <a:gd name="T3" fmla="*/ 4 h 71"/>
                <a:gd name="T4" fmla="*/ 25 w 73"/>
                <a:gd name="T5" fmla="*/ 5 h 71"/>
                <a:gd name="T6" fmla="*/ 21 w 73"/>
                <a:gd name="T7" fmla="*/ 8 h 71"/>
                <a:gd name="T8" fmla="*/ 19 w 73"/>
                <a:gd name="T9" fmla="*/ 11 h 71"/>
                <a:gd name="T10" fmla="*/ 18 w 73"/>
                <a:gd name="T11" fmla="*/ 14 h 71"/>
                <a:gd name="T12" fmla="*/ 14 w 73"/>
                <a:gd name="T13" fmla="*/ 17 h 71"/>
                <a:gd name="T14" fmla="*/ 12 w 73"/>
                <a:gd name="T15" fmla="*/ 17 h 71"/>
                <a:gd name="T16" fmla="*/ 9 w 73"/>
                <a:gd name="T17" fmla="*/ 16 h 71"/>
                <a:gd name="T18" fmla="*/ 6 w 73"/>
                <a:gd name="T19" fmla="*/ 18 h 71"/>
                <a:gd name="T20" fmla="*/ 3 w 73"/>
                <a:gd name="T21" fmla="*/ 19 h 71"/>
                <a:gd name="T22" fmla="*/ 0 w 73"/>
                <a:gd name="T23" fmla="*/ 21 h 71"/>
                <a:gd name="T24" fmla="*/ 0 w 73"/>
                <a:gd name="T25" fmla="*/ 26 h 71"/>
                <a:gd name="T26" fmla="*/ 2 w 73"/>
                <a:gd name="T27" fmla="*/ 28 h 71"/>
                <a:gd name="T28" fmla="*/ 5 w 73"/>
                <a:gd name="T29" fmla="*/ 31 h 71"/>
                <a:gd name="T30" fmla="*/ 6 w 73"/>
                <a:gd name="T31" fmla="*/ 32 h 71"/>
                <a:gd name="T32" fmla="*/ 8 w 73"/>
                <a:gd name="T33" fmla="*/ 33 h 71"/>
                <a:gd name="T34" fmla="*/ 8 w 73"/>
                <a:gd name="T35" fmla="*/ 30 h 71"/>
                <a:gd name="T36" fmla="*/ 9 w 73"/>
                <a:gd name="T37" fmla="*/ 27 h 71"/>
                <a:gd name="T38" fmla="*/ 13 w 73"/>
                <a:gd name="T39" fmla="*/ 21 h 71"/>
                <a:gd name="T40" fmla="*/ 16 w 73"/>
                <a:gd name="T41" fmla="*/ 31 h 71"/>
                <a:gd name="T42" fmla="*/ 20 w 73"/>
                <a:gd name="T43" fmla="*/ 41 h 71"/>
                <a:gd name="T44" fmla="*/ 22 w 73"/>
                <a:gd name="T45" fmla="*/ 45 h 71"/>
                <a:gd name="T46" fmla="*/ 25 w 73"/>
                <a:gd name="T47" fmla="*/ 49 h 71"/>
                <a:gd name="T48" fmla="*/ 28 w 73"/>
                <a:gd name="T49" fmla="*/ 52 h 71"/>
                <a:gd name="T50" fmla="*/ 31 w 73"/>
                <a:gd name="T51" fmla="*/ 56 h 71"/>
                <a:gd name="T52" fmla="*/ 34 w 73"/>
                <a:gd name="T53" fmla="*/ 57 h 71"/>
                <a:gd name="T54" fmla="*/ 35 w 73"/>
                <a:gd name="T55" fmla="*/ 57 h 71"/>
                <a:gd name="T56" fmla="*/ 39 w 73"/>
                <a:gd name="T57" fmla="*/ 57 h 71"/>
                <a:gd name="T58" fmla="*/ 43 w 73"/>
                <a:gd name="T59" fmla="*/ 56 h 71"/>
                <a:gd name="T60" fmla="*/ 45 w 73"/>
                <a:gd name="T61" fmla="*/ 56 h 71"/>
                <a:gd name="T62" fmla="*/ 48 w 73"/>
                <a:gd name="T63" fmla="*/ 57 h 71"/>
                <a:gd name="T64" fmla="*/ 57 w 73"/>
                <a:gd name="T65" fmla="*/ 62 h 71"/>
                <a:gd name="T66" fmla="*/ 66 w 73"/>
                <a:gd name="T67" fmla="*/ 70 h 71"/>
                <a:gd name="T68" fmla="*/ 60 w 73"/>
                <a:gd name="T69" fmla="*/ 59 h 71"/>
                <a:gd name="T70" fmla="*/ 57 w 73"/>
                <a:gd name="T71" fmla="*/ 53 h 71"/>
                <a:gd name="T72" fmla="*/ 51 w 73"/>
                <a:gd name="T73" fmla="*/ 51 h 71"/>
                <a:gd name="T74" fmla="*/ 46 w 73"/>
                <a:gd name="T75" fmla="*/ 48 h 71"/>
                <a:gd name="T76" fmla="*/ 38 w 73"/>
                <a:gd name="T77" fmla="*/ 42 h 71"/>
                <a:gd name="T78" fmla="*/ 33 w 73"/>
                <a:gd name="T79" fmla="*/ 40 h 71"/>
                <a:gd name="T80" fmla="*/ 30 w 73"/>
                <a:gd name="T81" fmla="*/ 34 h 71"/>
                <a:gd name="T82" fmla="*/ 28 w 73"/>
                <a:gd name="T83" fmla="*/ 29 h 71"/>
                <a:gd name="T84" fmla="*/ 30 w 73"/>
                <a:gd name="T85" fmla="*/ 22 h 71"/>
                <a:gd name="T86" fmla="*/ 35 w 73"/>
                <a:gd name="T87" fmla="*/ 22 h 71"/>
                <a:gd name="T88" fmla="*/ 41 w 73"/>
                <a:gd name="T89" fmla="*/ 25 h 71"/>
                <a:gd name="T90" fmla="*/ 49 w 73"/>
                <a:gd name="T91" fmla="*/ 26 h 71"/>
                <a:gd name="T92" fmla="*/ 56 w 73"/>
                <a:gd name="T93" fmla="*/ 25 h 71"/>
                <a:gd name="T94" fmla="*/ 62 w 73"/>
                <a:gd name="T95" fmla="*/ 25 h 71"/>
                <a:gd name="T96" fmla="*/ 69 w 73"/>
                <a:gd name="T97" fmla="*/ 27 h 71"/>
                <a:gd name="T98" fmla="*/ 72 w 73"/>
                <a:gd name="T99" fmla="*/ 22 h 71"/>
                <a:gd name="T100" fmla="*/ 70 w 73"/>
                <a:gd name="T101" fmla="*/ 19 h 71"/>
                <a:gd name="T102" fmla="*/ 67 w 73"/>
                <a:gd name="T103" fmla="*/ 13 h 71"/>
                <a:gd name="T104" fmla="*/ 63 w 73"/>
                <a:gd name="T105" fmla="*/ 13 h 71"/>
                <a:gd name="T106" fmla="*/ 60 w 73"/>
                <a:gd name="T107" fmla="*/ 13 h 71"/>
                <a:gd name="T108" fmla="*/ 55 w 73"/>
                <a:gd name="T109" fmla="*/ 13 h 71"/>
                <a:gd name="T110" fmla="*/ 50 w 73"/>
                <a:gd name="T111" fmla="*/ 12 h 71"/>
                <a:gd name="T112" fmla="*/ 48 w 73"/>
                <a:gd name="T113" fmla="*/ 8 h 71"/>
                <a:gd name="T114" fmla="*/ 45 w 73"/>
                <a:gd name="T115" fmla="*/ 5 h 71"/>
                <a:gd name="T116" fmla="*/ 38 w 73"/>
                <a:gd name="T117" fmla="*/ 0 h 71"/>
                <a:gd name="T118" fmla="*/ 34 w 73"/>
                <a:gd name="T119" fmla="*/ 0 h 71"/>
                <a:gd name="T120" fmla="*/ 31 w 73"/>
                <a:gd name="T121" fmla="*/ 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3" h="71">
                  <a:moveTo>
                    <a:pt x="31" y="2"/>
                  </a:moveTo>
                  <a:lnTo>
                    <a:pt x="29" y="4"/>
                  </a:lnTo>
                  <a:lnTo>
                    <a:pt x="25" y="5"/>
                  </a:lnTo>
                  <a:lnTo>
                    <a:pt x="21" y="8"/>
                  </a:lnTo>
                  <a:lnTo>
                    <a:pt x="19" y="11"/>
                  </a:lnTo>
                  <a:lnTo>
                    <a:pt x="18" y="14"/>
                  </a:lnTo>
                  <a:lnTo>
                    <a:pt x="14" y="17"/>
                  </a:lnTo>
                  <a:lnTo>
                    <a:pt x="12" y="17"/>
                  </a:lnTo>
                  <a:lnTo>
                    <a:pt x="9" y="16"/>
                  </a:lnTo>
                  <a:lnTo>
                    <a:pt x="6" y="18"/>
                  </a:lnTo>
                  <a:lnTo>
                    <a:pt x="3" y="19"/>
                  </a:lnTo>
                  <a:lnTo>
                    <a:pt x="0" y="21"/>
                  </a:lnTo>
                  <a:lnTo>
                    <a:pt x="0" y="26"/>
                  </a:lnTo>
                  <a:lnTo>
                    <a:pt x="2" y="28"/>
                  </a:lnTo>
                  <a:lnTo>
                    <a:pt x="5" y="31"/>
                  </a:lnTo>
                  <a:lnTo>
                    <a:pt x="6" y="32"/>
                  </a:lnTo>
                  <a:lnTo>
                    <a:pt x="8" y="33"/>
                  </a:lnTo>
                  <a:lnTo>
                    <a:pt x="8" y="30"/>
                  </a:lnTo>
                  <a:lnTo>
                    <a:pt x="9" y="27"/>
                  </a:lnTo>
                  <a:lnTo>
                    <a:pt x="13" y="21"/>
                  </a:lnTo>
                  <a:lnTo>
                    <a:pt x="16" y="31"/>
                  </a:lnTo>
                  <a:lnTo>
                    <a:pt x="20" y="41"/>
                  </a:lnTo>
                  <a:lnTo>
                    <a:pt x="22" y="45"/>
                  </a:lnTo>
                  <a:lnTo>
                    <a:pt x="25" y="49"/>
                  </a:lnTo>
                  <a:lnTo>
                    <a:pt x="28" y="52"/>
                  </a:lnTo>
                  <a:lnTo>
                    <a:pt x="31" y="56"/>
                  </a:lnTo>
                  <a:lnTo>
                    <a:pt x="34" y="57"/>
                  </a:lnTo>
                  <a:lnTo>
                    <a:pt x="35" y="57"/>
                  </a:lnTo>
                  <a:lnTo>
                    <a:pt x="39" y="57"/>
                  </a:lnTo>
                  <a:lnTo>
                    <a:pt x="43" y="56"/>
                  </a:lnTo>
                  <a:lnTo>
                    <a:pt x="45" y="56"/>
                  </a:lnTo>
                  <a:lnTo>
                    <a:pt x="48" y="57"/>
                  </a:lnTo>
                  <a:lnTo>
                    <a:pt x="57" y="62"/>
                  </a:lnTo>
                  <a:lnTo>
                    <a:pt x="66" y="70"/>
                  </a:lnTo>
                  <a:lnTo>
                    <a:pt x="60" y="59"/>
                  </a:lnTo>
                  <a:lnTo>
                    <a:pt x="57" y="53"/>
                  </a:lnTo>
                  <a:lnTo>
                    <a:pt x="51" y="51"/>
                  </a:lnTo>
                  <a:lnTo>
                    <a:pt x="46" y="48"/>
                  </a:lnTo>
                  <a:lnTo>
                    <a:pt x="38" y="42"/>
                  </a:lnTo>
                  <a:lnTo>
                    <a:pt x="33" y="40"/>
                  </a:lnTo>
                  <a:lnTo>
                    <a:pt x="30" y="34"/>
                  </a:lnTo>
                  <a:lnTo>
                    <a:pt x="28" y="29"/>
                  </a:lnTo>
                  <a:lnTo>
                    <a:pt x="30" y="22"/>
                  </a:lnTo>
                  <a:lnTo>
                    <a:pt x="35" y="22"/>
                  </a:lnTo>
                  <a:lnTo>
                    <a:pt x="41" y="25"/>
                  </a:lnTo>
                  <a:lnTo>
                    <a:pt x="49" y="26"/>
                  </a:lnTo>
                  <a:lnTo>
                    <a:pt x="56" y="25"/>
                  </a:lnTo>
                  <a:lnTo>
                    <a:pt x="62" y="25"/>
                  </a:lnTo>
                  <a:lnTo>
                    <a:pt x="69" y="27"/>
                  </a:lnTo>
                  <a:lnTo>
                    <a:pt x="72" y="22"/>
                  </a:lnTo>
                  <a:lnTo>
                    <a:pt x="70" y="19"/>
                  </a:lnTo>
                  <a:lnTo>
                    <a:pt x="67" y="13"/>
                  </a:lnTo>
                  <a:lnTo>
                    <a:pt x="63" y="13"/>
                  </a:lnTo>
                  <a:lnTo>
                    <a:pt x="60" y="13"/>
                  </a:lnTo>
                  <a:lnTo>
                    <a:pt x="55" y="13"/>
                  </a:lnTo>
                  <a:lnTo>
                    <a:pt x="50" y="12"/>
                  </a:lnTo>
                  <a:lnTo>
                    <a:pt x="48" y="8"/>
                  </a:lnTo>
                  <a:lnTo>
                    <a:pt x="45" y="5"/>
                  </a:lnTo>
                  <a:lnTo>
                    <a:pt x="38" y="0"/>
                  </a:lnTo>
                  <a:lnTo>
                    <a:pt x="34" y="0"/>
                  </a:lnTo>
                  <a:lnTo>
                    <a:pt x="31" y="2"/>
                  </a:lnTo>
                </a:path>
              </a:pathLst>
            </a:custGeom>
            <a:grpFill/>
            <a:ln w="6350" cap="rnd" cmpd="sng">
              <a:solidFill>
                <a:srgbClr val="2E2E38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68" name="Freeform 272">
              <a:extLst>
                <a:ext uri="{FF2B5EF4-FFF2-40B4-BE49-F238E27FC236}">
                  <a16:creationId xmlns:a16="http://schemas.microsoft.com/office/drawing/2014/main" id="{80647FFB-BBF9-0FBB-D7DF-7D60739AB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8" y="1713"/>
              <a:ext cx="47" cy="29"/>
            </a:xfrm>
            <a:custGeom>
              <a:avLst/>
              <a:gdLst>
                <a:gd name="T0" fmla="*/ 39 w 47"/>
                <a:gd name="T1" fmla="*/ 0 h 29"/>
                <a:gd name="T2" fmla="*/ 38 w 47"/>
                <a:gd name="T3" fmla="*/ 0 h 29"/>
                <a:gd name="T4" fmla="*/ 36 w 47"/>
                <a:gd name="T5" fmla="*/ 1 h 29"/>
                <a:gd name="T6" fmla="*/ 23 w 47"/>
                <a:gd name="T7" fmla="*/ 1 h 29"/>
                <a:gd name="T8" fmla="*/ 23 w 47"/>
                <a:gd name="T9" fmla="*/ 3 h 29"/>
                <a:gd name="T10" fmla="*/ 21 w 47"/>
                <a:gd name="T11" fmla="*/ 4 h 29"/>
                <a:gd name="T12" fmla="*/ 18 w 47"/>
                <a:gd name="T13" fmla="*/ 4 h 29"/>
                <a:gd name="T14" fmla="*/ 12 w 47"/>
                <a:gd name="T15" fmla="*/ 4 h 29"/>
                <a:gd name="T16" fmla="*/ 5 w 47"/>
                <a:gd name="T17" fmla="*/ 4 h 29"/>
                <a:gd name="T18" fmla="*/ 0 w 47"/>
                <a:gd name="T19" fmla="*/ 4 h 29"/>
                <a:gd name="T20" fmla="*/ 0 w 47"/>
                <a:gd name="T21" fmla="*/ 3 h 29"/>
                <a:gd name="T22" fmla="*/ 0 w 47"/>
                <a:gd name="T23" fmla="*/ 8 h 29"/>
                <a:gd name="T24" fmla="*/ 0 w 47"/>
                <a:gd name="T25" fmla="*/ 14 h 29"/>
                <a:gd name="T26" fmla="*/ 2 w 47"/>
                <a:gd name="T27" fmla="*/ 18 h 29"/>
                <a:gd name="T28" fmla="*/ 4 w 47"/>
                <a:gd name="T29" fmla="*/ 20 h 29"/>
                <a:gd name="T30" fmla="*/ 7 w 47"/>
                <a:gd name="T31" fmla="*/ 28 h 29"/>
                <a:gd name="T32" fmla="*/ 13 w 47"/>
                <a:gd name="T33" fmla="*/ 25 h 29"/>
                <a:gd name="T34" fmla="*/ 17 w 47"/>
                <a:gd name="T35" fmla="*/ 23 h 29"/>
                <a:gd name="T36" fmla="*/ 23 w 47"/>
                <a:gd name="T37" fmla="*/ 24 h 29"/>
                <a:gd name="T38" fmla="*/ 25 w 47"/>
                <a:gd name="T39" fmla="*/ 20 h 29"/>
                <a:gd name="T40" fmla="*/ 28 w 47"/>
                <a:gd name="T41" fmla="*/ 17 h 29"/>
                <a:gd name="T42" fmla="*/ 29 w 47"/>
                <a:gd name="T43" fmla="*/ 13 h 29"/>
                <a:gd name="T44" fmla="*/ 32 w 47"/>
                <a:gd name="T45" fmla="*/ 12 h 29"/>
                <a:gd name="T46" fmla="*/ 36 w 47"/>
                <a:gd name="T47" fmla="*/ 11 h 29"/>
                <a:gd name="T48" fmla="*/ 40 w 47"/>
                <a:gd name="T49" fmla="*/ 8 h 29"/>
                <a:gd name="T50" fmla="*/ 46 w 47"/>
                <a:gd name="T51" fmla="*/ 5 h 29"/>
                <a:gd name="T52" fmla="*/ 42 w 47"/>
                <a:gd name="T53" fmla="*/ 3 h 29"/>
                <a:gd name="T54" fmla="*/ 38 w 47"/>
                <a:gd name="T55" fmla="*/ 0 h 29"/>
                <a:gd name="T56" fmla="*/ 39 w 47"/>
                <a:gd name="T5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7" h="29">
                  <a:moveTo>
                    <a:pt x="39" y="0"/>
                  </a:moveTo>
                  <a:lnTo>
                    <a:pt x="38" y="0"/>
                  </a:lnTo>
                  <a:lnTo>
                    <a:pt x="36" y="1"/>
                  </a:lnTo>
                  <a:lnTo>
                    <a:pt x="23" y="1"/>
                  </a:lnTo>
                  <a:lnTo>
                    <a:pt x="23" y="3"/>
                  </a:lnTo>
                  <a:lnTo>
                    <a:pt x="21" y="4"/>
                  </a:lnTo>
                  <a:lnTo>
                    <a:pt x="18" y="4"/>
                  </a:lnTo>
                  <a:lnTo>
                    <a:pt x="12" y="4"/>
                  </a:lnTo>
                  <a:lnTo>
                    <a:pt x="5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8"/>
                  </a:lnTo>
                  <a:lnTo>
                    <a:pt x="0" y="14"/>
                  </a:lnTo>
                  <a:lnTo>
                    <a:pt x="2" y="18"/>
                  </a:lnTo>
                  <a:lnTo>
                    <a:pt x="4" y="20"/>
                  </a:lnTo>
                  <a:lnTo>
                    <a:pt x="7" y="28"/>
                  </a:lnTo>
                  <a:lnTo>
                    <a:pt x="13" y="25"/>
                  </a:lnTo>
                  <a:lnTo>
                    <a:pt x="17" y="23"/>
                  </a:lnTo>
                  <a:lnTo>
                    <a:pt x="23" y="24"/>
                  </a:lnTo>
                  <a:lnTo>
                    <a:pt x="25" y="20"/>
                  </a:lnTo>
                  <a:lnTo>
                    <a:pt x="28" y="17"/>
                  </a:lnTo>
                  <a:lnTo>
                    <a:pt x="29" y="13"/>
                  </a:lnTo>
                  <a:lnTo>
                    <a:pt x="32" y="12"/>
                  </a:lnTo>
                  <a:lnTo>
                    <a:pt x="36" y="11"/>
                  </a:lnTo>
                  <a:lnTo>
                    <a:pt x="40" y="8"/>
                  </a:lnTo>
                  <a:lnTo>
                    <a:pt x="46" y="5"/>
                  </a:lnTo>
                  <a:lnTo>
                    <a:pt x="42" y="3"/>
                  </a:lnTo>
                  <a:lnTo>
                    <a:pt x="38" y="0"/>
                  </a:lnTo>
                  <a:lnTo>
                    <a:pt x="39" y="0"/>
                  </a:lnTo>
                </a:path>
              </a:pathLst>
            </a:custGeom>
            <a:grpFill/>
            <a:ln w="6350" cap="rnd" cmpd="sng">
              <a:solidFill>
                <a:srgbClr val="2E2E38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69" name="Freeform 210">
            <a:extLst>
              <a:ext uri="{FF2B5EF4-FFF2-40B4-BE49-F238E27FC236}">
                <a16:creationId xmlns:a16="http://schemas.microsoft.com/office/drawing/2014/main" id="{B2831D0D-8E39-C5CE-8607-3430E8CADE95}"/>
              </a:ext>
            </a:extLst>
          </p:cNvPr>
          <p:cNvSpPr>
            <a:spLocks/>
          </p:cNvSpPr>
          <p:nvPr/>
        </p:nvSpPr>
        <p:spPr bwMode="auto">
          <a:xfrm>
            <a:off x="5939106" y="3132076"/>
            <a:ext cx="78544" cy="69758"/>
          </a:xfrm>
          <a:custGeom>
            <a:avLst/>
            <a:gdLst>
              <a:gd name="T0" fmla="*/ 27 w 55"/>
              <a:gd name="T1" fmla="*/ 3 h 67"/>
              <a:gd name="T2" fmla="*/ 31 w 55"/>
              <a:gd name="T3" fmla="*/ 0 h 67"/>
              <a:gd name="T4" fmla="*/ 40 w 55"/>
              <a:gd name="T5" fmla="*/ 0 h 67"/>
              <a:gd name="T6" fmla="*/ 47 w 55"/>
              <a:gd name="T7" fmla="*/ 0 h 67"/>
              <a:gd name="T8" fmla="*/ 51 w 55"/>
              <a:gd name="T9" fmla="*/ 0 h 67"/>
              <a:gd name="T10" fmla="*/ 54 w 55"/>
              <a:gd name="T11" fmla="*/ 4 h 67"/>
              <a:gd name="T12" fmla="*/ 54 w 55"/>
              <a:gd name="T13" fmla="*/ 9 h 67"/>
              <a:gd name="T14" fmla="*/ 50 w 55"/>
              <a:gd name="T15" fmla="*/ 15 h 67"/>
              <a:gd name="T16" fmla="*/ 45 w 55"/>
              <a:gd name="T17" fmla="*/ 18 h 67"/>
              <a:gd name="T18" fmla="*/ 44 w 55"/>
              <a:gd name="T19" fmla="*/ 22 h 67"/>
              <a:gd name="T20" fmla="*/ 45 w 55"/>
              <a:gd name="T21" fmla="*/ 27 h 67"/>
              <a:gd name="T22" fmla="*/ 47 w 55"/>
              <a:gd name="T23" fmla="*/ 30 h 67"/>
              <a:gd name="T24" fmla="*/ 49 w 55"/>
              <a:gd name="T25" fmla="*/ 32 h 67"/>
              <a:gd name="T26" fmla="*/ 50 w 55"/>
              <a:gd name="T27" fmla="*/ 37 h 67"/>
              <a:gd name="T28" fmla="*/ 49 w 55"/>
              <a:gd name="T29" fmla="*/ 40 h 67"/>
              <a:gd name="T30" fmla="*/ 45 w 55"/>
              <a:gd name="T31" fmla="*/ 47 h 67"/>
              <a:gd name="T32" fmla="*/ 35 w 55"/>
              <a:gd name="T33" fmla="*/ 56 h 67"/>
              <a:gd name="T34" fmla="*/ 22 w 55"/>
              <a:gd name="T35" fmla="*/ 62 h 67"/>
              <a:gd name="T36" fmla="*/ 11 w 55"/>
              <a:gd name="T37" fmla="*/ 66 h 67"/>
              <a:gd name="T38" fmla="*/ 8 w 55"/>
              <a:gd name="T39" fmla="*/ 66 h 67"/>
              <a:gd name="T40" fmla="*/ 4 w 55"/>
              <a:gd name="T41" fmla="*/ 63 h 67"/>
              <a:gd name="T42" fmla="*/ 0 w 55"/>
              <a:gd name="T43" fmla="*/ 60 h 67"/>
              <a:gd name="T44" fmla="*/ 0 w 55"/>
              <a:gd name="T45" fmla="*/ 56 h 67"/>
              <a:gd name="T46" fmla="*/ 2 w 55"/>
              <a:gd name="T47" fmla="*/ 50 h 67"/>
              <a:gd name="T48" fmla="*/ 9 w 55"/>
              <a:gd name="T49" fmla="*/ 44 h 67"/>
              <a:gd name="T50" fmla="*/ 10 w 55"/>
              <a:gd name="T51" fmla="*/ 37 h 67"/>
              <a:gd name="T52" fmla="*/ 3 w 55"/>
              <a:gd name="T53" fmla="*/ 34 h 67"/>
              <a:gd name="T54" fmla="*/ 2 w 55"/>
              <a:gd name="T55" fmla="*/ 28 h 67"/>
              <a:gd name="T56" fmla="*/ 3 w 55"/>
              <a:gd name="T57" fmla="*/ 23 h 67"/>
              <a:gd name="T58" fmla="*/ 6 w 55"/>
              <a:gd name="T59" fmla="*/ 18 h 67"/>
              <a:gd name="T60" fmla="*/ 13 w 55"/>
              <a:gd name="T61" fmla="*/ 16 h 67"/>
              <a:gd name="T62" fmla="*/ 20 w 55"/>
              <a:gd name="T63" fmla="*/ 16 h 67"/>
              <a:gd name="T64" fmla="*/ 25 w 55"/>
              <a:gd name="T65" fmla="*/ 18 h 67"/>
              <a:gd name="connsiteX0" fmla="*/ 4909 w 9818"/>
              <a:gd name="connsiteY0" fmla="*/ 2985 h 9851"/>
              <a:gd name="connsiteX1" fmla="*/ 4909 w 9818"/>
              <a:gd name="connsiteY1" fmla="*/ 448 h 9851"/>
              <a:gd name="connsiteX2" fmla="*/ 5091 w 9818"/>
              <a:gd name="connsiteY2" fmla="*/ 149 h 9851"/>
              <a:gd name="connsiteX3" fmla="*/ 5636 w 9818"/>
              <a:gd name="connsiteY3" fmla="*/ 0 h 9851"/>
              <a:gd name="connsiteX4" fmla="*/ 6364 w 9818"/>
              <a:gd name="connsiteY4" fmla="*/ 0 h 9851"/>
              <a:gd name="connsiteX5" fmla="*/ 7273 w 9818"/>
              <a:gd name="connsiteY5" fmla="*/ 0 h 9851"/>
              <a:gd name="connsiteX6" fmla="*/ 8182 w 9818"/>
              <a:gd name="connsiteY6" fmla="*/ 0 h 9851"/>
              <a:gd name="connsiteX7" fmla="*/ 8545 w 9818"/>
              <a:gd name="connsiteY7" fmla="*/ 0 h 9851"/>
              <a:gd name="connsiteX8" fmla="*/ 9091 w 9818"/>
              <a:gd name="connsiteY8" fmla="*/ 0 h 9851"/>
              <a:gd name="connsiteX9" fmla="*/ 9273 w 9818"/>
              <a:gd name="connsiteY9" fmla="*/ 0 h 9851"/>
              <a:gd name="connsiteX10" fmla="*/ 9636 w 9818"/>
              <a:gd name="connsiteY10" fmla="*/ 448 h 9851"/>
              <a:gd name="connsiteX11" fmla="*/ 9818 w 9818"/>
              <a:gd name="connsiteY11" fmla="*/ 597 h 9851"/>
              <a:gd name="connsiteX12" fmla="*/ 9818 w 9818"/>
              <a:gd name="connsiteY12" fmla="*/ 896 h 9851"/>
              <a:gd name="connsiteX13" fmla="*/ 9818 w 9818"/>
              <a:gd name="connsiteY13" fmla="*/ 1343 h 9851"/>
              <a:gd name="connsiteX14" fmla="*/ 9636 w 9818"/>
              <a:gd name="connsiteY14" fmla="*/ 1791 h 9851"/>
              <a:gd name="connsiteX15" fmla="*/ 9091 w 9818"/>
              <a:gd name="connsiteY15" fmla="*/ 2239 h 9851"/>
              <a:gd name="connsiteX16" fmla="*/ 8909 w 9818"/>
              <a:gd name="connsiteY16" fmla="*/ 2388 h 9851"/>
              <a:gd name="connsiteX17" fmla="*/ 8000 w 9818"/>
              <a:gd name="connsiteY17" fmla="*/ 3134 h 9851"/>
              <a:gd name="connsiteX18" fmla="*/ 8000 w 9818"/>
              <a:gd name="connsiteY18" fmla="*/ 3284 h 9851"/>
              <a:gd name="connsiteX19" fmla="*/ 8000 w 9818"/>
              <a:gd name="connsiteY19" fmla="*/ 3731 h 9851"/>
              <a:gd name="connsiteX20" fmla="*/ 8182 w 9818"/>
              <a:gd name="connsiteY20" fmla="*/ 4030 h 9851"/>
              <a:gd name="connsiteX21" fmla="*/ 8364 w 9818"/>
              <a:gd name="connsiteY21" fmla="*/ 4328 h 9851"/>
              <a:gd name="connsiteX22" fmla="*/ 8545 w 9818"/>
              <a:gd name="connsiteY22" fmla="*/ 4478 h 9851"/>
              <a:gd name="connsiteX23" fmla="*/ 8545 w 9818"/>
              <a:gd name="connsiteY23" fmla="*/ 4627 h 9851"/>
              <a:gd name="connsiteX24" fmla="*/ 8909 w 9818"/>
              <a:gd name="connsiteY24" fmla="*/ 4776 h 9851"/>
              <a:gd name="connsiteX25" fmla="*/ 9091 w 9818"/>
              <a:gd name="connsiteY25" fmla="*/ 5075 h 9851"/>
              <a:gd name="connsiteX26" fmla="*/ 9091 w 9818"/>
              <a:gd name="connsiteY26" fmla="*/ 5522 h 9851"/>
              <a:gd name="connsiteX27" fmla="*/ 9091 w 9818"/>
              <a:gd name="connsiteY27" fmla="*/ 5821 h 9851"/>
              <a:gd name="connsiteX28" fmla="*/ 8909 w 9818"/>
              <a:gd name="connsiteY28" fmla="*/ 5970 h 9851"/>
              <a:gd name="connsiteX29" fmla="*/ 8545 w 9818"/>
              <a:gd name="connsiteY29" fmla="*/ 6567 h 9851"/>
              <a:gd name="connsiteX30" fmla="*/ 8182 w 9818"/>
              <a:gd name="connsiteY30" fmla="*/ 7015 h 9851"/>
              <a:gd name="connsiteX31" fmla="*/ 7273 w 9818"/>
              <a:gd name="connsiteY31" fmla="*/ 7612 h 9851"/>
              <a:gd name="connsiteX32" fmla="*/ 6364 w 9818"/>
              <a:gd name="connsiteY32" fmla="*/ 8358 h 9851"/>
              <a:gd name="connsiteX33" fmla="*/ 5091 w 9818"/>
              <a:gd name="connsiteY33" fmla="*/ 8806 h 9851"/>
              <a:gd name="connsiteX34" fmla="*/ 4000 w 9818"/>
              <a:gd name="connsiteY34" fmla="*/ 9254 h 9851"/>
              <a:gd name="connsiteX35" fmla="*/ 2727 w 9818"/>
              <a:gd name="connsiteY35" fmla="*/ 9701 h 9851"/>
              <a:gd name="connsiteX36" fmla="*/ 2000 w 9818"/>
              <a:gd name="connsiteY36" fmla="*/ 9851 h 9851"/>
              <a:gd name="connsiteX37" fmla="*/ 1818 w 9818"/>
              <a:gd name="connsiteY37" fmla="*/ 9851 h 9851"/>
              <a:gd name="connsiteX38" fmla="*/ 1455 w 9818"/>
              <a:gd name="connsiteY38" fmla="*/ 9851 h 9851"/>
              <a:gd name="connsiteX39" fmla="*/ 1091 w 9818"/>
              <a:gd name="connsiteY39" fmla="*/ 9701 h 9851"/>
              <a:gd name="connsiteX40" fmla="*/ 727 w 9818"/>
              <a:gd name="connsiteY40" fmla="*/ 9403 h 9851"/>
              <a:gd name="connsiteX41" fmla="*/ 364 w 9818"/>
              <a:gd name="connsiteY41" fmla="*/ 9254 h 9851"/>
              <a:gd name="connsiteX42" fmla="*/ 0 w 9818"/>
              <a:gd name="connsiteY42" fmla="*/ 8955 h 9851"/>
              <a:gd name="connsiteX43" fmla="*/ 0 w 9818"/>
              <a:gd name="connsiteY43" fmla="*/ 8657 h 9851"/>
              <a:gd name="connsiteX44" fmla="*/ 0 w 9818"/>
              <a:gd name="connsiteY44" fmla="*/ 8358 h 9851"/>
              <a:gd name="connsiteX45" fmla="*/ 0 w 9818"/>
              <a:gd name="connsiteY45" fmla="*/ 7910 h 9851"/>
              <a:gd name="connsiteX46" fmla="*/ 364 w 9818"/>
              <a:gd name="connsiteY46" fmla="*/ 7463 h 9851"/>
              <a:gd name="connsiteX47" fmla="*/ 727 w 9818"/>
              <a:gd name="connsiteY47" fmla="*/ 7015 h 9851"/>
              <a:gd name="connsiteX48" fmla="*/ 1636 w 9818"/>
              <a:gd name="connsiteY48" fmla="*/ 6567 h 9851"/>
              <a:gd name="connsiteX49" fmla="*/ 2000 w 9818"/>
              <a:gd name="connsiteY49" fmla="*/ 5970 h 9851"/>
              <a:gd name="connsiteX50" fmla="*/ 1818 w 9818"/>
              <a:gd name="connsiteY50" fmla="*/ 5522 h 9851"/>
              <a:gd name="connsiteX51" fmla="*/ 1091 w 9818"/>
              <a:gd name="connsiteY51" fmla="*/ 5224 h 9851"/>
              <a:gd name="connsiteX52" fmla="*/ 545 w 9818"/>
              <a:gd name="connsiteY52" fmla="*/ 5075 h 9851"/>
              <a:gd name="connsiteX53" fmla="*/ 0 w 9818"/>
              <a:gd name="connsiteY53" fmla="*/ 4627 h 9851"/>
              <a:gd name="connsiteX54" fmla="*/ 364 w 9818"/>
              <a:gd name="connsiteY54" fmla="*/ 4179 h 9851"/>
              <a:gd name="connsiteX55" fmla="*/ 545 w 9818"/>
              <a:gd name="connsiteY55" fmla="*/ 3881 h 9851"/>
              <a:gd name="connsiteX56" fmla="*/ 545 w 9818"/>
              <a:gd name="connsiteY56" fmla="*/ 3433 h 9851"/>
              <a:gd name="connsiteX57" fmla="*/ 364 w 9818"/>
              <a:gd name="connsiteY57" fmla="*/ 2985 h 9851"/>
              <a:gd name="connsiteX58" fmla="*/ 1091 w 9818"/>
              <a:gd name="connsiteY58" fmla="*/ 2687 h 9851"/>
              <a:gd name="connsiteX59" fmla="*/ 1818 w 9818"/>
              <a:gd name="connsiteY59" fmla="*/ 2537 h 9851"/>
              <a:gd name="connsiteX60" fmla="*/ 2364 w 9818"/>
              <a:gd name="connsiteY60" fmla="*/ 2388 h 9851"/>
              <a:gd name="connsiteX61" fmla="*/ 3091 w 9818"/>
              <a:gd name="connsiteY61" fmla="*/ 2388 h 9851"/>
              <a:gd name="connsiteX62" fmla="*/ 3636 w 9818"/>
              <a:gd name="connsiteY62" fmla="*/ 2388 h 9851"/>
              <a:gd name="connsiteX63" fmla="*/ 4182 w 9818"/>
              <a:gd name="connsiteY63" fmla="*/ 2537 h 9851"/>
              <a:gd name="connsiteX64" fmla="*/ 4545 w 9818"/>
              <a:gd name="connsiteY64" fmla="*/ 2687 h 9851"/>
              <a:gd name="connsiteX65" fmla="*/ 4909 w 9818"/>
              <a:gd name="connsiteY65" fmla="*/ 2985 h 9851"/>
              <a:gd name="connsiteX0" fmla="*/ 5000 w 10000"/>
              <a:gd name="connsiteY0" fmla="*/ 3030 h 10000"/>
              <a:gd name="connsiteX1" fmla="*/ 5000 w 10000"/>
              <a:gd name="connsiteY1" fmla="*/ 455 h 10000"/>
              <a:gd name="connsiteX2" fmla="*/ 5185 w 10000"/>
              <a:gd name="connsiteY2" fmla="*/ 151 h 10000"/>
              <a:gd name="connsiteX3" fmla="*/ 5740 w 10000"/>
              <a:gd name="connsiteY3" fmla="*/ 0 h 10000"/>
              <a:gd name="connsiteX4" fmla="*/ 6482 w 10000"/>
              <a:gd name="connsiteY4" fmla="*/ 0 h 10000"/>
              <a:gd name="connsiteX5" fmla="*/ 7408 w 10000"/>
              <a:gd name="connsiteY5" fmla="*/ 0 h 10000"/>
              <a:gd name="connsiteX6" fmla="*/ 8334 w 10000"/>
              <a:gd name="connsiteY6" fmla="*/ 0 h 10000"/>
              <a:gd name="connsiteX7" fmla="*/ 8703 w 10000"/>
              <a:gd name="connsiteY7" fmla="*/ 0 h 10000"/>
              <a:gd name="connsiteX8" fmla="*/ 9260 w 10000"/>
              <a:gd name="connsiteY8" fmla="*/ 0 h 10000"/>
              <a:gd name="connsiteX9" fmla="*/ 9445 w 10000"/>
              <a:gd name="connsiteY9" fmla="*/ 0 h 10000"/>
              <a:gd name="connsiteX10" fmla="*/ 9815 w 10000"/>
              <a:gd name="connsiteY10" fmla="*/ 455 h 10000"/>
              <a:gd name="connsiteX11" fmla="*/ 10000 w 10000"/>
              <a:gd name="connsiteY11" fmla="*/ 606 h 10000"/>
              <a:gd name="connsiteX12" fmla="*/ 10000 w 10000"/>
              <a:gd name="connsiteY12" fmla="*/ 910 h 10000"/>
              <a:gd name="connsiteX13" fmla="*/ 10000 w 10000"/>
              <a:gd name="connsiteY13" fmla="*/ 1363 h 10000"/>
              <a:gd name="connsiteX14" fmla="*/ 9815 w 10000"/>
              <a:gd name="connsiteY14" fmla="*/ 1818 h 10000"/>
              <a:gd name="connsiteX15" fmla="*/ 9260 w 10000"/>
              <a:gd name="connsiteY15" fmla="*/ 2273 h 10000"/>
              <a:gd name="connsiteX16" fmla="*/ 8148 w 10000"/>
              <a:gd name="connsiteY16" fmla="*/ 3181 h 10000"/>
              <a:gd name="connsiteX17" fmla="*/ 8148 w 10000"/>
              <a:gd name="connsiteY17" fmla="*/ 3334 h 10000"/>
              <a:gd name="connsiteX18" fmla="*/ 8148 w 10000"/>
              <a:gd name="connsiteY18" fmla="*/ 3787 h 10000"/>
              <a:gd name="connsiteX19" fmla="*/ 8334 w 10000"/>
              <a:gd name="connsiteY19" fmla="*/ 4091 h 10000"/>
              <a:gd name="connsiteX20" fmla="*/ 8519 w 10000"/>
              <a:gd name="connsiteY20" fmla="*/ 4393 h 10000"/>
              <a:gd name="connsiteX21" fmla="*/ 8703 w 10000"/>
              <a:gd name="connsiteY21" fmla="*/ 4546 h 10000"/>
              <a:gd name="connsiteX22" fmla="*/ 8703 w 10000"/>
              <a:gd name="connsiteY22" fmla="*/ 4697 h 10000"/>
              <a:gd name="connsiteX23" fmla="*/ 9074 w 10000"/>
              <a:gd name="connsiteY23" fmla="*/ 4848 h 10000"/>
              <a:gd name="connsiteX24" fmla="*/ 9260 w 10000"/>
              <a:gd name="connsiteY24" fmla="*/ 5152 h 10000"/>
              <a:gd name="connsiteX25" fmla="*/ 9260 w 10000"/>
              <a:gd name="connsiteY25" fmla="*/ 5606 h 10000"/>
              <a:gd name="connsiteX26" fmla="*/ 9260 w 10000"/>
              <a:gd name="connsiteY26" fmla="*/ 5909 h 10000"/>
              <a:gd name="connsiteX27" fmla="*/ 9074 w 10000"/>
              <a:gd name="connsiteY27" fmla="*/ 6060 h 10000"/>
              <a:gd name="connsiteX28" fmla="*/ 8703 w 10000"/>
              <a:gd name="connsiteY28" fmla="*/ 6666 h 10000"/>
              <a:gd name="connsiteX29" fmla="*/ 8334 w 10000"/>
              <a:gd name="connsiteY29" fmla="*/ 7121 h 10000"/>
              <a:gd name="connsiteX30" fmla="*/ 7408 w 10000"/>
              <a:gd name="connsiteY30" fmla="*/ 7727 h 10000"/>
              <a:gd name="connsiteX31" fmla="*/ 6482 w 10000"/>
              <a:gd name="connsiteY31" fmla="*/ 8484 h 10000"/>
              <a:gd name="connsiteX32" fmla="*/ 5185 w 10000"/>
              <a:gd name="connsiteY32" fmla="*/ 8939 h 10000"/>
              <a:gd name="connsiteX33" fmla="*/ 4074 w 10000"/>
              <a:gd name="connsiteY33" fmla="*/ 9394 h 10000"/>
              <a:gd name="connsiteX34" fmla="*/ 2778 w 10000"/>
              <a:gd name="connsiteY34" fmla="*/ 9848 h 10000"/>
              <a:gd name="connsiteX35" fmla="*/ 2037 w 10000"/>
              <a:gd name="connsiteY35" fmla="*/ 10000 h 10000"/>
              <a:gd name="connsiteX36" fmla="*/ 1852 w 10000"/>
              <a:gd name="connsiteY36" fmla="*/ 10000 h 10000"/>
              <a:gd name="connsiteX37" fmla="*/ 1482 w 10000"/>
              <a:gd name="connsiteY37" fmla="*/ 10000 h 10000"/>
              <a:gd name="connsiteX38" fmla="*/ 1111 w 10000"/>
              <a:gd name="connsiteY38" fmla="*/ 9848 h 10000"/>
              <a:gd name="connsiteX39" fmla="*/ 740 w 10000"/>
              <a:gd name="connsiteY39" fmla="*/ 9545 h 10000"/>
              <a:gd name="connsiteX40" fmla="*/ 371 w 10000"/>
              <a:gd name="connsiteY40" fmla="*/ 9394 h 10000"/>
              <a:gd name="connsiteX41" fmla="*/ 0 w 10000"/>
              <a:gd name="connsiteY41" fmla="*/ 9090 h 10000"/>
              <a:gd name="connsiteX42" fmla="*/ 0 w 10000"/>
              <a:gd name="connsiteY42" fmla="*/ 8788 h 10000"/>
              <a:gd name="connsiteX43" fmla="*/ 0 w 10000"/>
              <a:gd name="connsiteY43" fmla="*/ 8484 h 10000"/>
              <a:gd name="connsiteX44" fmla="*/ 0 w 10000"/>
              <a:gd name="connsiteY44" fmla="*/ 8030 h 10000"/>
              <a:gd name="connsiteX45" fmla="*/ 371 w 10000"/>
              <a:gd name="connsiteY45" fmla="*/ 7576 h 10000"/>
              <a:gd name="connsiteX46" fmla="*/ 740 w 10000"/>
              <a:gd name="connsiteY46" fmla="*/ 7121 h 10000"/>
              <a:gd name="connsiteX47" fmla="*/ 1666 w 10000"/>
              <a:gd name="connsiteY47" fmla="*/ 6666 h 10000"/>
              <a:gd name="connsiteX48" fmla="*/ 2037 w 10000"/>
              <a:gd name="connsiteY48" fmla="*/ 6060 h 10000"/>
              <a:gd name="connsiteX49" fmla="*/ 1852 w 10000"/>
              <a:gd name="connsiteY49" fmla="*/ 5606 h 10000"/>
              <a:gd name="connsiteX50" fmla="*/ 1111 w 10000"/>
              <a:gd name="connsiteY50" fmla="*/ 5303 h 10000"/>
              <a:gd name="connsiteX51" fmla="*/ 555 w 10000"/>
              <a:gd name="connsiteY51" fmla="*/ 5152 h 10000"/>
              <a:gd name="connsiteX52" fmla="*/ 0 w 10000"/>
              <a:gd name="connsiteY52" fmla="*/ 4697 h 10000"/>
              <a:gd name="connsiteX53" fmla="*/ 371 w 10000"/>
              <a:gd name="connsiteY53" fmla="*/ 4242 h 10000"/>
              <a:gd name="connsiteX54" fmla="*/ 555 w 10000"/>
              <a:gd name="connsiteY54" fmla="*/ 3940 h 10000"/>
              <a:gd name="connsiteX55" fmla="*/ 555 w 10000"/>
              <a:gd name="connsiteY55" fmla="*/ 3485 h 10000"/>
              <a:gd name="connsiteX56" fmla="*/ 371 w 10000"/>
              <a:gd name="connsiteY56" fmla="*/ 3030 h 10000"/>
              <a:gd name="connsiteX57" fmla="*/ 1111 w 10000"/>
              <a:gd name="connsiteY57" fmla="*/ 2728 h 10000"/>
              <a:gd name="connsiteX58" fmla="*/ 1852 w 10000"/>
              <a:gd name="connsiteY58" fmla="*/ 2575 h 10000"/>
              <a:gd name="connsiteX59" fmla="*/ 2408 w 10000"/>
              <a:gd name="connsiteY59" fmla="*/ 2424 h 10000"/>
              <a:gd name="connsiteX60" fmla="*/ 3148 w 10000"/>
              <a:gd name="connsiteY60" fmla="*/ 2424 h 10000"/>
              <a:gd name="connsiteX61" fmla="*/ 3703 w 10000"/>
              <a:gd name="connsiteY61" fmla="*/ 2424 h 10000"/>
              <a:gd name="connsiteX62" fmla="*/ 4260 w 10000"/>
              <a:gd name="connsiteY62" fmla="*/ 2575 h 10000"/>
              <a:gd name="connsiteX63" fmla="*/ 4629 w 10000"/>
              <a:gd name="connsiteY63" fmla="*/ 2728 h 10000"/>
              <a:gd name="connsiteX64" fmla="*/ 5000 w 10000"/>
              <a:gd name="connsiteY64" fmla="*/ 3030 h 10000"/>
              <a:gd name="connsiteX0" fmla="*/ 5000 w 10000"/>
              <a:gd name="connsiteY0" fmla="*/ 3030 h 10000"/>
              <a:gd name="connsiteX1" fmla="*/ 5000 w 10000"/>
              <a:gd name="connsiteY1" fmla="*/ 455 h 10000"/>
              <a:gd name="connsiteX2" fmla="*/ 5185 w 10000"/>
              <a:gd name="connsiteY2" fmla="*/ 151 h 10000"/>
              <a:gd name="connsiteX3" fmla="*/ 5740 w 10000"/>
              <a:gd name="connsiteY3" fmla="*/ 0 h 10000"/>
              <a:gd name="connsiteX4" fmla="*/ 6482 w 10000"/>
              <a:gd name="connsiteY4" fmla="*/ 0 h 10000"/>
              <a:gd name="connsiteX5" fmla="*/ 7408 w 10000"/>
              <a:gd name="connsiteY5" fmla="*/ 0 h 10000"/>
              <a:gd name="connsiteX6" fmla="*/ 8334 w 10000"/>
              <a:gd name="connsiteY6" fmla="*/ 0 h 10000"/>
              <a:gd name="connsiteX7" fmla="*/ 8703 w 10000"/>
              <a:gd name="connsiteY7" fmla="*/ 0 h 10000"/>
              <a:gd name="connsiteX8" fmla="*/ 9260 w 10000"/>
              <a:gd name="connsiteY8" fmla="*/ 0 h 10000"/>
              <a:gd name="connsiteX9" fmla="*/ 9445 w 10000"/>
              <a:gd name="connsiteY9" fmla="*/ 0 h 10000"/>
              <a:gd name="connsiteX10" fmla="*/ 9815 w 10000"/>
              <a:gd name="connsiteY10" fmla="*/ 455 h 10000"/>
              <a:gd name="connsiteX11" fmla="*/ 10000 w 10000"/>
              <a:gd name="connsiteY11" fmla="*/ 606 h 10000"/>
              <a:gd name="connsiteX12" fmla="*/ 10000 w 10000"/>
              <a:gd name="connsiteY12" fmla="*/ 910 h 10000"/>
              <a:gd name="connsiteX13" fmla="*/ 10000 w 10000"/>
              <a:gd name="connsiteY13" fmla="*/ 1363 h 10000"/>
              <a:gd name="connsiteX14" fmla="*/ 9815 w 10000"/>
              <a:gd name="connsiteY14" fmla="*/ 1818 h 10000"/>
              <a:gd name="connsiteX15" fmla="*/ 8148 w 10000"/>
              <a:gd name="connsiteY15" fmla="*/ 3181 h 10000"/>
              <a:gd name="connsiteX16" fmla="*/ 8148 w 10000"/>
              <a:gd name="connsiteY16" fmla="*/ 3334 h 10000"/>
              <a:gd name="connsiteX17" fmla="*/ 8148 w 10000"/>
              <a:gd name="connsiteY17" fmla="*/ 3787 h 10000"/>
              <a:gd name="connsiteX18" fmla="*/ 8334 w 10000"/>
              <a:gd name="connsiteY18" fmla="*/ 4091 h 10000"/>
              <a:gd name="connsiteX19" fmla="*/ 8519 w 10000"/>
              <a:gd name="connsiteY19" fmla="*/ 4393 h 10000"/>
              <a:gd name="connsiteX20" fmla="*/ 8703 w 10000"/>
              <a:gd name="connsiteY20" fmla="*/ 4546 h 10000"/>
              <a:gd name="connsiteX21" fmla="*/ 8703 w 10000"/>
              <a:gd name="connsiteY21" fmla="*/ 4697 h 10000"/>
              <a:gd name="connsiteX22" fmla="*/ 9074 w 10000"/>
              <a:gd name="connsiteY22" fmla="*/ 4848 h 10000"/>
              <a:gd name="connsiteX23" fmla="*/ 9260 w 10000"/>
              <a:gd name="connsiteY23" fmla="*/ 5152 h 10000"/>
              <a:gd name="connsiteX24" fmla="*/ 9260 w 10000"/>
              <a:gd name="connsiteY24" fmla="*/ 5606 h 10000"/>
              <a:gd name="connsiteX25" fmla="*/ 9260 w 10000"/>
              <a:gd name="connsiteY25" fmla="*/ 5909 h 10000"/>
              <a:gd name="connsiteX26" fmla="*/ 9074 w 10000"/>
              <a:gd name="connsiteY26" fmla="*/ 6060 h 10000"/>
              <a:gd name="connsiteX27" fmla="*/ 8703 w 10000"/>
              <a:gd name="connsiteY27" fmla="*/ 6666 h 10000"/>
              <a:gd name="connsiteX28" fmla="*/ 8334 w 10000"/>
              <a:gd name="connsiteY28" fmla="*/ 7121 h 10000"/>
              <a:gd name="connsiteX29" fmla="*/ 7408 w 10000"/>
              <a:gd name="connsiteY29" fmla="*/ 7727 h 10000"/>
              <a:gd name="connsiteX30" fmla="*/ 6482 w 10000"/>
              <a:gd name="connsiteY30" fmla="*/ 8484 h 10000"/>
              <a:gd name="connsiteX31" fmla="*/ 5185 w 10000"/>
              <a:gd name="connsiteY31" fmla="*/ 8939 h 10000"/>
              <a:gd name="connsiteX32" fmla="*/ 4074 w 10000"/>
              <a:gd name="connsiteY32" fmla="*/ 9394 h 10000"/>
              <a:gd name="connsiteX33" fmla="*/ 2778 w 10000"/>
              <a:gd name="connsiteY33" fmla="*/ 9848 h 10000"/>
              <a:gd name="connsiteX34" fmla="*/ 2037 w 10000"/>
              <a:gd name="connsiteY34" fmla="*/ 10000 h 10000"/>
              <a:gd name="connsiteX35" fmla="*/ 1852 w 10000"/>
              <a:gd name="connsiteY35" fmla="*/ 10000 h 10000"/>
              <a:gd name="connsiteX36" fmla="*/ 1482 w 10000"/>
              <a:gd name="connsiteY36" fmla="*/ 10000 h 10000"/>
              <a:gd name="connsiteX37" fmla="*/ 1111 w 10000"/>
              <a:gd name="connsiteY37" fmla="*/ 9848 h 10000"/>
              <a:gd name="connsiteX38" fmla="*/ 740 w 10000"/>
              <a:gd name="connsiteY38" fmla="*/ 9545 h 10000"/>
              <a:gd name="connsiteX39" fmla="*/ 371 w 10000"/>
              <a:gd name="connsiteY39" fmla="*/ 9394 h 10000"/>
              <a:gd name="connsiteX40" fmla="*/ 0 w 10000"/>
              <a:gd name="connsiteY40" fmla="*/ 9090 h 10000"/>
              <a:gd name="connsiteX41" fmla="*/ 0 w 10000"/>
              <a:gd name="connsiteY41" fmla="*/ 8788 h 10000"/>
              <a:gd name="connsiteX42" fmla="*/ 0 w 10000"/>
              <a:gd name="connsiteY42" fmla="*/ 8484 h 10000"/>
              <a:gd name="connsiteX43" fmla="*/ 0 w 10000"/>
              <a:gd name="connsiteY43" fmla="*/ 8030 h 10000"/>
              <a:gd name="connsiteX44" fmla="*/ 371 w 10000"/>
              <a:gd name="connsiteY44" fmla="*/ 7576 h 10000"/>
              <a:gd name="connsiteX45" fmla="*/ 740 w 10000"/>
              <a:gd name="connsiteY45" fmla="*/ 7121 h 10000"/>
              <a:gd name="connsiteX46" fmla="*/ 1666 w 10000"/>
              <a:gd name="connsiteY46" fmla="*/ 6666 h 10000"/>
              <a:gd name="connsiteX47" fmla="*/ 2037 w 10000"/>
              <a:gd name="connsiteY47" fmla="*/ 6060 h 10000"/>
              <a:gd name="connsiteX48" fmla="*/ 1852 w 10000"/>
              <a:gd name="connsiteY48" fmla="*/ 5606 h 10000"/>
              <a:gd name="connsiteX49" fmla="*/ 1111 w 10000"/>
              <a:gd name="connsiteY49" fmla="*/ 5303 h 10000"/>
              <a:gd name="connsiteX50" fmla="*/ 555 w 10000"/>
              <a:gd name="connsiteY50" fmla="*/ 5152 h 10000"/>
              <a:gd name="connsiteX51" fmla="*/ 0 w 10000"/>
              <a:gd name="connsiteY51" fmla="*/ 4697 h 10000"/>
              <a:gd name="connsiteX52" fmla="*/ 371 w 10000"/>
              <a:gd name="connsiteY52" fmla="*/ 4242 h 10000"/>
              <a:gd name="connsiteX53" fmla="*/ 555 w 10000"/>
              <a:gd name="connsiteY53" fmla="*/ 3940 h 10000"/>
              <a:gd name="connsiteX54" fmla="*/ 555 w 10000"/>
              <a:gd name="connsiteY54" fmla="*/ 3485 h 10000"/>
              <a:gd name="connsiteX55" fmla="*/ 371 w 10000"/>
              <a:gd name="connsiteY55" fmla="*/ 3030 h 10000"/>
              <a:gd name="connsiteX56" fmla="*/ 1111 w 10000"/>
              <a:gd name="connsiteY56" fmla="*/ 2728 h 10000"/>
              <a:gd name="connsiteX57" fmla="*/ 1852 w 10000"/>
              <a:gd name="connsiteY57" fmla="*/ 2575 h 10000"/>
              <a:gd name="connsiteX58" fmla="*/ 2408 w 10000"/>
              <a:gd name="connsiteY58" fmla="*/ 2424 h 10000"/>
              <a:gd name="connsiteX59" fmla="*/ 3148 w 10000"/>
              <a:gd name="connsiteY59" fmla="*/ 2424 h 10000"/>
              <a:gd name="connsiteX60" fmla="*/ 3703 w 10000"/>
              <a:gd name="connsiteY60" fmla="*/ 2424 h 10000"/>
              <a:gd name="connsiteX61" fmla="*/ 4260 w 10000"/>
              <a:gd name="connsiteY61" fmla="*/ 2575 h 10000"/>
              <a:gd name="connsiteX62" fmla="*/ 4629 w 10000"/>
              <a:gd name="connsiteY62" fmla="*/ 2728 h 10000"/>
              <a:gd name="connsiteX63" fmla="*/ 5000 w 10000"/>
              <a:gd name="connsiteY63" fmla="*/ 3030 h 10000"/>
              <a:gd name="connsiteX0" fmla="*/ 5000 w 10000"/>
              <a:gd name="connsiteY0" fmla="*/ 3030 h 10000"/>
              <a:gd name="connsiteX1" fmla="*/ 5000 w 10000"/>
              <a:gd name="connsiteY1" fmla="*/ 455 h 10000"/>
              <a:gd name="connsiteX2" fmla="*/ 5185 w 10000"/>
              <a:gd name="connsiteY2" fmla="*/ 151 h 10000"/>
              <a:gd name="connsiteX3" fmla="*/ 5740 w 10000"/>
              <a:gd name="connsiteY3" fmla="*/ 0 h 10000"/>
              <a:gd name="connsiteX4" fmla="*/ 6482 w 10000"/>
              <a:gd name="connsiteY4" fmla="*/ 0 h 10000"/>
              <a:gd name="connsiteX5" fmla="*/ 7408 w 10000"/>
              <a:gd name="connsiteY5" fmla="*/ 0 h 10000"/>
              <a:gd name="connsiteX6" fmla="*/ 8334 w 10000"/>
              <a:gd name="connsiteY6" fmla="*/ 0 h 10000"/>
              <a:gd name="connsiteX7" fmla="*/ 8703 w 10000"/>
              <a:gd name="connsiteY7" fmla="*/ 0 h 10000"/>
              <a:gd name="connsiteX8" fmla="*/ 9260 w 10000"/>
              <a:gd name="connsiteY8" fmla="*/ 0 h 10000"/>
              <a:gd name="connsiteX9" fmla="*/ 9445 w 10000"/>
              <a:gd name="connsiteY9" fmla="*/ 0 h 10000"/>
              <a:gd name="connsiteX10" fmla="*/ 9815 w 10000"/>
              <a:gd name="connsiteY10" fmla="*/ 455 h 10000"/>
              <a:gd name="connsiteX11" fmla="*/ 10000 w 10000"/>
              <a:gd name="connsiteY11" fmla="*/ 606 h 10000"/>
              <a:gd name="connsiteX12" fmla="*/ 10000 w 10000"/>
              <a:gd name="connsiteY12" fmla="*/ 910 h 10000"/>
              <a:gd name="connsiteX13" fmla="*/ 10000 w 10000"/>
              <a:gd name="connsiteY13" fmla="*/ 1363 h 10000"/>
              <a:gd name="connsiteX14" fmla="*/ 8148 w 10000"/>
              <a:gd name="connsiteY14" fmla="*/ 3181 h 10000"/>
              <a:gd name="connsiteX15" fmla="*/ 8148 w 10000"/>
              <a:gd name="connsiteY15" fmla="*/ 3334 h 10000"/>
              <a:gd name="connsiteX16" fmla="*/ 8148 w 10000"/>
              <a:gd name="connsiteY16" fmla="*/ 3787 h 10000"/>
              <a:gd name="connsiteX17" fmla="*/ 8334 w 10000"/>
              <a:gd name="connsiteY17" fmla="*/ 4091 h 10000"/>
              <a:gd name="connsiteX18" fmla="*/ 8519 w 10000"/>
              <a:gd name="connsiteY18" fmla="*/ 4393 h 10000"/>
              <a:gd name="connsiteX19" fmla="*/ 8703 w 10000"/>
              <a:gd name="connsiteY19" fmla="*/ 4546 h 10000"/>
              <a:gd name="connsiteX20" fmla="*/ 8703 w 10000"/>
              <a:gd name="connsiteY20" fmla="*/ 4697 h 10000"/>
              <a:gd name="connsiteX21" fmla="*/ 9074 w 10000"/>
              <a:gd name="connsiteY21" fmla="*/ 4848 h 10000"/>
              <a:gd name="connsiteX22" fmla="*/ 9260 w 10000"/>
              <a:gd name="connsiteY22" fmla="*/ 5152 h 10000"/>
              <a:gd name="connsiteX23" fmla="*/ 9260 w 10000"/>
              <a:gd name="connsiteY23" fmla="*/ 5606 h 10000"/>
              <a:gd name="connsiteX24" fmla="*/ 9260 w 10000"/>
              <a:gd name="connsiteY24" fmla="*/ 5909 h 10000"/>
              <a:gd name="connsiteX25" fmla="*/ 9074 w 10000"/>
              <a:gd name="connsiteY25" fmla="*/ 6060 h 10000"/>
              <a:gd name="connsiteX26" fmla="*/ 8703 w 10000"/>
              <a:gd name="connsiteY26" fmla="*/ 6666 h 10000"/>
              <a:gd name="connsiteX27" fmla="*/ 8334 w 10000"/>
              <a:gd name="connsiteY27" fmla="*/ 7121 h 10000"/>
              <a:gd name="connsiteX28" fmla="*/ 7408 w 10000"/>
              <a:gd name="connsiteY28" fmla="*/ 7727 h 10000"/>
              <a:gd name="connsiteX29" fmla="*/ 6482 w 10000"/>
              <a:gd name="connsiteY29" fmla="*/ 8484 h 10000"/>
              <a:gd name="connsiteX30" fmla="*/ 5185 w 10000"/>
              <a:gd name="connsiteY30" fmla="*/ 8939 h 10000"/>
              <a:gd name="connsiteX31" fmla="*/ 4074 w 10000"/>
              <a:gd name="connsiteY31" fmla="*/ 9394 h 10000"/>
              <a:gd name="connsiteX32" fmla="*/ 2778 w 10000"/>
              <a:gd name="connsiteY32" fmla="*/ 9848 h 10000"/>
              <a:gd name="connsiteX33" fmla="*/ 2037 w 10000"/>
              <a:gd name="connsiteY33" fmla="*/ 10000 h 10000"/>
              <a:gd name="connsiteX34" fmla="*/ 1852 w 10000"/>
              <a:gd name="connsiteY34" fmla="*/ 10000 h 10000"/>
              <a:gd name="connsiteX35" fmla="*/ 1482 w 10000"/>
              <a:gd name="connsiteY35" fmla="*/ 10000 h 10000"/>
              <a:gd name="connsiteX36" fmla="*/ 1111 w 10000"/>
              <a:gd name="connsiteY36" fmla="*/ 9848 h 10000"/>
              <a:gd name="connsiteX37" fmla="*/ 740 w 10000"/>
              <a:gd name="connsiteY37" fmla="*/ 9545 h 10000"/>
              <a:gd name="connsiteX38" fmla="*/ 371 w 10000"/>
              <a:gd name="connsiteY38" fmla="*/ 9394 h 10000"/>
              <a:gd name="connsiteX39" fmla="*/ 0 w 10000"/>
              <a:gd name="connsiteY39" fmla="*/ 9090 h 10000"/>
              <a:gd name="connsiteX40" fmla="*/ 0 w 10000"/>
              <a:gd name="connsiteY40" fmla="*/ 8788 h 10000"/>
              <a:gd name="connsiteX41" fmla="*/ 0 w 10000"/>
              <a:gd name="connsiteY41" fmla="*/ 8484 h 10000"/>
              <a:gd name="connsiteX42" fmla="*/ 0 w 10000"/>
              <a:gd name="connsiteY42" fmla="*/ 8030 h 10000"/>
              <a:gd name="connsiteX43" fmla="*/ 371 w 10000"/>
              <a:gd name="connsiteY43" fmla="*/ 7576 h 10000"/>
              <a:gd name="connsiteX44" fmla="*/ 740 w 10000"/>
              <a:gd name="connsiteY44" fmla="*/ 7121 h 10000"/>
              <a:gd name="connsiteX45" fmla="*/ 1666 w 10000"/>
              <a:gd name="connsiteY45" fmla="*/ 6666 h 10000"/>
              <a:gd name="connsiteX46" fmla="*/ 2037 w 10000"/>
              <a:gd name="connsiteY46" fmla="*/ 6060 h 10000"/>
              <a:gd name="connsiteX47" fmla="*/ 1852 w 10000"/>
              <a:gd name="connsiteY47" fmla="*/ 5606 h 10000"/>
              <a:gd name="connsiteX48" fmla="*/ 1111 w 10000"/>
              <a:gd name="connsiteY48" fmla="*/ 5303 h 10000"/>
              <a:gd name="connsiteX49" fmla="*/ 555 w 10000"/>
              <a:gd name="connsiteY49" fmla="*/ 5152 h 10000"/>
              <a:gd name="connsiteX50" fmla="*/ 0 w 10000"/>
              <a:gd name="connsiteY50" fmla="*/ 4697 h 10000"/>
              <a:gd name="connsiteX51" fmla="*/ 371 w 10000"/>
              <a:gd name="connsiteY51" fmla="*/ 4242 h 10000"/>
              <a:gd name="connsiteX52" fmla="*/ 555 w 10000"/>
              <a:gd name="connsiteY52" fmla="*/ 3940 h 10000"/>
              <a:gd name="connsiteX53" fmla="*/ 555 w 10000"/>
              <a:gd name="connsiteY53" fmla="*/ 3485 h 10000"/>
              <a:gd name="connsiteX54" fmla="*/ 371 w 10000"/>
              <a:gd name="connsiteY54" fmla="*/ 3030 h 10000"/>
              <a:gd name="connsiteX55" fmla="*/ 1111 w 10000"/>
              <a:gd name="connsiteY55" fmla="*/ 2728 h 10000"/>
              <a:gd name="connsiteX56" fmla="*/ 1852 w 10000"/>
              <a:gd name="connsiteY56" fmla="*/ 2575 h 10000"/>
              <a:gd name="connsiteX57" fmla="*/ 2408 w 10000"/>
              <a:gd name="connsiteY57" fmla="*/ 2424 h 10000"/>
              <a:gd name="connsiteX58" fmla="*/ 3148 w 10000"/>
              <a:gd name="connsiteY58" fmla="*/ 2424 h 10000"/>
              <a:gd name="connsiteX59" fmla="*/ 3703 w 10000"/>
              <a:gd name="connsiteY59" fmla="*/ 2424 h 10000"/>
              <a:gd name="connsiteX60" fmla="*/ 4260 w 10000"/>
              <a:gd name="connsiteY60" fmla="*/ 2575 h 10000"/>
              <a:gd name="connsiteX61" fmla="*/ 4629 w 10000"/>
              <a:gd name="connsiteY61" fmla="*/ 2728 h 10000"/>
              <a:gd name="connsiteX62" fmla="*/ 5000 w 10000"/>
              <a:gd name="connsiteY62" fmla="*/ 3030 h 10000"/>
              <a:gd name="connsiteX0" fmla="*/ 5000 w 10000"/>
              <a:gd name="connsiteY0" fmla="*/ 3030 h 10000"/>
              <a:gd name="connsiteX1" fmla="*/ 5000 w 10000"/>
              <a:gd name="connsiteY1" fmla="*/ 455 h 10000"/>
              <a:gd name="connsiteX2" fmla="*/ 5185 w 10000"/>
              <a:gd name="connsiteY2" fmla="*/ 151 h 10000"/>
              <a:gd name="connsiteX3" fmla="*/ 5740 w 10000"/>
              <a:gd name="connsiteY3" fmla="*/ 0 h 10000"/>
              <a:gd name="connsiteX4" fmla="*/ 6482 w 10000"/>
              <a:gd name="connsiteY4" fmla="*/ 0 h 10000"/>
              <a:gd name="connsiteX5" fmla="*/ 7408 w 10000"/>
              <a:gd name="connsiteY5" fmla="*/ 0 h 10000"/>
              <a:gd name="connsiteX6" fmla="*/ 8334 w 10000"/>
              <a:gd name="connsiteY6" fmla="*/ 0 h 10000"/>
              <a:gd name="connsiteX7" fmla="*/ 8703 w 10000"/>
              <a:gd name="connsiteY7" fmla="*/ 0 h 10000"/>
              <a:gd name="connsiteX8" fmla="*/ 9260 w 10000"/>
              <a:gd name="connsiteY8" fmla="*/ 0 h 10000"/>
              <a:gd name="connsiteX9" fmla="*/ 9445 w 10000"/>
              <a:gd name="connsiteY9" fmla="*/ 0 h 10000"/>
              <a:gd name="connsiteX10" fmla="*/ 9815 w 10000"/>
              <a:gd name="connsiteY10" fmla="*/ 455 h 10000"/>
              <a:gd name="connsiteX11" fmla="*/ 10000 w 10000"/>
              <a:gd name="connsiteY11" fmla="*/ 606 h 10000"/>
              <a:gd name="connsiteX12" fmla="*/ 10000 w 10000"/>
              <a:gd name="connsiteY12" fmla="*/ 910 h 10000"/>
              <a:gd name="connsiteX13" fmla="*/ 8148 w 10000"/>
              <a:gd name="connsiteY13" fmla="*/ 3181 h 10000"/>
              <a:gd name="connsiteX14" fmla="*/ 8148 w 10000"/>
              <a:gd name="connsiteY14" fmla="*/ 3334 h 10000"/>
              <a:gd name="connsiteX15" fmla="*/ 8148 w 10000"/>
              <a:gd name="connsiteY15" fmla="*/ 3787 h 10000"/>
              <a:gd name="connsiteX16" fmla="*/ 8334 w 10000"/>
              <a:gd name="connsiteY16" fmla="*/ 4091 h 10000"/>
              <a:gd name="connsiteX17" fmla="*/ 8519 w 10000"/>
              <a:gd name="connsiteY17" fmla="*/ 4393 h 10000"/>
              <a:gd name="connsiteX18" fmla="*/ 8703 w 10000"/>
              <a:gd name="connsiteY18" fmla="*/ 4546 h 10000"/>
              <a:gd name="connsiteX19" fmla="*/ 8703 w 10000"/>
              <a:gd name="connsiteY19" fmla="*/ 4697 h 10000"/>
              <a:gd name="connsiteX20" fmla="*/ 9074 w 10000"/>
              <a:gd name="connsiteY20" fmla="*/ 4848 h 10000"/>
              <a:gd name="connsiteX21" fmla="*/ 9260 w 10000"/>
              <a:gd name="connsiteY21" fmla="*/ 5152 h 10000"/>
              <a:gd name="connsiteX22" fmla="*/ 9260 w 10000"/>
              <a:gd name="connsiteY22" fmla="*/ 5606 h 10000"/>
              <a:gd name="connsiteX23" fmla="*/ 9260 w 10000"/>
              <a:gd name="connsiteY23" fmla="*/ 5909 h 10000"/>
              <a:gd name="connsiteX24" fmla="*/ 9074 w 10000"/>
              <a:gd name="connsiteY24" fmla="*/ 6060 h 10000"/>
              <a:gd name="connsiteX25" fmla="*/ 8703 w 10000"/>
              <a:gd name="connsiteY25" fmla="*/ 6666 h 10000"/>
              <a:gd name="connsiteX26" fmla="*/ 8334 w 10000"/>
              <a:gd name="connsiteY26" fmla="*/ 7121 h 10000"/>
              <a:gd name="connsiteX27" fmla="*/ 7408 w 10000"/>
              <a:gd name="connsiteY27" fmla="*/ 7727 h 10000"/>
              <a:gd name="connsiteX28" fmla="*/ 6482 w 10000"/>
              <a:gd name="connsiteY28" fmla="*/ 8484 h 10000"/>
              <a:gd name="connsiteX29" fmla="*/ 5185 w 10000"/>
              <a:gd name="connsiteY29" fmla="*/ 8939 h 10000"/>
              <a:gd name="connsiteX30" fmla="*/ 4074 w 10000"/>
              <a:gd name="connsiteY30" fmla="*/ 9394 h 10000"/>
              <a:gd name="connsiteX31" fmla="*/ 2778 w 10000"/>
              <a:gd name="connsiteY31" fmla="*/ 9848 h 10000"/>
              <a:gd name="connsiteX32" fmla="*/ 2037 w 10000"/>
              <a:gd name="connsiteY32" fmla="*/ 10000 h 10000"/>
              <a:gd name="connsiteX33" fmla="*/ 1852 w 10000"/>
              <a:gd name="connsiteY33" fmla="*/ 10000 h 10000"/>
              <a:gd name="connsiteX34" fmla="*/ 1482 w 10000"/>
              <a:gd name="connsiteY34" fmla="*/ 10000 h 10000"/>
              <a:gd name="connsiteX35" fmla="*/ 1111 w 10000"/>
              <a:gd name="connsiteY35" fmla="*/ 9848 h 10000"/>
              <a:gd name="connsiteX36" fmla="*/ 740 w 10000"/>
              <a:gd name="connsiteY36" fmla="*/ 9545 h 10000"/>
              <a:gd name="connsiteX37" fmla="*/ 371 w 10000"/>
              <a:gd name="connsiteY37" fmla="*/ 9394 h 10000"/>
              <a:gd name="connsiteX38" fmla="*/ 0 w 10000"/>
              <a:gd name="connsiteY38" fmla="*/ 9090 h 10000"/>
              <a:gd name="connsiteX39" fmla="*/ 0 w 10000"/>
              <a:gd name="connsiteY39" fmla="*/ 8788 h 10000"/>
              <a:gd name="connsiteX40" fmla="*/ 0 w 10000"/>
              <a:gd name="connsiteY40" fmla="*/ 8484 h 10000"/>
              <a:gd name="connsiteX41" fmla="*/ 0 w 10000"/>
              <a:gd name="connsiteY41" fmla="*/ 8030 h 10000"/>
              <a:gd name="connsiteX42" fmla="*/ 371 w 10000"/>
              <a:gd name="connsiteY42" fmla="*/ 7576 h 10000"/>
              <a:gd name="connsiteX43" fmla="*/ 740 w 10000"/>
              <a:gd name="connsiteY43" fmla="*/ 7121 h 10000"/>
              <a:gd name="connsiteX44" fmla="*/ 1666 w 10000"/>
              <a:gd name="connsiteY44" fmla="*/ 6666 h 10000"/>
              <a:gd name="connsiteX45" fmla="*/ 2037 w 10000"/>
              <a:gd name="connsiteY45" fmla="*/ 6060 h 10000"/>
              <a:gd name="connsiteX46" fmla="*/ 1852 w 10000"/>
              <a:gd name="connsiteY46" fmla="*/ 5606 h 10000"/>
              <a:gd name="connsiteX47" fmla="*/ 1111 w 10000"/>
              <a:gd name="connsiteY47" fmla="*/ 5303 h 10000"/>
              <a:gd name="connsiteX48" fmla="*/ 555 w 10000"/>
              <a:gd name="connsiteY48" fmla="*/ 5152 h 10000"/>
              <a:gd name="connsiteX49" fmla="*/ 0 w 10000"/>
              <a:gd name="connsiteY49" fmla="*/ 4697 h 10000"/>
              <a:gd name="connsiteX50" fmla="*/ 371 w 10000"/>
              <a:gd name="connsiteY50" fmla="*/ 4242 h 10000"/>
              <a:gd name="connsiteX51" fmla="*/ 555 w 10000"/>
              <a:gd name="connsiteY51" fmla="*/ 3940 h 10000"/>
              <a:gd name="connsiteX52" fmla="*/ 555 w 10000"/>
              <a:gd name="connsiteY52" fmla="*/ 3485 h 10000"/>
              <a:gd name="connsiteX53" fmla="*/ 371 w 10000"/>
              <a:gd name="connsiteY53" fmla="*/ 3030 h 10000"/>
              <a:gd name="connsiteX54" fmla="*/ 1111 w 10000"/>
              <a:gd name="connsiteY54" fmla="*/ 2728 h 10000"/>
              <a:gd name="connsiteX55" fmla="*/ 1852 w 10000"/>
              <a:gd name="connsiteY55" fmla="*/ 2575 h 10000"/>
              <a:gd name="connsiteX56" fmla="*/ 2408 w 10000"/>
              <a:gd name="connsiteY56" fmla="*/ 2424 h 10000"/>
              <a:gd name="connsiteX57" fmla="*/ 3148 w 10000"/>
              <a:gd name="connsiteY57" fmla="*/ 2424 h 10000"/>
              <a:gd name="connsiteX58" fmla="*/ 3703 w 10000"/>
              <a:gd name="connsiteY58" fmla="*/ 2424 h 10000"/>
              <a:gd name="connsiteX59" fmla="*/ 4260 w 10000"/>
              <a:gd name="connsiteY59" fmla="*/ 2575 h 10000"/>
              <a:gd name="connsiteX60" fmla="*/ 4629 w 10000"/>
              <a:gd name="connsiteY60" fmla="*/ 2728 h 10000"/>
              <a:gd name="connsiteX61" fmla="*/ 5000 w 10000"/>
              <a:gd name="connsiteY61" fmla="*/ 3030 h 10000"/>
              <a:gd name="connsiteX0" fmla="*/ 5000 w 10000"/>
              <a:gd name="connsiteY0" fmla="*/ 3030 h 10000"/>
              <a:gd name="connsiteX1" fmla="*/ 5000 w 10000"/>
              <a:gd name="connsiteY1" fmla="*/ 455 h 10000"/>
              <a:gd name="connsiteX2" fmla="*/ 5185 w 10000"/>
              <a:gd name="connsiteY2" fmla="*/ 151 h 10000"/>
              <a:gd name="connsiteX3" fmla="*/ 5740 w 10000"/>
              <a:gd name="connsiteY3" fmla="*/ 0 h 10000"/>
              <a:gd name="connsiteX4" fmla="*/ 6482 w 10000"/>
              <a:gd name="connsiteY4" fmla="*/ 0 h 10000"/>
              <a:gd name="connsiteX5" fmla="*/ 7408 w 10000"/>
              <a:gd name="connsiteY5" fmla="*/ 0 h 10000"/>
              <a:gd name="connsiteX6" fmla="*/ 8334 w 10000"/>
              <a:gd name="connsiteY6" fmla="*/ 0 h 10000"/>
              <a:gd name="connsiteX7" fmla="*/ 8703 w 10000"/>
              <a:gd name="connsiteY7" fmla="*/ 0 h 10000"/>
              <a:gd name="connsiteX8" fmla="*/ 9260 w 10000"/>
              <a:gd name="connsiteY8" fmla="*/ 0 h 10000"/>
              <a:gd name="connsiteX9" fmla="*/ 9445 w 10000"/>
              <a:gd name="connsiteY9" fmla="*/ 0 h 10000"/>
              <a:gd name="connsiteX10" fmla="*/ 9815 w 10000"/>
              <a:gd name="connsiteY10" fmla="*/ 455 h 10000"/>
              <a:gd name="connsiteX11" fmla="*/ 10000 w 10000"/>
              <a:gd name="connsiteY11" fmla="*/ 606 h 10000"/>
              <a:gd name="connsiteX12" fmla="*/ 8148 w 10000"/>
              <a:gd name="connsiteY12" fmla="*/ 3181 h 10000"/>
              <a:gd name="connsiteX13" fmla="*/ 8148 w 10000"/>
              <a:gd name="connsiteY13" fmla="*/ 3334 h 10000"/>
              <a:gd name="connsiteX14" fmla="*/ 8148 w 10000"/>
              <a:gd name="connsiteY14" fmla="*/ 3787 h 10000"/>
              <a:gd name="connsiteX15" fmla="*/ 8334 w 10000"/>
              <a:gd name="connsiteY15" fmla="*/ 4091 h 10000"/>
              <a:gd name="connsiteX16" fmla="*/ 8519 w 10000"/>
              <a:gd name="connsiteY16" fmla="*/ 4393 h 10000"/>
              <a:gd name="connsiteX17" fmla="*/ 8703 w 10000"/>
              <a:gd name="connsiteY17" fmla="*/ 4546 h 10000"/>
              <a:gd name="connsiteX18" fmla="*/ 8703 w 10000"/>
              <a:gd name="connsiteY18" fmla="*/ 4697 h 10000"/>
              <a:gd name="connsiteX19" fmla="*/ 9074 w 10000"/>
              <a:gd name="connsiteY19" fmla="*/ 4848 h 10000"/>
              <a:gd name="connsiteX20" fmla="*/ 9260 w 10000"/>
              <a:gd name="connsiteY20" fmla="*/ 5152 h 10000"/>
              <a:gd name="connsiteX21" fmla="*/ 9260 w 10000"/>
              <a:gd name="connsiteY21" fmla="*/ 5606 h 10000"/>
              <a:gd name="connsiteX22" fmla="*/ 9260 w 10000"/>
              <a:gd name="connsiteY22" fmla="*/ 5909 h 10000"/>
              <a:gd name="connsiteX23" fmla="*/ 9074 w 10000"/>
              <a:gd name="connsiteY23" fmla="*/ 6060 h 10000"/>
              <a:gd name="connsiteX24" fmla="*/ 8703 w 10000"/>
              <a:gd name="connsiteY24" fmla="*/ 6666 h 10000"/>
              <a:gd name="connsiteX25" fmla="*/ 8334 w 10000"/>
              <a:gd name="connsiteY25" fmla="*/ 7121 h 10000"/>
              <a:gd name="connsiteX26" fmla="*/ 7408 w 10000"/>
              <a:gd name="connsiteY26" fmla="*/ 7727 h 10000"/>
              <a:gd name="connsiteX27" fmla="*/ 6482 w 10000"/>
              <a:gd name="connsiteY27" fmla="*/ 8484 h 10000"/>
              <a:gd name="connsiteX28" fmla="*/ 5185 w 10000"/>
              <a:gd name="connsiteY28" fmla="*/ 8939 h 10000"/>
              <a:gd name="connsiteX29" fmla="*/ 4074 w 10000"/>
              <a:gd name="connsiteY29" fmla="*/ 9394 h 10000"/>
              <a:gd name="connsiteX30" fmla="*/ 2778 w 10000"/>
              <a:gd name="connsiteY30" fmla="*/ 9848 h 10000"/>
              <a:gd name="connsiteX31" fmla="*/ 2037 w 10000"/>
              <a:gd name="connsiteY31" fmla="*/ 10000 h 10000"/>
              <a:gd name="connsiteX32" fmla="*/ 1852 w 10000"/>
              <a:gd name="connsiteY32" fmla="*/ 10000 h 10000"/>
              <a:gd name="connsiteX33" fmla="*/ 1482 w 10000"/>
              <a:gd name="connsiteY33" fmla="*/ 10000 h 10000"/>
              <a:gd name="connsiteX34" fmla="*/ 1111 w 10000"/>
              <a:gd name="connsiteY34" fmla="*/ 9848 h 10000"/>
              <a:gd name="connsiteX35" fmla="*/ 740 w 10000"/>
              <a:gd name="connsiteY35" fmla="*/ 9545 h 10000"/>
              <a:gd name="connsiteX36" fmla="*/ 371 w 10000"/>
              <a:gd name="connsiteY36" fmla="*/ 9394 h 10000"/>
              <a:gd name="connsiteX37" fmla="*/ 0 w 10000"/>
              <a:gd name="connsiteY37" fmla="*/ 9090 h 10000"/>
              <a:gd name="connsiteX38" fmla="*/ 0 w 10000"/>
              <a:gd name="connsiteY38" fmla="*/ 8788 h 10000"/>
              <a:gd name="connsiteX39" fmla="*/ 0 w 10000"/>
              <a:gd name="connsiteY39" fmla="*/ 8484 h 10000"/>
              <a:gd name="connsiteX40" fmla="*/ 0 w 10000"/>
              <a:gd name="connsiteY40" fmla="*/ 8030 h 10000"/>
              <a:gd name="connsiteX41" fmla="*/ 371 w 10000"/>
              <a:gd name="connsiteY41" fmla="*/ 7576 h 10000"/>
              <a:gd name="connsiteX42" fmla="*/ 740 w 10000"/>
              <a:gd name="connsiteY42" fmla="*/ 7121 h 10000"/>
              <a:gd name="connsiteX43" fmla="*/ 1666 w 10000"/>
              <a:gd name="connsiteY43" fmla="*/ 6666 h 10000"/>
              <a:gd name="connsiteX44" fmla="*/ 2037 w 10000"/>
              <a:gd name="connsiteY44" fmla="*/ 6060 h 10000"/>
              <a:gd name="connsiteX45" fmla="*/ 1852 w 10000"/>
              <a:gd name="connsiteY45" fmla="*/ 5606 h 10000"/>
              <a:gd name="connsiteX46" fmla="*/ 1111 w 10000"/>
              <a:gd name="connsiteY46" fmla="*/ 5303 h 10000"/>
              <a:gd name="connsiteX47" fmla="*/ 555 w 10000"/>
              <a:gd name="connsiteY47" fmla="*/ 5152 h 10000"/>
              <a:gd name="connsiteX48" fmla="*/ 0 w 10000"/>
              <a:gd name="connsiteY48" fmla="*/ 4697 h 10000"/>
              <a:gd name="connsiteX49" fmla="*/ 371 w 10000"/>
              <a:gd name="connsiteY49" fmla="*/ 4242 h 10000"/>
              <a:gd name="connsiteX50" fmla="*/ 555 w 10000"/>
              <a:gd name="connsiteY50" fmla="*/ 3940 h 10000"/>
              <a:gd name="connsiteX51" fmla="*/ 555 w 10000"/>
              <a:gd name="connsiteY51" fmla="*/ 3485 h 10000"/>
              <a:gd name="connsiteX52" fmla="*/ 371 w 10000"/>
              <a:gd name="connsiteY52" fmla="*/ 3030 h 10000"/>
              <a:gd name="connsiteX53" fmla="*/ 1111 w 10000"/>
              <a:gd name="connsiteY53" fmla="*/ 2728 h 10000"/>
              <a:gd name="connsiteX54" fmla="*/ 1852 w 10000"/>
              <a:gd name="connsiteY54" fmla="*/ 2575 h 10000"/>
              <a:gd name="connsiteX55" fmla="*/ 2408 w 10000"/>
              <a:gd name="connsiteY55" fmla="*/ 2424 h 10000"/>
              <a:gd name="connsiteX56" fmla="*/ 3148 w 10000"/>
              <a:gd name="connsiteY56" fmla="*/ 2424 h 10000"/>
              <a:gd name="connsiteX57" fmla="*/ 3703 w 10000"/>
              <a:gd name="connsiteY57" fmla="*/ 2424 h 10000"/>
              <a:gd name="connsiteX58" fmla="*/ 4260 w 10000"/>
              <a:gd name="connsiteY58" fmla="*/ 2575 h 10000"/>
              <a:gd name="connsiteX59" fmla="*/ 4629 w 10000"/>
              <a:gd name="connsiteY59" fmla="*/ 2728 h 10000"/>
              <a:gd name="connsiteX60" fmla="*/ 5000 w 10000"/>
              <a:gd name="connsiteY60" fmla="*/ 3030 h 10000"/>
              <a:gd name="connsiteX0" fmla="*/ 5000 w 9815"/>
              <a:gd name="connsiteY0" fmla="*/ 3030 h 10000"/>
              <a:gd name="connsiteX1" fmla="*/ 5000 w 9815"/>
              <a:gd name="connsiteY1" fmla="*/ 455 h 10000"/>
              <a:gd name="connsiteX2" fmla="*/ 5185 w 9815"/>
              <a:gd name="connsiteY2" fmla="*/ 151 h 10000"/>
              <a:gd name="connsiteX3" fmla="*/ 5740 w 9815"/>
              <a:gd name="connsiteY3" fmla="*/ 0 h 10000"/>
              <a:gd name="connsiteX4" fmla="*/ 6482 w 9815"/>
              <a:gd name="connsiteY4" fmla="*/ 0 h 10000"/>
              <a:gd name="connsiteX5" fmla="*/ 7408 w 9815"/>
              <a:gd name="connsiteY5" fmla="*/ 0 h 10000"/>
              <a:gd name="connsiteX6" fmla="*/ 8334 w 9815"/>
              <a:gd name="connsiteY6" fmla="*/ 0 h 10000"/>
              <a:gd name="connsiteX7" fmla="*/ 8703 w 9815"/>
              <a:gd name="connsiteY7" fmla="*/ 0 h 10000"/>
              <a:gd name="connsiteX8" fmla="*/ 9260 w 9815"/>
              <a:gd name="connsiteY8" fmla="*/ 0 h 10000"/>
              <a:gd name="connsiteX9" fmla="*/ 9445 w 9815"/>
              <a:gd name="connsiteY9" fmla="*/ 0 h 10000"/>
              <a:gd name="connsiteX10" fmla="*/ 9815 w 9815"/>
              <a:gd name="connsiteY10" fmla="*/ 455 h 10000"/>
              <a:gd name="connsiteX11" fmla="*/ 8148 w 9815"/>
              <a:gd name="connsiteY11" fmla="*/ 3181 h 10000"/>
              <a:gd name="connsiteX12" fmla="*/ 8148 w 9815"/>
              <a:gd name="connsiteY12" fmla="*/ 3334 h 10000"/>
              <a:gd name="connsiteX13" fmla="*/ 8148 w 9815"/>
              <a:gd name="connsiteY13" fmla="*/ 3787 h 10000"/>
              <a:gd name="connsiteX14" fmla="*/ 8334 w 9815"/>
              <a:gd name="connsiteY14" fmla="*/ 4091 h 10000"/>
              <a:gd name="connsiteX15" fmla="*/ 8519 w 9815"/>
              <a:gd name="connsiteY15" fmla="*/ 4393 h 10000"/>
              <a:gd name="connsiteX16" fmla="*/ 8703 w 9815"/>
              <a:gd name="connsiteY16" fmla="*/ 4546 h 10000"/>
              <a:gd name="connsiteX17" fmla="*/ 8703 w 9815"/>
              <a:gd name="connsiteY17" fmla="*/ 4697 h 10000"/>
              <a:gd name="connsiteX18" fmla="*/ 9074 w 9815"/>
              <a:gd name="connsiteY18" fmla="*/ 4848 h 10000"/>
              <a:gd name="connsiteX19" fmla="*/ 9260 w 9815"/>
              <a:gd name="connsiteY19" fmla="*/ 5152 h 10000"/>
              <a:gd name="connsiteX20" fmla="*/ 9260 w 9815"/>
              <a:gd name="connsiteY20" fmla="*/ 5606 h 10000"/>
              <a:gd name="connsiteX21" fmla="*/ 9260 w 9815"/>
              <a:gd name="connsiteY21" fmla="*/ 5909 h 10000"/>
              <a:gd name="connsiteX22" fmla="*/ 9074 w 9815"/>
              <a:gd name="connsiteY22" fmla="*/ 6060 h 10000"/>
              <a:gd name="connsiteX23" fmla="*/ 8703 w 9815"/>
              <a:gd name="connsiteY23" fmla="*/ 6666 h 10000"/>
              <a:gd name="connsiteX24" fmla="*/ 8334 w 9815"/>
              <a:gd name="connsiteY24" fmla="*/ 7121 h 10000"/>
              <a:gd name="connsiteX25" fmla="*/ 7408 w 9815"/>
              <a:gd name="connsiteY25" fmla="*/ 7727 h 10000"/>
              <a:gd name="connsiteX26" fmla="*/ 6482 w 9815"/>
              <a:gd name="connsiteY26" fmla="*/ 8484 h 10000"/>
              <a:gd name="connsiteX27" fmla="*/ 5185 w 9815"/>
              <a:gd name="connsiteY27" fmla="*/ 8939 h 10000"/>
              <a:gd name="connsiteX28" fmla="*/ 4074 w 9815"/>
              <a:gd name="connsiteY28" fmla="*/ 9394 h 10000"/>
              <a:gd name="connsiteX29" fmla="*/ 2778 w 9815"/>
              <a:gd name="connsiteY29" fmla="*/ 9848 h 10000"/>
              <a:gd name="connsiteX30" fmla="*/ 2037 w 9815"/>
              <a:gd name="connsiteY30" fmla="*/ 10000 h 10000"/>
              <a:gd name="connsiteX31" fmla="*/ 1852 w 9815"/>
              <a:gd name="connsiteY31" fmla="*/ 10000 h 10000"/>
              <a:gd name="connsiteX32" fmla="*/ 1482 w 9815"/>
              <a:gd name="connsiteY32" fmla="*/ 10000 h 10000"/>
              <a:gd name="connsiteX33" fmla="*/ 1111 w 9815"/>
              <a:gd name="connsiteY33" fmla="*/ 9848 h 10000"/>
              <a:gd name="connsiteX34" fmla="*/ 740 w 9815"/>
              <a:gd name="connsiteY34" fmla="*/ 9545 h 10000"/>
              <a:gd name="connsiteX35" fmla="*/ 371 w 9815"/>
              <a:gd name="connsiteY35" fmla="*/ 9394 h 10000"/>
              <a:gd name="connsiteX36" fmla="*/ 0 w 9815"/>
              <a:gd name="connsiteY36" fmla="*/ 9090 h 10000"/>
              <a:gd name="connsiteX37" fmla="*/ 0 w 9815"/>
              <a:gd name="connsiteY37" fmla="*/ 8788 h 10000"/>
              <a:gd name="connsiteX38" fmla="*/ 0 w 9815"/>
              <a:gd name="connsiteY38" fmla="*/ 8484 h 10000"/>
              <a:gd name="connsiteX39" fmla="*/ 0 w 9815"/>
              <a:gd name="connsiteY39" fmla="*/ 8030 h 10000"/>
              <a:gd name="connsiteX40" fmla="*/ 371 w 9815"/>
              <a:gd name="connsiteY40" fmla="*/ 7576 h 10000"/>
              <a:gd name="connsiteX41" fmla="*/ 740 w 9815"/>
              <a:gd name="connsiteY41" fmla="*/ 7121 h 10000"/>
              <a:gd name="connsiteX42" fmla="*/ 1666 w 9815"/>
              <a:gd name="connsiteY42" fmla="*/ 6666 h 10000"/>
              <a:gd name="connsiteX43" fmla="*/ 2037 w 9815"/>
              <a:gd name="connsiteY43" fmla="*/ 6060 h 10000"/>
              <a:gd name="connsiteX44" fmla="*/ 1852 w 9815"/>
              <a:gd name="connsiteY44" fmla="*/ 5606 h 10000"/>
              <a:gd name="connsiteX45" fmla="*/ 1111 w 9815"/>
              <a:gd name="connsiteY45" fmla="*/ 5303 h 10000"/>
              <a:gd name="connsiteX46" fmla="*/ 555 w 9815"/>
              <a:gd name="connsiteY46" fmla="*/ 5152 h 10000"/>
              <a:gd name="connsiteX47" fmla="*/ 0 w 9815"/>
              <a:gd name="connsiteY47" fmla="*/ 4697 h 10000"/>
              <a:gd name="connsiteX48" fmla="*/ 371 w 9815"/>
              <a:gd name="connsiteY48" fmla="*/ 4242 h 10000"/>
              <a:gd name="connsiteX49" fmla="*/ 555 w 9815"/>
              <a:gd name="connsiteY49" fmla="*/ 3940 h 10000"/>
              <a:gd name="connsiteX50" fmla="*/ 555 w 9815"/>
              <a:gd name="connsiteY50" fmla="*/ 3485 h 10000"/>
              <a:gd name="connsiteX51" fmla="*/ 371 w 9815"/>
              <a:gd name="connsiteY51" fmla="*/ 3030 h 10000"/>
              <a:gd name="connsiteX52" fmla="*/ 1111 w 9815"/>
              <a:gd name="connsiteY52" fmla="*/ 2728 h 10000"/>
              <a:gd name="connsiteX53" fmla="*/ 1852 w 9815"/>
              <a:gd name="connsiteY53" fmla="*/ 2575 h 10000"/>
              <a:gd name="connsiteX54" fmla="*/ 2408 w 9815"/>
              <a:gd name="connsiteY54" fmla="*/ 2424 h 10000"/>
              <a:gd name="connsiteX55" fmla="*/ 3148 w 9815"/>
              <a:gd name="connsiteY55" fmla="*/ 2424 h 10000"/>
              <a:gd name="connsiteX56" fmla="*/ 3703 w 9815"/>
              <a:gd name="connsiteY56" fmla="*/ 2424 h 10000"/>
              <a:gd name="connsiteX57" fmla="*/ 4260 w 9815"/>
              <a:gd name="connsiteY57" fmla="*/ 2575 h 10000"/>
              <a:gd name="connsiteX58" fmla="*/ 4629 w 9815"/>
              <a:gd name="connsiteY58" fmla="*/ 2728 h 10000"/>
              <a:gd name="connsiteX59" fmla="*/ 5000 w 9815"/>
              <a:gd name="connsiteY59" fmla="*/ 3030 h 10000"/>
              <a:gd name="connsiteX0" fmla="*/ 5094 w 9623"/>
              <a:gd name="connsiteY0" fmla="*/ 3030 h 10000"/>
              <a:gd name="connsiteX1" fmla="*/ 5094 w 9623"/>
              <a:gd name="connsiteY1" fmla="*/ 455 h 10000"/>
              <a:gd name="connsiteX2" fmla="*/ 5283 w 9623"/>
              <a:gd name="connsiteY2" fmla="*/ 151 h 10000"/>
              <a:gd name="connsiteX3" fmla="*/ 5848 w 9623"/>
              <a:gd name="connsiteY3" fmla="*/ 0 h 10000"/>
              <a:gd name="connsiteX4" fmla="*/ 6604 w 9623"/>
              <a:gd name="connsiteY4" fmla="*/ 0 h 10000"/>
              <a:gd name="connsiteX5" fmla="*/ 7548 w 9623"/>
              <a:gd name="connsiteY5" fmla="*/ 0 h 10000"/>
              <a:gd name="connsiteX6" fmla="*/ 8491 w 9623"/>
              <a:gd name="connsiteY6" fmla="*/ 0 h 10000"/>
              <a:gd name="connsiteX7" fmla="*/ 8867 w 9623"/>
              <a:gd name="connsiteY7" fmla="*/ 0 h 10000"/>
              <a:gd name="connsiteX8" fmla="*/ 9435 w 9623"/>
              <a:gd name="connsiteY8" fmla="*/ 0 h 10000"/>
              <a:gd name="connsiteX9" fmla="*/ 9623 w 9623"/>
              <a:gd name="connsiteY9" fmla="*/ 0 h 10000"/>
              <a:gd name="connsiteX10" fmla="*/ 8302 w 9623"/>
              <a:gd name="connsiteY10" fmla="*/ 3181 h 10000"/>
              <a:gd name="connsiteX11" fmla="*/ 8302 w 9623"/>
              <a:gd name="connsiteY11" fmla="*/ 3334 h 10000"/>
              <a:gd name="connsiteX12" fmla="*/ 8302 w 9623"/>
              <a:gd name="connsiteY12" fmla="*/ 3787 h 10000"/>
              <a:gd name="connsiteX13" fmla="*/ 8491 w 9623"/>
              <a:gd name="connsiteY13" fmla="*/ 4091 h 10000"/>
              <a:gd name="connsiteX14" fmla="*/ 8680 w 9623"/>
              <a:gd name="connsiteY14" fmla="*/ 4393 h 10000"/>
              <a:gd name="connsiteX15" fmla="*/ 8867 w 9623"/>
              <a:gd name="connsiteY15" fmla="*/ 4546 h 10000"/>
              <a:gd name="connsiteX16" fmla="*/ 8867 w 9623"/>
              <a:gd name="connsiteY16" fmla="*/ 4697 h 10000"/>
              <a:gd name="connsiteX17" fmla="*/ 9245 w 9623"/>
              <a:gd name="connsiteY17" fmla="*/ 4848 h 10000"/>
              <a:gd name="connsiteX18" fmla="*/ 9435 w 9623"/>
              <a:gd name="connsiteY18" fmla="*/ 5152 h 10000"/>
              <a:gd name="connsiteX19" fmla="*/ 9435 w 9623"/>
              <a:gd name="connsiteY19" fmla="*/ 5606 h 10000"/>
              <a:gd name="connsiteX20" fmla="*/ 9435 w 9623"/>
              <a:gd name="connsiteY20" fmla="*/ 5909 h 10000"/>
              <a:gd name="connsiteX21" fmla="*/ 9245 w 9623"/>
              <a:gd name="connsiteY21" fmla="*/ 6060 h 10000"/>
              <a:gd name="connsiteX22" fmla="*/ 8867 w 9623"/>
              <a:gd name="connsiteY22" fmla="*/ 6666 h 10000"/>
              <a:gd name="connsiteX23" fmla="*/ 8491 w 9623"/>
              <a:gd name="connsiteY23" fmla="*/ 7121 h 10000"/>
              <a:gd name="connsiteX24" fmla="*/ 7548 w 9623"/>
              <a:gd name="connsiteY24" fmla="*/ 7727 h 10000"/>
              <a:gd name="connsiteX25" fmla="*/ 6604 w 9623"/>
              <a:gd name="connsiteY25" fmla="*/ 8484 h 10000"/>
              <a:gd name="connsiteX26" fmla="*/ 5283 w 9623"/>
              <a:gd name="connsiteY26" fmla="*/ 8939 h 10000"/>
              <a:gd name="connsiteX27" fmla="*/ 4151 w 9623"/>
              <a:gd name="connsiteY27" fmla="*/ 9394 h 10000"/>
              <a:gd name="connsiteX28" fmla="*/ 2830 w 9623"/>
              <a:gd name="connsiteY28" fmla="*/ 9848 h 10000"/>
              <a:gd name="connsiteX29" fmla="*/ 2075 w 9623"/>
              <a:gd name="connsiteY29" fmla="*/ 10000 h 10000"/>
              <a:gd name="connsiteX30" fmla="*/ 1887 w 9623"/>
              <a:gd name="connsiteY30" fmla="*/ 10000 h 10000"/>
              <a:gd name="connsiteX31" fmla="*/ 1510 w 9623"/>
              <a:gd name="connsiteY31" fmla="*/ 10000 h 10000"/>
              <a:gd name="connsiteX32" fmla="*/ 1132 w 9623"/>
              <a:gd name="connsiteY32" fmla="*/ 9848 h 10000"/>
              <a:gd name="connsiteX33" fmla="*/ 754 w 9623"/>
              <a:gd name="connsiteY33" fmla="*/ 9545 h 10000"/>
              <a:gd name="connsiteX34" fmla="*/ 378 w 9623"/>
              <a:gd name="connsiteY34" fmla="*/ 9394 h 10000"/>
              <a:gd name="connsiteX35" fmla="*/ 0 w 9623"/>
              <a:gd name="connsiteY35" fmla="*/ 9090 h 10000"/>
              <a:gd name="connsiteX36" fmla="*/ 0 w 9623"/>
              <a:gd name="connsiteY36" fmla="*/ 8788 h 10000"/>
              <a:gd name="connsiteX37" fmla="*/ 0 w 9623"/>
              <a:gd name="connsiteY37" fmla="*/ 8484 h 10000"/>
              <a:gd name="connsiteX38" fmla="*/ 0 w 9623"/>
              <a:gd name="connsiteY38" fmla="*/ 8030 h 10000"/>
              <a:gd name="connsiteX39" fmla="*/ 378 w 9623"/>
              <a:gd name="connsiteY39" fmla="*/ 7576 h 10000"/>
              <a:gd name="connsiteX40" fmla="*/ 754 w 9623"/>
              <a:gd name="connsiteY40" fmla="*/ 7121 h 10000"/>
              <a:gd name="connsiteX41" fmla="*/ 1697 w 9623"/>
              <a:gd name="connsiteY41" fmla="*/ 6666 h 10000"/>
              <a:gd name="connsiteX42" fmla="*/ 2075 w 9623"/>
              <a:gd name="connsiteY42" fmla="*/ 6060 h 10000"/>
              <a:gd name="connsiteX43" fmla="*/ 1887 w 9623"/>
              <a:gd name="connsiteY43" fmla="*/ 5606 h 10000"/>
              <a:gd name="connsiteX44" fmla="*/ 1132 w 9623"/>
              <a:gd name="connsiteY44" fmla="*/ 5303 h 10000"/>
              <a:gd name="connsiteX45" fmla="*/ 565 w 9623"/>
              <a:gd name="connsiteY45" fmla="*/ 5152 h 10000"/>
              <a:gd name="connsiteX46" fmla="*/ 0 w 9623"/>
              <a:gd name="connsiteY46" fmla="*/ 4697 h 10000"/>
              <a:gd name="connsiteX47" fmla="*/ 378 w 9623"/>
              <a:gd name="connsiteY47" fmla="*/ 4242 h 10000"/>
              <a:gd name="connsiteX48" fmla="*/ 565 w 9623"/>
              <a:gd name="connsiteY48" fmla="*/ 3940 h 10000"/>
              <a:gd name="connsiteX49" fmla="*/ 565 w 9623"/>
              <a:gd name="connsiteY49" fmla="*/ 3485 h 10000"/>
              <a:gd name="connsiteX50" fmla="*/ 378 w 9623"/>
              <a:gd name="connsiteY50" fmla="*/ 3030 h 10000"/>
              <a:gd name="connsiteX51" fmla="*/ 1132 w 9623"/>
              <a:gd name="connsiteY51" fmla="*/ 2728 h 10000"/>
              <a:gd name="connsiteX52" fmla="*/ 1887 w 9623"/>
              <a:gd name="connsiteY52" fmla="*/ 2575 h 10000"/>
              <a:gd name="connsiteX53" fmla="*/ 2453 w 9623"/>
              <a:gd name="connsiteY53" fmla="*/ 2424 h 10000"/>
              <a:gd name="connsiteX54" fmla="*/ 3207 w 9623"/>
              <a:gd name="connsiteY54" fmla="*/ 2424 h 10000"/>
              <a:gd name="connsiteX55" fmla="*/ 3773 w 9623"/>
              <a:gd name="connsiteY55" fmla="*/ 2424 h 10000"/>
              <a:gd name="connsiteX56" fmla="*/ 4340 w 9623"/>
              <a:gd name="connsiteY56" fmla="*/ 2575 h 10000"/>
              <a:gd name="connsiteX57" fmla="*/ 4716 w 9623"/>
              <a:gd name="connsiteY57" fmla="*/ 2728 h 10000"/>
              <a:gd name="connsiteX58" fmla="*/ 5094 w 9623"/>
              <a:gd name="connsiteY58" fmla="*/ 3030 h 10000"/>
              <a:gd name="connsiteX0" fmla="*/ 5294 w 9805"/>
              <a:gd name="connsiteY0" fmla="*/ 3030 h 10000"/>
              <a:gd name="connsiteX1" fmla="*/ 5294 w 9805"/>
              <a:gd name="connsiteY1" fmla="*/ 455 h 10000"/>
              <a:gd name="connsiteX2" fmla="*/ 5490 w 9805"/>
              <a:gd name="connsiteY2" fmla="*/ 151 h 10000"/>
              <a:gd name="connsiteX3" fmla="*/ 6077 w 9805"/>
              <a:gd name="connsiteY3" fmla="*/ 0 h 10000"/>
              <a:gd name="connsiteX4" fmla="*/ 6863 w 9805"/>
              <a:gd name="connsiteY4" fmla="*/ 0 h 10000"/>
              <a:gd name="connsiteX5" fmla="*/ 7844 w 9805"/>
              <a:gd name="connsiteY5" fmla="*/ 0 h 10000"/>
              <a:gd name="connsiteX6" fmla="*/ 8824 w 9805"/>
              <a:gd name="connsiteY6" fmla="*/ 0 h 10000"/>
              <a:gd name="connsiteX7" fmla="*/ 9214 w 9805"/>
              <a:gd name="connsiteY7" fmla="*/ 0 h 10000"/>
              <a:gd name="connsiteX8" fmla="*/ 9805 w 9805"/>
              <a:gd name="connsiteY8" fmla="*/ 0 h 10000"/>
              <a:gd name="connsiteX9" fmla="*/ 8627 w 9805"/>
              <a:gd name="connsiteY9" fmla="*/ 3181 h 10000"/>
              <a:gd name="connsiteX10" fmla="*/ 8627 w 9805"/>
              <a:gd name="connsiteY10" fmla="*/ 3334 h 10000"/>
              <a:gd name="connsiteX11" fmla="*/ 8627 w 9805"/>
              <a:gd name="connsiteY11" fmla="*/ 3787 h 10000"/>
              <a:gd name="connsiteX12" fmla="*/ 8824 w 9805"/>
              <a:gd name="connsiteY12" fmla="*/ 4091 h 10000"/>
              <a:gd name="connsiteX13" fmla="*/ 9020 w 9805"/>
              <a:gd name="connsiteY13" fmla="*/ 4393 h 10000"/>
              <a:gd name="connsiteX14" fmla="*/ 9214 w 9805"/>
              <a:gd name="connsiteY14" fmla="*/ 4546 h 10000"/>
              <a:gd name="connsiteX15" fmla="*/ 9214 w 9805"/>
              <a:gd name="connsiteY15" fmla="*/ 4697 h 10000"/>
              <a:gd name="connsiteX16" fmla="*/ 9607 w 9805"/>
              <a:gd name="connsiteY16" fmla="*/ 4848 h 10000"/>
              <a:gd name="connsiteX17" fmla="*/ 9805 w 9805"/>
              <a:gd name="connsiteY17" fmla="*/ 5152 h 10000"/>
              <a:gd name="connsiteX18" fmla="*/ 9805 w 9805"/>
              <a:gd name="connsiteY18" fmla="*/ 5606 h 10000"/>
              <a:gd name="connsiteX19" fmla="*/ 9805 w 9805"/>
              <a:gd name="connsiteY19" fmla="*/ 5909 h 10000"/>
              <a:gd name="connsiteX20" fmla="*/ 9607 w 9805"/>
              <a:gd name="connsiteY20" fmla="*/ 6060 h 10000"/>
              <a:gd name="connsiteX21" fmla="*/ 9214 w 9805"/>
              <a:gd name="connsiteY21" fmla="*/ 6666 h 10000"/>
              <a:gd name="connsiteX22" fmla="*/ 8824 w 9805"/>
              <a:gd name="connsiteY22" fmla="*/ 7121 h 10000"/>
              <a:gd name="connsiteX23" fmla="*/ 7844 w 9805"/>
              <a:gd name="connsiteY23" fmla="*/ 7727 h 10000"/>
              <a:gd name="connsiteX24" fmla="*/ 6863 w 9805"/>
              <a:gd name="connsiteY24" fmla="*/ 8484 h 10000"/>
              <a:gd name="connsiteX25" fmla="*/ 5490 w 9805"/>
              <a:gd name="connsiteY25" fmla="*/ 8939 h 10000"/>
              <a:gd name="connsiteX26" fmla="*/ 4314 w 9805"/>
              <a:gd name="connsiteY26" fmla="*/ 9394 h 10000"/>
              <a:gd name="connsiteX27" fmla="*/ 2941 w 9805"/>
              <a:gd name="connsiteY27" fmla="*/ 9848 h 10000"/>
              <a:gd name="connsiteX28" fmla="*/ 2156 w 9805"/>
              <a:gd name="connsiteY28" fmla="*/ 10000 h 10000"/>
              <a:gd name="connsiteX29" fmla="*/ 1961 w 9805"/>
              <a:gd name="connsiteY29" fmla="*/ 10000 h 10000"/>
              <a:gd name="connsiteX30" fmla="*/ 1569 w 9805"/>
              <a:gd name="connsiteY30" fmla="*/ 10000 h 10000"/>
              <a:gd name="connsiteX31" fmla="*/ 1176 w 9805"/>
              <a:gd name="connsiteY31" fmla="*/ 9848 h 10000"/>
              <a:gd name="connsiteX32" fmla="*/ 784 w 9805"/>
              <a:gd name="connsiteY32" fmla="*/ 9545 h 10000"/>
              <a:gd name="connsiteX33" fmla="*/ 393 w 9805"/>
              <a:gd name="connsiteY33" fmla="*/ 9394 h 10000"/>
              <a:gd name="connsiteX34" fmla="*/ 0 w 9805"/>
              <a:gd name="connsiteY34" fmla="*/ 9090 h 10000"/>
              <a:gd name="connsiteX35" fmla="*/ 0 w 9805"/>
              <a:gd name="connsiteY35" fmla="*/ 8788 h 10000"/>
              <a:gd name="connsiteX36" fmla="*/ 0 w 9805"/>
              <a:gd name="connsiteY36" fmla="*/ 8484 h 10000"/>
              <a:gd name="connsiteX37" fmla="*/ 0 w 9805"/>
              <a:gd name="connsiteY37" fmla="*/ 8030 h 10000"/>
              <a:gd name="connsiteX38" fmla="*/ 393 w 9805"/>
              <a:gd name="connsiteY38" fmla="*/ 7576 h 10000"/>
              <a:gd name="connsiteX39" fmla="*/ 784 w 9805"/>
              <a:gd name="connsiteY39" fmla="*/ 7121 h 10000"/>
              <a:gd name="connsiteX40" fmla="*/ 1763 w 9805"/>
              <a:gd name="connsiteY40" fmla="*/ 6666 h 10000"/>
              <a:gd name="connsiteX41" fmla="*/ 2156 w 9805"/>
              <a:gd name="connsiteY41" fmla="*/ 6060 h 10000"/>
              <a:gd name="connsiteX42" fmla="*/ 1961 w 9805"/>
              <a:gd name="connsiteY42" fmla="*/ 5606 h 10000"/>
              <a:gd name="connsiteX43" fmla="*/ 1176 w 9805"/>
              <a:gd name="connsiteY43" fmla="*/ 5303 h 10000"/>
              <a:gd name="connsiteX44" fmla="*/ 587 w 9805"/>
              <a:gd name="connsiteY44" fmla="*/ 5152 h 10000"/>
              <a:gd name="connsiteX45" fmla="*/ 0 w 9805"/>
              <a:gd name="connsiteY45" fmla="*/ 4697 h 10000"/>
              <a:gd name="connsiteX46" fmla="*/ 393 w 9805"/>
              <a:gd name="connsiteY46" fmla="*/ 4242 h 10000"/>
              <a:gd name="connsiteX47" fmla="*/ 587 w 9805"/>
              <a:gd name="connsiteY47" fmla="*/ 3940 h 10000"/>
              <a:gd name="connsiteX48" fmla="*/ 587 w 9805"/>
              <a:gd name="connsiteY48" fmla="*/ 3485 h 10000"/>
              <a:gd name="connsiteX49" fmla="*/ 393 w 9805"/>
              <a:gd name="connsiteY49" fmla="*/ 3030 h 10000"/>
              <a:gd name="connsiteX50" fmla="*/ 1176 w 9805"/>
              <a:gd name="connsiteY50" fmla="*/ 2728 h 10000"/>
              <a:gd name="connsiteX51" fmla="*/ 1961 w 9805"/>
              <a:gd name="connsiteY51" fmla="*/ 2575 h 10000"/>
              <a:gd name="connsiteX52" fmla="*/ 2549 w 9805"/>
              <a:gd name="connsiteY52" fmla="*/ 2424 h 10000"/>
              <a:gd name="connsiteX53" fmla="*/ 3333 w 9805"/>
              <a:gd name="connsiteY53" fmla="*/ 2424 h 10000"/>
              <a:gd name="connsiteX54" fmla="*/ 3921 w 9805"/>
              <a:gd name="connsiteY54" fmla="*/ 2424 h 10000"/>
              <a:gd name="connsiteX55" fmla="*/ 4510 w 9805"/>
              <a:gd name="connsiteY55" fmla="*/ 2575 h 10000"/>
              <a:gd name="connsiteX56" fmla="*/ 4901 w 9805"/>
              <a:gd name="connsiteY56" fmla="*/ 2728 h 10000"/>
              <a:gd name="connsiteX57" fmla="*/ 5294 w 9805"/>
              <a:gd name="connsiteY57" fmla="*/ 3030 h 10000"/>
              <a:gd name="connsiteX0" fmla="*/ 5399 w 10000"/>
              <a:gd name="connsiteY0" fmla="*/ 3030 h 10000"/>
              <a:gd name="connsiteX1" fmla="*/ 5399 w 10000"/>
              <a:gd name="connsiteY1" fmla="*/ 455 h 10000"/>
              <a:gd name="connsiteX2" fmla="*/ 5599 w 10000"/>
              <a:gd name="connsiteY2" fmla="*/ 151 h 10000"/>
              <a:gd name="connsiteX3" fmla="*/ 6198 w 10000"/>
              <a:gd name="connsiteY3" fmla="*/ 0 h 10000"/>
              <a:gd name="connsiteX4" fmla="*/ 6999 w 10000"/>
              <a:gd name="connsiteY4" fmla="*/ 0 h 10000"/>
              <a:gd name="connsiteX5" fmla="*/ 8000 w 10000"/>
              <a:gd name="connsiteY5" fmla="*/ 0 h 10000"/>
              <a:gd name="connsiteX6" fmla="*/ 8999 w 10000"/>
              <a:gd name="connsiteY6" fmla="*/ 0 h 10000"/>
              <a:gd name="connsiteX7" fmla="*/ 9397 w 10000"/>
              <a:gd name="connsiteY7" fmla="*/ 0 h 10000"/>
              <a:gd name="connsiteX8" fmla="*/ 8799 w 10000"/>
              <a:gd name="connsiteY8" fmla="*/ 3181 h 10000"/>
              <a:gd name="connsiteX9" fmla="*/ 8799 w 10000"/>
              <a:gd name="connsiteY9" fmla="*/ 3334 h 10000"/>
              <a:gd name="connsiteX10" fmla="*/ 8799 w 10000"/>
              <a:gd name="connsiteY10" fmla="*/ 3787 h 10000"/>
              <a:gd name="connsiteX11" fmla="*/ 8999 w 10000"/>
              <a:gd name="connsiteY11" fmla="*/ 4091 h 10000"/>
              <a:gd name="connsiteX12" fmla="*/ 9199 w 10000"/>
              <a:gd name="connsiteY12" fmla="*/ 4393 h 10000"/>
              <a:gd name="connsiteX13" fmla="*/ 9397 w 10000"/>
              <a:gd name="connsiteY13" fmla="*/ 4546 h 10000"/>
              <a:gd name="connsiteX14" fmla="*/ 9397 w 10000"/>
              <a:gd name="connsiteY14" fmla="*/ 4697 h 10000"/>
              <a:gd name="connsiteX15" fmla="*/ 9798 w 10000"/>
              <a:gd name="connsiteY15" fmla="*/ 4848 h 10000"/>
              <a:gd name="connsiteX16" fmla="*/ 10000 w 10000"/>
              <a:gd name="connsiteY16" fmla="*/ 5152 h 10000"/>
              <a:gd name="connsiteX17" fmla="*/ 10000 w 10000"/>
              <a:gd name="connsiteY17" fmla="*/ 5606 h 10000"/>
              <a:gd name="connsiteX18" fmla="*/ 10000 w 10000"/>
              <a:gd name="connsiteY18" fmla="*/ 5909 h 10000"/>
              <a:gd name="connsiteX19" fmla="*/ 9798 w 10000"/>
              <a:gd name="connsiteY19" fmla="*/ 6060 h 10000"/>
              <a:gd name="connsiteX20" fmla="*/ 9397 w 10000"/>
              <a:gd name="connsiteY20" fmla="*/ 6666 h 10000"/>
              <a:gd name="connsiteX21" fmla="*/ 8999 w 10000"/>
              <a:gd name="connsiteY21" fmla="*/ 7121 h 10000"/>
              <a:gd name="connsiteX22" fmla="*/ 8000 w 10000"/>
              <a:gd name="connsiteY22" fmla="*/ 7727 h 10000"/>
              <a:gd name="connsiteX23" fmla="*/ 6999 w 10000"/>
              <a:gd name="connsiteY23" fmla="*/ 8484 h 10000"/>
              <a:gd name="connsiteX24" fmla="*/ 5599 w 10000"/>
              <a:gd name="connsiteY24" fmla="*/ 8939 h 10000"/>
              <a:gd name="connsiteX25" fmla="*/ 4400 w 10000"/>
              <a:gd name="connsiteY25" fmla="*/ 9394 h 10000"/>
              <a:gd name="connsiteX26" fmla="*/ 2999 w 10000"/>
              <a:gd name="connsiteY26" fmla="*/ 9848 h 10000"/>
              <a:gd name="connsiteX27" fmla="*/ 2199 w 10000"/>
              <a:gd name="connsiteY27" fmla="*/ 10000 h 10000"/>
              <a:gd name="connsiteX28" fmla="*/ 2000 w 10000"/>
              <a:gd name="connsiteY28" fmla="*/ 10000 h 10000"/>
              <a:gd name="connsiteX29" fmla="*/ 1600 w 10000"/>
              <a:gd name="connsiteY29" fmla="*/ 10000 h 10000"/>
              <a:gd name="connsiteX30" fmla="*/ 1199 w 10000"/>
              <a:gd name="connsiteY30" fmla="*/ 9848 h 10000"/>
              <a:gd name="connsiteX31" fmla="*/ 800 w 10000"/>
              <a:gd name="connsiteY31" fmla="*/ 9545 h 10000"/>
              <a:gd name="connsiteX32" fmla="*/ 401 w 10000"/>
              <a:gd name="connsiteY32" fmla="*/ 9394 h 10000"/>
              <a:gd name="connsiteX33" fmla="*/ 0 w 10000"/>
              <a:gd name="connsiteY33" fmla="*/ 9090 h 10000"/>
              <a:gd name="connsiteX34" fmla="*/ 0 w 10000"/>
              <a:gd name="connsiteY34" fmla="*/ 8788 h 10000"/>
              <a:gd name="connsiteX35" fmla="*/ 0 w 10000"/>
              <a:gd name="connsiteY35" fmla="*/ 8484 h 10000"/>
              <a:gd name="connsiteX36" fmla="*/ 0 w 10000"/>
              <a:gd name="connsiteY36" fmla="*/ 8030 h 10000"/>
              <a:gd name="connsiteX37" fmla="*/ 401 w 10000"/>
              <a:gd name="connsiteY37" fmla="*/ 7576 h 10000"/>
              <a:gd name="connsiteX38" fmla="*/ 800 w 10000"/>
              <a:gd name="connsiteY38" fmla="*/ 7121 h 10000"/>
              <a:gd name="connsiteX39" fmla="*/ 1798 w 10000"/>
              <a:gd name="connsiteY39" fmla="*/ 6666 h 10000"/>
              <a:gd name="connsiteX40" fmla="*/ 2199 w 10000"/>
              <a:gd name="connsiteY40" fmla="*/ 6060 h 10000"/>
              <a:gd name="connsiteX41" fmla="*/ 2000 w 10000"/>
              <a:gd name="connsiteY41" fmla="*/ 5606 h 10000"/>
              <a:gd name="connsiteX42" fmla="*/ 1199 w 10000"/>
              <a:gd name="connsiteY42" fmla="*/ 5303 h 10000"/>
              <a:gd name="connsiteX43" fmla="*/ 599 w 10000"/>
              <a:gd name="connsiteY43" fmla="*/ 5152 h 10000"/>
              <a:gd name="connsiteX44" fmla="*/ 0 w 10000"/>
              <a:gd name="connsiteY44" fmla="*/ 4697 h 10000"/>
              <a:gd name="connsiteX45" fmla="*/ 401 w 10000"/>
              <a:gd name="connsiteY45" fmla="*/ 4242 h 10000"/>
              <a:gd name="connsiteX46" fmla="*/ 599 w 10000"/>
              <a:gd name="connsiteY46" fmla="*/ 3940 h 10000"/>
              <a:gd name="connsiteX47" fmla="*/ 599 w 10000"/>
              <a:gd name="connsiteY47" fmla="*/ 3485 h 10000"/>
              <a:gd name="connsiteX48" fmla="*/ 401 w 10000"/>
              <a:gd name="connsiteY48" fmla="*/ 3030 h 10000"/>
              <a:gd name="connsiteX49" fmla="*/ 1199 w 10000"/>
              <a:gd name="connsiteY49" fmla="*/ 2728 h 10000"/>
              <a:gd name="connsiteX50" fmla="*/ 2000 w 10000"/>
              <a:gd name="connsiteY50" fmla="*/ 2575 h 10000"/>
              <a:gd name="connsiteX51" fmla="*/ 2600 w 10000"/>
              <a:gd name="connsiteY51" fmla="*/ 2424 h 10000"/>
              <a:gd name="connsiteX52" fmla="*/ 3399 w 10000"/>
              <a:gd name="connsiteY52" fmla="*/ 2424 h 10000"/>
              <a:gd name="connsiteX53" fmla="*/ 3999 w 10000"/>
              <a:gd name="connsiteY53" fmla="*/ 2424 h 10000"/>
              <a:gd name="connsiteX54" fmla="*/ 4600 w 10000"/>
              <a:gd name="connsiteY54" fmla="*/ 2575 h 10000"/>
              <a:gd name="connsiteX55" fmla="*/ 4998 w 10000"/>
              <a:gd name="connsiteY55" fmla="*/ 2728 h 10000"/>
              <a:gd name="connsiteX56" fmla="*/ 5399 w 10000"/>
              <a:gd name="connsiteY56" fmla="*/ 3030 h 10000"/>
              <a:gd name="connsiteX0" fmla="*/ 5399 w 10000"/>
              <a:gd name="connsiteY0" fmla="*/ 3030 h 10000"/>
              <a:gd name="connsiteX1" fmla="*/ 5399 w 10000"/>
              <a:gd name="connsiteY1" fmla="*/ 455 h 10000"/>
              <a:gd name="connsiteX2" fmla="*/ 5599 w 10000"/>
              <a:gd name="connsiteY2" fmla="*/ 151 h 10000"/>
              <a:gd name="connsiteX3" fmla="*/ 6198 w 10000"/>
              <a:gd name="connsiteY3" fmla="*/ 0 h 10000"/>
              <a:gd name="connsiteX4" fmla="*/ 6999 w 10000"/>
              <a:gd name="connsiteY4" fmla="*/ 0 h 10000"/>
              <a:gd name="connsiteX5" fmla="*/ 8000 w 10000"/>
              <a:gd name="connsiteY5" fmla="*/ 0 h 10000"/>
              <a:gd name="connsiteX6" fmla="*/ 8999 w 10000"/>
              <a:gd name="connsiteY6" fmla="*/ 0 h 10000"/>
              <a:gd name="connsiteX7" fmla="*/ 8799 w 10000"/>
              <a:gd name="connsiteY7" fmla="*/ 3181 h 10000"/>
              <a:gd name="connsiteX8" fmla="*/ 8799 w 10000"/>
              <a:gd name="connsiteY8" fmla="*/ 3334 h 10000"/>
              <a:gd name="connsiteX9" fmla="*/ 8799 w 10000"/>
              <a:gd name="connsiteY9" fmla="*/ 3787 h 10000"/>
              <a:gd name="connsiteX10" fmla="*/ 8999 w 10000"/>
              <a:gd name="connsiteY10" fmla="*/ 4091 h 10000"/>
              <a:gd name="connsiteX11" fmla="*/ 9199 w 10000"/>
              <a:gd name="connsiteY11" fmla="*/ 4393 h 10000"/>
              <a:gd name="connsiteX12" fmla="*/ 9397 w 10000"/>
              <a:gd name="connsiteY12" fmla="*/ 4546 h 10000"/>
              <a:gd name="connsiteX13" fmla="*/ 9397 w 10000"/>
              <a:gd name="connsiteY13" fmla="*/ 4697 h 10000"/>
              <a:gd name="connsiteX14" fmla="*/ 9798 w 10000"/>
              <a:gd name="connsiteY14" fmla="*/ 4848 h 10000"/>
              <a:gd name="connsiteX15" fmla="*/ 10000 w 10000"/>
              <a:gd name="connsiteY15" fmla="*/ 5152 h 10000"/>
              <a:gd name="connsiteX16" fmla="*/ 10000 w 10000"/>
              <a:gd name="connsiteY16" fmla="*/ 5606 h 10000"/>
              <a:gd name="connsiteX17" fmla="*/ 10000 w 10000"/>
              <a:gd name="connsiteY17" fmla="*/ 5909 h 10000"/>
              <a:gd name="connsiteX18" fmla="*/ 9798 w 10000"/>
              <a:gd name="connsiteY18" fmla="*/ 6060 h 10000"/>
              <a:gd name="connsiteX19" fmla="*/ 9397 w 10000"/>
              <a:gd name="connsiteY19" fmla="*/ 6666 h 10000"/>
              <a:gd name="connsiteX20" fmla="*/ 8999 w 10000"/>
              <a:gd name="connsiteY20" fmla="*/ 7121 h 10000"/>
              <a:gd name="connsiteX21" fmla="*/ 8000 w 10000"/>
              <a:gd name="connsiteY21" fmla="*/ 7727 h 10000"/>
              <a:gd name="connsiteX22" fmla="*/ 6999 w 10000"/>
              <a:gd name="connsiteY22" fmla="*/ 8484 h 10000"/>
              <a:gd name="connsiteX23" fmla="*/ 5599 w 10000"/>
              <a:gd name="connsiteY23" fmla="*/ 8939 h 10000"/>
              <a:gd name="connsiteX24" fmla="*/ 4400 w 10000"/>
              <a:gd name="connsiteY24" fmla="*/ 9394 h 10000"/>
              <a:gd name="connsiteX25" fmla="*/ 2999 w 10000"/>
              <a:gd name="connsiteY25" fmla="*/ 9848 h 10000"/>
              <a:gd name="connsiteX26" fmla="*/ 2199 w 10000"/>
              <a:gd name="connsiteY26" fmla="*/ 10000 h 10000"/>
              <a:gd name="connsiteX27" fmla="*/ 2000 w 10000"/>
              <a:gd name="connsiteY27" fmla="*/ 10000 h 10000"/>
              <a:gd name="connsiteX28" fmla="*/ 1600 w 10000"/>
              <a:gd name="connsiteY28" fmla="*/ 10000 h 10000"/>
              <a:gd name="connsiteX29" fmla="*/ 1199 w 10000"/>
              <a:gd name="connsiteY29" fmla="*/ 9848 h 10000"/>
              <a:gd name="connsiteX30" fmla="*/ 800 w 10000"/>
              <a:gd name="connsiteY30" fmla="*/ 9545 h 10000"/>
              <a:gd name="connsiteX31" fmla="*/ 401 w 10000"/>
              <a:gd name="connsiteY31" fmla="*/ 9394 h 10000"/>
              <a:gd name="connsiteX32" fmla="*/ 0 w 10000"/>
              <a:gd name="connsiteY32" fmla="*/ 9090 h 10000"/>
              <a:gd name="connsiteX33" fmla="*/ 0 w 10000"/>
              <a:gd name="connsiteY33" fmla="*/ 8788 h 10000"/>
              <a:gd name="connsiteX34" fmla="*/ 0 w 10000"/>
              <a:gd name="connsiteY34" fmla="*/ 8484 h 10000"/>
              <a:gd name="connsiteX35" fmla="*/ 0 w 10000"/>
              <a:gd name="connsiteY35" fmla="*/ 8030 h 10000"/>
              <a:gd name="connsiteX36" fmla="*/ 401 w 10000"/>
              <a:gd name="connsiteY36" fmla="*/ 7576 h 10000"/>
              <a:gd name="connsiteX37" fmla="*/ 800 w 10000"/>
              <a:gd name="connsiteY37" fmla="*/ 7121 h 10000"/>
              <a:gd name="connsiteX38" fmla="*/ 1798 w 10000"/>
              <a:gd name="connsiteY38" fmla="*/ 6666 h 10000"/>
              <a:gd name="connsiteX39" fmla="*/ 2199 w 10000"/>
              <a:gd name="connsiteY39" fmla="*/ 6060 h 10000"/>
              <a:gd name="connsiteX40" fmla="*/ 2000 w 10000"/>
              <a:gd name="connsiteY40" fmla="*/ 5606 h 10000"/>
              <a:gd name="connsiteX41" fmla="*/ 1199 w 10000"/>
              <a:gd name="connsiteY41" fmla="*/ 5303 h 10000"/>
              <a:gd name="connsiteX42" fmla="*/ 599 w 10000"/>
              <a:gd name="connsiteY42" fmla="*/ 5152 h 10000"/>
              <a:gd name="connsiteX43" fmla="*/ 0 w 10000"/>
              <a:gd name="connsiteY43" fmla="*/ 4697 h 10000"/>
              <a:gd name="connsiteX44" fmla="*/ 401 w 10000"/>
              <a:gd name="connsiteY44" fmla="*/ 4242 h 10000"/>
              <a:gd name="connsiteX45" fmla="*/ 599 w 10000"/>
              <a:gd name="connsiteY45" fmla="*/ 3940 h 10000"/>
              <a:gd name="connsiteX46" fmla="*/ 599 w 10000"/>
              <a:gd name="connsiteY46" fmla="*/ 3485 h 10000"/>
              <a:gd name="connsiteX47" fmla="*/ 401 w 10000"/>
              <a:gd name="connsiteY47" fmla="*/ 3030 h 10000"/>
              <a:gd name="connsiteX48" fmla="*/ 1199 w 10000"/>
              <a:gd name="connsiteY48" fmla="*/ 2728 h 10000"/>
              <a:gd name="connsiteX49" fmla="*/ 2000 w 10000"/>
              <a:gd name="connsiteY49" fmla="*/ 2575 h 10000"/>
              <a:gd name="connsiteX50" fmla="*/ 2600 w 10000"/>
              <a:gd name="connsiteY50" fmla="*/ 2424 h 10000"/>
              <a:gd name="connsiteX51" fmla="*/ 3399 w 10000"/>
              <a:gd name="connsiteY51" fmla="*/ 2424 h 10000"/>
              <a:gd name="connsiteX52" fmla="*/ 3999 w 10000"/>
              <a:gd name="connsiteY52" fmla="*/ 2424 h 10000"/>
              <a:gd name="connsiteX53" fmla="*/ 4600 w 10000"/>
              <a:gd name="connsiteY53" fmla="*/ 2575 h 10000"/>
              <a:gd name="connsiteX54" fmla="*/ 4998 w 10000"/>
              <a:gd name="connsiteY54" fmla="*/ 2728 h 10000"/>
              <a:gd name="connsiteX55" fmla="*/ 5399 w 10000"/>
              <a:gd name="connsiteY55" fmla="*/ 3030 h 10000"/>
              <a:gd name="connsiteX0" fmla="*/ 5399 w 10000"/>
              <a:gd name="connsiteY0" fmla="*/ 3030 h 10000"/>
              <a:gd name="connsiteX1" fmla="*/ 5399 w 10000"/>
              <a:gd name="connsiteY1" fmla="*/ 455 h 10000"/>
              <a:gd name="connsiteX2" fmla="*/ 5599 w 10000"/>
              <a:gd name="connsiteY2" fmla="*/ 151 h 10000"/>
              <a:gd name="connsiteX3" fmla="*/ 6198 w 10000"/>
              <a:gd name="connsiteY3" fmla="*/ 0 h 10000"/>
              <a:gd name="connsiteX4" fmla="*/ 6999 w 10000"/>
              <a:gd name="connsiteY4" fmla="*/ 0 h 10000"/>
              <a:gd name="connsiteX5" fmla="*/ 8000 w 10000"/>
              <a:gd name="connsiteY5" fmla="*/ 0 h 10000"/>
              <a:gd name="connsiteX6" fmla="*/ 8799 w 10000"/>
              <a:gd name="connsiteY6" fmla="*/ 3181 h 10000"/>
              <a:gd name="connsiteX7" fmla="*/ 8799 w 10000"/>
              <a:gd name="connsiteY7" fmla="*/ 3334 h 10000"/>
              <a:gd name="connsiteX8" fmla="*/ 8799 w 10000"/>
              <a:gd name="connsiteY8" fmla="*/ 3787 h 10000"/>
              <a:gd name="connsiteX9" fmla="*/ 8999 w 10000"/>
              <a:gd name="connsiteY9" fmla="*/ 4091 h 10000"/>
              <a:gd name="connsiteX10" fmla="*/ 9199 w 10000"/>
              <a:gd name="connsiteY10" fmla="*/ 4393 h 10000"/>
              <a:gd name="connsiteX11" fmla="*/ 9397 w 10000"/>
              <a:gd name="connsiteY11" fmla="*/ 4546 h 10000"/>
              <a:gd name="connsiteX12" fmla="*/ 9397 w 10000"/>
              <a:gd name="connsiteY12" fmla="*/ 4697 h 10000"/>
              <a:gd name="connsiteX13" fmla="*/ 9798 w 10000"/>
              <a:gd name="connsiteY13" fmla="*/ 4848 h 10000"/>
              <a:gd name="connsiteX14" fmla="*/ 10000 w 10000"/>
              <a:gd name="connsiteY14" fmla="*/ 5152 h 10000"/>
              <a:gd name="connsiteX15" fmla="*/ 10000 w 10000"/>
              <a:gd name="connsiteY15" fmla="*/ 5606 h 10000"/>
              <a:gd name="connsiteX16" fmla="*/ 10000 w 10000"/>
              <a:gd name="connsiteY16" fmla="*/ 5909 h 10000"/>
              <a:gd name="connsiteX17" fmla="*/ 9798 w 10000"/>
              <a:gd name="connsiteY17" fmla="*/ 6060 h 10000"/>
              <a:gd name="connsiteX18" fmla="*/ 9397 w 10000"/>
              <a:gd name="connsiteY18" fmla="*/ 6666 h 10000"/>
              <a:gd name="connsiteX19" fmla="*/ 8999 w 10000"/>
              <a:gd name="connsiteY19" fmla="*/ 7121 h 10000"/>
              <a:gd name="connsiteX20" fmla="*/ 8000 w 10000"/>
              <a:gd name="connsiteY20" fmla="*/ 7727 h 10000"/>
              <a:gd name="connsiteX21" fmla="*/ 6999 w 10000"/>
              <a:gd name="connsiteY21" fmla="*/ 8484 h 10000"/>
              <a:gd name="connsiteX22" fmla="*/ 5599 w 10000"/>
              <a:gd name="connsiteY22" fmla="*/ 8939 h 10000"/>
              <a:gd name="connsiteX23" fmla="*/ 4400 w 10000"/>
              <a:gd name="connsiteY23" fmla="*/ 9394 h 10000"/>
              <a:gd name="connsiteX24" fmla="*/ 2999 w 10000"/>
              <a:gd name="connsiteY24" fmla="*/ 9848 h 10000"/>
              <a:gd name="connsiteX25" fmla="*/ 2199 w 10000"/>
              <a:gd name="connsiteY25" fmla="*/ 10000 h 10000"/>
              <a:gd name="connsiteX26" fmla="*/ 2000 w 10000"/>
              <a:gd name="connsiteY26" fmla="*/ 10000 h 10000"/>
              <a:gd name="connsiteX27" fmla="*/ 1600 w 10000"/>
              <a:gd name="connsiteY27" fmla="*/ 10000 h 10000"/>
              <a:gd name="connsiteX28" fmla="*/ 1199 w 10000"/>
              <a:gd name="connsiteY28" fmla="*/ 9848 h 10000"/>
              <a:gd name="connsiteX29" fmla="*/ 800 w 10000"/>
              <a:gd name="connsiteY29" fmla="*/ 9545 h 10000"/>
              <a:gd name="connsiteX30" fmla="*/ 401 w 10000"/>
              <a:gd name="connsiteY30" fmla="*/ 9394 h 10000"/>
              <a:gd name="connsiteX31" fmla="*/ 0 w 10000"/>
              <a:gd name="connsiteY31" fmla="*/ 9090 h 10000"/>
              <a:gd name="connsiteX32" fmla="*/ 0 w 10000"/>
              <a:gd name="connsiteY32" fmla="*/ 8788 h 10000"/>
              <a:gd name="connsiteX33" fmla="*/ 0 w 10000"/>
              <a:gd name="connsiteY33" fmla="*/ 8484 h 10000"/>
              <a:gd name="connsiteX34" fmla="*/ 0 w 10000"/>
              <a:gd name="connsiteY34" fmla="*/ 8030 h 10000"/>
              <a:gd name="connsiteX35" fmla="*/ 401 w 10000"/>
              <a:gd name="connsiteY35" fmla="*/ 7576 h 10000"/>
              <a:gd name="connsiteX36" fmla="*/ 800 w 10000"/>
              <a:gd name="connsiteY36" fmla="*/ 7121 h 10000"/>
              <a:gd name="connsiteX37" fmla="*/ 1798 w 10000"/>
              <a:gd name="connsiteY37" fmla="*/ 6666 h 10000"/>
              <a:gd name="connsiteX38" fmla="*/ 2199 w 10000"/>
              <a:gd name="connsiteY38" fmla="*/ 6060 h 10000"/>
              <a:gd name="connsiteX39" fmla="*/ 2000 w 10000"/>
              <a:gd name="connsiteY39" fmla="*/ 5606 h 10000"/>
              <a:gd name="connsiteX40" fmla="*/ 1199 w 10000"/>
              <a:gd name="connsiteY40" fmla="*/ 5303 h 10000"/>
              <a:gd name="connsiteX41" fmla="*/ 599 w 10000"/>
              <a:gd name="connsiteY41" fmla="*/ 5152 h 10000"/>
              <a:gd name="connsiteX42" fmla="*/ 0 w 10000"/>
              <a:gd name="connsiteY42" fmla="*/ 4697 h 10000"/>
              <a:gd name="connsiteX43" fmla="*/ 401 w 10000"/>
              <a:gd name="connsiteY43" fmla="*/ 4242 h 10000"/>
              <a:gd name="connsiteX44" fmla="*/ 599 w 10000"/>
              <a:gd name="connsiteY44" fmla="*/ 3940 h 10000"/>
              <a:gd name="connsiteX45" fmla="*/ 599 w 10000"/>
              <a:gd name="connsiteY45" fmla="*/ 3485 h 10000"/>
              <a:gd name="connsiteX46" fmla="*/ 401 w 10000"/>
              <a:gd name="connsiteY46" fmla="*/ 3030 h 10000"/>
              <a:gd name="connsiteX47" fmla="*/ 1199 w 10000"/>
              <a:gd name="connsiteY47" fmla="*/ 2728 h 10000"/>
              <a:gd name="connsiteX48" fmla="*/ 2000 w 10000"/>
              <a:gd name="connsiteY48" fmla="*/ 2575 h 10000"/>
              <a:gd name="connsiteX49" fmla="*/ 2600 w 10000"/>
              <a:gd name="connsiteY49" fmla="*/ 2424 h 10000"/>
              <a:gd name="connsiteX50" fmla="*/ 3399 w 10000"/>
              <a:gd name="connsiteY50" fmla="*/ 2424 h 10000"/>
              <a:gd name="connsiteX51" fmla="*/ 3999 w 10000"/>
              <a:gd name="connsiteY51" fmla="*/ 2424 h 10000"/>
              <a:gd name="connsiteX52" fmla="*/ 4600 w 10000"/>
              <a:gd name="connsiteY52" fmla="*/ 2575 h 10000"/>
              <a:gd name="connsiteX53" fmla="*/ 4998 w 10000"/>
              <a:gd name="connsiteY53" fmla="*/ 2728 h 10000"/>
              <a:gd name="connsiteX54" fmla="*/ 5399 w 10000"/>
              <a:gd name="connsiteY54" fmla="*/ 3030 h 10000"/>
              <a:gd name="connsiteX0" fmla="*/ 5399 w 10000"/>
              <a:gd name="connsiteY0" fmla="*/ 3030 h 10000"/>
              <a:gd name="connsiteX1" fmla="*/ 5399 w 10000"/>
              <a:gd name="connsiteY1" fmla="*/ 455 h 10000"/>
              <a:gd name="connsiteX2" fmla="*/ 5599 w 10000"/>
              <a:gd name="connsiteY2" fmla="*/ 151 h 10000"/>
              <a:gd name="connsiteX3" fmla="*/ 6198 w 10000"/>
              <a:gd name="connsiteY3" fmla="*/ 0 h 10000"/>
              <a:gd name="connsiteX4" fmla="*/ 6999 w 10000"/>
              <a:gd name="connsiteY4" fmla="*/ 0 h 10000"/>
              <a:gd name="connsiteX5" fmla="*/ 8799 w 10000"/>
              <a:gd name="connsiteY5" fmla="*/ 3181 h 10000"/>
              <a:gd name="connsiteX6" fmla="*/ 8799 w 10000"/>
              <a:gd name="connsiteY6" fmla="*/ 3334 h 10000"/>
              <a:gd name="connsiteX7" fmla="*/ 8799 w 10000"/>
              <a:gd name="connsiteY7" fmla="*/ 3787 h 10000"/>
              <a:gd name="connsiteX8" fmla="*/ 8999 w 10000"/>
              <a:gd name="connsiteY8" fmla="*/ 4091 h 10000"/>
              <a:gd name="connsiteX9" fmla="*/ 9199 w 10000"/>
              <a:gd name="connsiteY9" fmla="*/ 4393 h 10000"/>
              <a:gd name="connsiteX10" fmla="*/ 9397 w 10000"/>
              <a:gd name="connsiteY10" fmla="*/ 4546 h 10000"/>
              <a:gd name="connsiteX11" fmla="*/ 9397 w 10000"/>
              <a:gd name="connsiteY11" fmla="*/ 4697 h 10000"/>
              <a:gd name="connsiteX12" fmla="*/ 9798 w 10000"/>
              <a:gd name="connsiteY12" fmla="*/ 4848 h 10000"/>
              <a:gd name="connsiteX13" fmla="*/ 10000 w 10000"/>
              <a:gd name="connsiteY13" fmla="*/ 5152 h 10000"/>
              <a:gd name="connsiteX14" fmla="*/ 10000 w 10000"/>
              <a:gd name="connsiteY14" fmla="*/ 5606 h 10000"/>
              <a:gd name="connsiteX15" fmla="*/ 10000 w 10000"/>
              <a:gd name="connsiteY15" fmla="*/ 5909 h 10000"/>
              <a:gd name="connsiteX16" fmla="*/ 9798 w 10000"/>
              <a:gd name="connsiteY16" fmla="*/ 6060 h 10000"/>
              <a:gd name="connsiteX17" fmla="*/ 9397 w 10000"/>
              <a:gd name="connsiteY17" fmla="*/ 6666 h 10000"/>
              <a:gd name="connsiteX18" fmla="*/ 8999 w 10000"/>
              <a:gd name="connsiteY18" fmla="*/ 7121 h 10000"/>
              <a:gd name="connsiteX19" fmla="*/ 8000 w 10000"/>
              <a:gd name="connsiteY19" fmla="*/ 7727 h 10000"/>
              <a:gd name="connsiteX20" fmla="*/ 6999 w 10000"/>
              <a:gd name="connsiteY20" fmla="*/ 8484 h 10000"/>
              <a:gd name="connsiteX21" fmla="*/ 5599 w 10000"/>
              <a:gd name="connsiteY21" fmla="*/ 8939 h 10000"/>
              <a:gd name="connsiteX22" fmla="*/ 4400 w 10000"/>
              <a:gd name="connsiteY22" fmla="*/ 9394 h 10000"/>
              <a:gd name="connsiteX23" fmla="*/ 2999 w 10000"/>
              <a:gd name="connsiteY23" fmla="*/ 9848 h 10000"/>
              <a:gd name="connsiteX24" fmla="*/ 2199 w 10000"/>
              <a:gd name="connsiteY24" fmla="*/ 10000 h 10000"/>
              <a:gd name="connsiteX25" fmla="*/ 2000 w 10000"/>
              <a:gd name="connsiteY25" fmla="*/ 10000 h 10000"/>
              <a:gd name="connsiteX26" fmla="*/ 1600 w 10000"/>
              <a:gd name="connsiteY26" fmla="*/ 10000 h 10000"/>
              <a:gd name="connsiteX27" fmla="*/ 1199 w 10000"/>
              <a:gd name="connsiteY27" fmla="*/ 9848 h 10000"/>
              <a:gd name="connsiteX28" fmla="*/ 800 w 10000"/>
              <a:gd name="connsiteY28" fmla="*/ 9545 h 10000"/>
              <a:gd name="connsiteX29" fmla="*/ 401 w 10000"/>
              <a:gd name="connsiteY29" fmla="*/ 9394 h 10000"/>
              <a:gd name="connsiteX30" fmla="*/ 0 w 10000"/>
              <a:gd name="connsiteY30" fmla="*/ 9090 h 10000"/>
              <a:gd name="connsiteX31" fmla="*/ 0 w 10000"/>
              <a:gd name="connsiteY31" fmla="*/ 8788 h 10000"/>
              <a:gd name="connsiteX32" fmla="*/ 0 w 10000"/>
              <a:gd name="connsiteY32" fmla="*/ 8484 h 10000"/>
              <a:gd name="connsiteX33" fmla="*/ 0 w 10000"/>
              <a:gd name="connsiteY33" fmla="*/ 8030 h 10000"/>
              <a:gd name="connsiteX34" fmla="*/ 401 w 10000"/>
              <a:gd name="connsiteY34" fmla="*/ 7576 h 10000"/>
              <a:gd name="connsiteX35" fmla="*/ 800 w 10000"/>
              <a:gd name="connsiteY35" fmla="*/ 7121 h 10000"/>
              <a:gd name="connsiteX36" fmla="*/ 1798 w 10000"/>
              <a:gd name="connsiteY36" fmla="*/ 6666 h 10000"/>
              <a:gd name="connsiteX37" fmla="*/ 2199 w 10000"/>
              <a:gd name="connsiteY37" fmla="*/ 6060 h 10000"/>
              <a:gd name="connsiteX38" fmla="*/ 2000 w 10000"/>
              <a:gd name="connsiteY38" fmla="*/ 5606 h 10000"/>
              <a:gd name="connsiteX39" fmla="*/ 1199 w 10000"/>
              <a:gd name="connsiteY39" fmla="*/ 5303 h 10000"/>
              <a:gd name="connsiteX40" fmla="*/ 599 w 10000"/>
              <a:gd name="connsiteY40" fmla="*/ 5152 h 10000"/>
              <a:gd name="connsiteX41" fmla="*/ 0 w 10000"/>
              <a:gd name="connsiteY41" fmla="*/ 4697 h 10000"/>
              <a:gd name="connsiteX42" fmla="*/ 401 w 10000"/>
              <a:gd name="connsiteY42" fmla="*/ 4242 h 10000"/>
              <a:gd name="connsiteX43" fmla="*/ 599 w 10000"/>
              <a:gd name="connsiteY43" fmla="*/ 3940 h 10000"/>
              <a:gd name="connsiteX44" fmla="*/ 599 w 10000"/>
              <a:gd name="connsiteY44" fmla="*/ 3485 h 10000"/>
              <a:gd name="connsiteX45" fmla="*/ 401 w 10000"/>
              <a:gd name="connsiteY45" fmla="*/ 3030 h 10000"/>
              <a:gd name="connsiteX46" fmla="*/ 1199 w 10000"/>
              <a:gd name="connsiteY46" fmla="*/ 2728 h 10000"/>
              <a:gd name="connsiteX47" fmla="*/ 2000 w 10000"/>
              <a:gd name="connsiteY47" fmla="*/ 2575 h 10000"/>
              <a:gd name="connsiteX48" fmla="*/ 2600 w 10000"/>
              <a:gd name="connsiteY48" fmla="*/ 2424 h 10000"/>
              <a:gd name="connsiteX49" fmla="*/ 3399 w 10000"/>
              <a:gd name="connsiteY49" fmla="*/ 2424 h 10000"/>
              <a:gd name="connsiteX50" fmla="*/ 3999 w 10000"/>
              <a:gd name="connsiteY50" fmla="*/ 2424 h 10000"/>
              <a:gd name="connsiteX51" fmla="*/ 4600 w 10000"/>
              <a:gd name="connsiteY51" fmla="*/ 2575 h 10000"/>
              <a:gd name="connsiteX52" fmla="*/ 4998 w 10000"/>
              <a:gd name="connsiteY52" fmla="*/ 2728 h 10000"/>
              <a:gd name="connsiteX53" fmla="*/ 5399 w 10000"/>
              <a:gd name="connsiteY53" fmla="*/ 3030 h 10000"/>
              <a:gd name="connsiteX0" fmla="*/ 5399 w 10000"/>
              <a:gd name="connsiteY0" fmla="*/ 3030 h 10000"/>
              <a:gd name="connsiteX1" fmla="*/ 5399 w 10000"/>
              <a:gd name="connsiteY1" fmla="*/ 455 h 10000"/>
              <a:gd name="connsiteX2" fmla="*/ 5599 w 10000"/>
              <a:gd name="connsiteY2" fmla="*/ 151 h 10000"/>
              <a:gd name="connsiteX3" fmla="*/ 6198 w 10000"/>
              <a:gd name="connsiteY3" fmla="*/ 0 h 10000"/>
              <a:gd name="connsiteX4" fmla="*/ 8799 w 10000"/>
              <a:gd name="connsiteY4" fmla="*/ 3181 h 10000"/>
              <a:gd name="connsiteX5" fmla="*/ 8799 w 10000"/>
              <a:gd name="connsiteY5" fmla="*/ 3334 h 10000"/>
              <a:gd name="connsiteX6" fmla="*/ 8799 w 10000"/>
              <a:gd name="connsiteY6" fmla="*/ 3787 h 10000"/>
              <a:gd name="connsiteX7" fmla="*/ 8999 w 10000"/>
              <a:gd name="connsiteY7" fmla="*/ 4091 h 10000"/>
              <a:gd name="connsiteX8" fmla="*/ 9199 w 10000"/>
              <a:gd name="connsiteY8" fmla="*/ 4393 h 10000"/>
              <a:gd name="connsiteX9" fmla="*/ 9397 w 10000"/>
              <a:gd name="connsiteY9" fmla="*/ 4546 h 10000"/>
              <a:gd name="connsiteX10" fmla="*/ 9397 w 10000"/>
              <a:gd name="connsiteY10" fmla="*/ 4697 h 10000"/>
              <a:gd name="connsiteX11" fmla="*/ 9798 w 10000"/>
              <a:gd name="connsiteY11" fmla="*/ 4848 h 10000"/>
              <a:gd name="connsiteX12" fmla="*/ 10000 w 10000"/>
              <a:gd name="connsiteY12" fmla="*/ 5152 h 10000"/>
              <a:gd name="connsiteX13" fmla="*/ 10000 w 10000"/>
              <a:gd name="connsiteY13" fmla="*/ 5606 h 10000"/>
              <a:gd name="connsiteX14" fmla="*/ 10000 w 10000"/>
              <a:gd name="connsiteY14" fmla="*/ 5909 h 10000"/>
              <a:gd name="connsiteX15" fmla="*/ 9798 w 10000"/>
              <a:gd name="connsiteY15" fmla="*/ 6060 h 10000"/>
              <a:gd name="connsiteX16" fmla="*/ 9397 w 10000"/>
              <a:gd name="connsiteY16" fmla="*/ 6666 h 10000"/>
              <a:gd name="connsiteX17" fmla="*/ 8999 w 10000"/>
              <a:gd name="connsiteY17" fmla="*/ 7121 h 10000"/>
              <a:gd name="connsiteX18" fmla="*/ 8000 w 10000"/>
              <a:gd name="connsiteY18" fmla="*/ 7727 h 10000"/>
              <a:gd name="connsiteX19" fmla="*/ 6999 w 10000"/>
              <a:gd name="connsiteY19" fmla="*/ 8484 h 10000"/>
              <a:gd name="connsiteX20" fmla="*/ 5599 w 10000"/>
              <a:gd name="connsiteY20" fmla="*/ 8939 h 10000"/>
              <a:gd name="connsiteX21" fmla="*/ 4400 w 10000"/>
              <a:gd name="connsiteY21" fmla="*/ 9394 h 10000"/>
              <a:gd name="connsiteX22" fmla="*/ 2999 w 10000"/>
              <a:gd name="connsiteY22" fmla="*/ 9848 h 10000"/>
              <a:gd name="connsiteX23" fmla="*/ 2199 w 10000"/>
              <a:gd name="connsiteY23" fmla="*/ 10000 h 10000"/>
              <a:gd name="connsiteX24" fmla="*/ 2000 w 10000"/>
              <a:gd name="connsiteY24" fmla="*/ 10000 h 10000"/>
              <a:gd name="connsiteX25" fmla="*/ 1600 w 10000"/>
              <a:gd name="connsiteY25" fmla="*/ 10000 h 10000"/>
              <a:gd name="connsiteX26" fmla="*/ 1199 w 10000"/>
              <a:gd name="connsiteY26" fmla="*/ 9848 h 10000"/>
              <a:gd name="connsiteX27" fmla="*/ 800 w 10000"/>
              <a:gd name="connsiteY27" fmla="*/ 9545 h 10000"/>
              <a:gd name="connsiteX28" fmla="*/ 401 w 10000"/>
              <a:gd name="connsiteY28" fmla="*/ 9394 h 10000"/>
              <a:gd name="connsiteX29" fmla="*/ 0 w 10000"/>
              <a:gd name="connsiteY29" fmla="*/ 9090 h 10000"/>
              <a:gd name="connsiteX30" fmla="*/ 0 w 10000"/>
              <a:gd name="connsiteY30" fmla="*/ 8788 h 10000"/>
              <a:gd name="connsiteX31" fmla="*/ 0 w 10000"/>
              <a:gd name="connsiteY31" fmla="*/ 8484 h 10000"/>
              <a:gd name="connsiteX32" fmla="*/ 0 w 10000"/>
              <a:gd name="connsiteY32" fmla="*/ 8030 h 10000"/>
              <a:gd name="connsiteX33" fmla="*/ 401 w 10000"/>
              <a:gd name="connsiteY33" fmla="*/ 7576 h 10000"/>
              <a:gd name="connsiteX34" fmla="*/ 800 w 10000"/>
              <a:gd name="connsiteY34" fmla="*/ 7121 h 10000"/>
              <a:gd name="connsiteX35" fmla="*/ 1798 w 10000"/>
              <a:gd name="connsiteY35" fmla="*/ 6666 h 10000"/>
              <a:gd name="connsiteX36" fmla="*/ 2199 w 10000"/>
              <a:gd name="connsiteY36" fmla="*/ 6060 h 10000"/>
              <a:gd name="connsiteX37" fmla="*/ 2000 w 10000"/>
              <a:gd name="connsiteY37" fmla="*/ 5606 h 10000"/>
              <a:gd name="connsiteX38" fmla="*/ 1199 w 10000"/>
              <a:gd name="connsiteY38" fmla="*/ 5303 h 10000"/>
              <a:gd name="connsiteX39" fmla="*/ 599 w 10000"/>
              <a:gd name="connsiteY39" fmla="*/ 5152 h 10000"/>
              <a:gd name="connsiteX40" fmla="*/ 0 w 10000"/>
              <a:gd name="connsiteY40" fmla="*/ 4697 h 10000"/>
              <a:gd name="connsiteX41" fmla="*/ 401 w 10000"/>
              <a:gd name="connsiteY41" fmla="*/ 4242 h 10000"/>
              <a:gd name="connsiteX42" fmla="*/ 599 w 10000"/>
              <a:gd name="connsiteY42" fmla="*/ 3940 h 10000"/>
              <a:gd name="connsiteX43" fmla="*/ 599 w 10000"/>
              <a:gd name="connsiteY43" fmla="*/ 3485 h 10000"/>
              <a:gd name="connsiteX44" fmla="*/ 401 w 10000"/>
              <a:gd name="connsiteY44" fmla="*/ 3030 h 10000"/>
              <a:gd name="connsiteX45" fmla="*/ 1199 w 10000"/>
              <a:gd name="connsiteY45" fmla="*/ 2728 h 10000"/>
              <a:gd name="connsiteX46" fmla="*/ 2000 w 10000"/>
              <a:gd name="connsiteY46" fmla="*/ 2575 h 10000"/>
              <a:gd name="connsiteX47" fmla="*/ 2600 w 10000"/>
              <a:gd name="connsiteY47" fmla="*/ 2424 h 10000"/>
              <a:gd name="connsiteX48" fmla="*/ 3399 w 10000"/>
              <a:gd name="connsiteY48" fmla="*/ 2424 h 10000"/>
              <a:gd name="connsiteX49" fmla="*/ 3999 w 10000"/>
              <a:gd name="connsiteY49" fmla="*/ 2424 h 10000"/>
              <a:gd name="connsiteX50" fmla="*/ 4600 w 10000"/>
              <a:gd name="connsiteY50" fmla="*/ 2575 h 10000"/>
              <a:gd name="connsiteX51" fmla="*/ 4998 w 10000"/>
              <a:gd name="connsiteY51" fmla="*/ 2728 h 10000"/>
              <a:gd name="connsiteX52" fmla="*/ 5399 w 10000"/>
              <a:gd name="connsiteY52" fmla="*/ 3030 h 10000"/>
              <a:gd name="connsiteX0" fmla="*/ 5399 w 10000"/>
              <a:gd name="connsiteY0" fmla="*/ 2879 h 9849"/>
              <a:gd name="connsiteX1" fmla="*/ 5399 w 10000"/>
              <a:gd name="connsiteY1" fmla="*/ 304 h 9849"/>
              <a:gd name="connsiteX2" fmla="*/ 5599 w 10000"/>
              <a:gd name="connsiteY2" fmla="*/ 0 h 9849"/>
              <a:gd name="connsiteX3" fmla="*/ 8799 w 10000"/>
              <a:gd name="connsiteY3" fmla="*/ 3030 h 9849"/>
              <a:gd name="connsiteX4" fmla="*/ 8799 w 10000"/>
              <a:gd name="connsiteY4" fmla="*/ 3183 h 9849"/>
              <a:gd name="connsiteX5" fmla="*/ 8799 w 10000"/>
              <a:gd name="connsiteY5" fmla="*/ 3636 h 9849"/>
              <a:gd name="connsiteX6" fmla="*/ 8999 w 10000"/>
              <a:gd name="connsiteY6" fmla="*/ 3940 h 9849"/>
              <a:gd name="connsiteX7" fmla="*/ 9199 w 10000"/>
              <a:gd name="connsiteY7" fmla="*/ 4242 h 9849"/>
              <a:gd name="connsiteX8" fmla="*/ 9397 w 10000"/>
              <a:gd name="connsiteY8" fmla="*/ 4395 h 9849"/>
              <a:gd name="connsiteX9" fmla="*/ 9397 w 10000"/>
              <a:gd name="connsiteY9" fmla="*/ 4546 h 9849"/>
              <a:gd name="connsiteX10" fmla="*/ 9798 w 10000"/>
              <a:gd name="connsiteY10" fmla="*/ 4697 h 9849"/>
              <a:gd name="connsiteX11" fmla="*/ 10000 w 10000"/>
              <a:gd name="connsiteY11" fmla="*/ 5001 h 9849"/>
              <a:gd name="connsiteX12" fmla="*/ 10000 w 10000"/>
              <a:gd name="connsiteY12" fmla="*/ 5455 h 9849"/>
              <a:gd name="connsiteX13" fmla="*/ 10000 w 10000"/>
              <a:gd name="connsiteY13" fmla="*/ 5758 h 9849"/>
              <a:gd name="connsiteX14" fmla="*/ 9798 w 10000"/>
              <a:gd name="connsiteY14" fmla="*/ 5909 h 9849"/>
              <a:gd name="connsiteX15" fmla="*/ 9397 w 10000"/>
              <a:gd name="connsiteY15" fmla="*/ 6515 h 9849"/>
              <a:gd name="connsiteX16" fmla="*/ 8999 w 10000"/>
              <a:gd name="connsiteY16" fmla="*/ 6970 h 9849"/>
              <a:gd name="connsiteX17" fmla="*/ 8000 w 10000"/>
              <a:gd name="connsiteY17" fmla="*/ 7576 h 9849"/>
              <a:gd name="connsiteX18" fmla="*/ 6999 w 10000"/>
              <a:gd name="connsiteY18" fmla="*/ 8333 h 9849"/>
              <a:gd name="connsiteX19" fmla="*/ 5599 w 10000"/>
              <a:gd name="connsiteY19" fmla="*/ 8788 h 9849"/>
              <a:gd name="connsiteX20" fmla="*/ 4400 w 10000"/>
              <a:gd name="connsiteY20" fmla="*/ 9243 h 9849"/>
              <a:gd name="connsiteX21" fmla="*/ 2999 w 10000"/>
              <a:gd name="connsiteY21" fmla="*/ 9697 h 9849"/>
              <a:gd name="connsiteX22" fmla="*/ 2199 w 10000"/>
              <a:gd name="connsiteY22" fmla="*/ 9849 h 9849"/>
              <a:gd name="connsiteX23" fmla="*/ 2000 w 10000"/>
              <a:gd name="connsiteY23" fmla="*/ 9849 h 9849"/>
              <a:gd name="connsiteX24" fmla="*/ 1600 w 10000"/>
              <a:gd name="connsiteY24" fmla="*/ 9849 h 9849"/>
              <a:gd name="connsiteX25" fmla="*/ 1199 w 10000"/>
              <a:gd name="connsiteY25" fmla="*/ 9697 h 9849"/>
              <a:gd name="connsiteX26" fmla="*/ 800 w 10000"/>
              <a:gd name="connsiteY26" fmla="*/ 9394 h 9849"/>
              <a:gd name="connsiteX27" fmla="*/ 401 w 10000"/>
              <a:gd name="connsiteY27" fmla="*/ 9243 h 9849"/>
              <a:gd name="connsiteX28" fmla="*/ 0 w 10000"/>
              <a:gd name="connsiteY28" fmla="*/ 8939 h 9849"/>
              <a:gd name="connsiteX29" fmla="*/ 0 w 10000"/>
              <a:gd name="connsiteY29" fmla="*/ 8637 h 9849"/>
              <a:gd name="connsiteX30" fmla="*/ 0 w 10000"/>
              <a:gd name="connsiteY30" fmla="*/ 8333 h 9849"/>
              <a:gd name="connsiteX31" fmla="*/ 0 w 10000"/>
              <a:gd name="connsiteY31" fmla="*/ 7879 h 9849"/>
              <a:gd name="connsiteX32" fmla="*/ 401 w 10000"/>
              <a:gd name="connsiteY32" fmla="*/ 7425 h 9849"/>
              <a:gd name="connsiteX33" fmla="*/ 800 w 10000"/>
              <a:gd name="connsiteY33" fmla="*/ 6970 h 9849"/>
              <a:gd name="connsiteX34" fmla="*/ 1798 w 10000"/>
              <a:gd name="connsiteY34" fmla="*/ 6515 h 9849"/>
              <a:gd name="connsiteX35" fmla="*/ 2199 w 10000"/>
              <a:gd name="connsiteY35" fmla="*/ 5909 h 9849"/>
              <a:gd name="connsiteX36" fmla="*/ 2000 w 10000"/>
              <a:gd name="connsiteY36" fmla="*/ 5455 h 9849"/>
              <a:gd name="connsiteX37" fmla="*/ 1199 w 10000"/>
              <a:gd name="connsiteY37" fmla="*/ 5152 h 9849"/>
              <a:gd name="connsiteX38" fmla="*/ 599 w 10000"/>
              <a:gd name="connsiteY38" fmla="*/ 5001 h 9849"/>
              <a:gd name="connsiteX39" fmla="*/ 0 w 10000"/>
              <a:gd name="connsiteY39" fmla="*/ 4546 h 9849"/>
              <a:gd name="connsiteX40" fmla="*/ 401 w 10000"/>
              <a:gd name="connsiteY40" fmla="*/ 4091 h 9849"/>
              <a:gd name="connsiteX41" fmla="*/ 599 w 10000"/>
              <a:gd name="connsiteY41" fmla="*/ 3789 h 9849"/>
              <a:gd name="connsiteX42" fmla="*/ 599 w 10000"/>
              <a:gd name="connsiteY42" fmla="*/ 3334 h 9849"/>
              <a:gd name="connsiteX43" fmla="*/ 401 w 10000"/>
              <a:gd name="connsiteY43" fmla="*/ 2879 h 9849"/>
              <a:gd name="connsiteX44" fmla="*/ 1199 w 10000"/>
              <a:gd name="connsiteY44" fmla="*/ 2577 h 9849"/>
              <a:gd name="connsiteX45" fmla="*/ 2000 w 10000"/>
              <a:gd name="connsiteY45" fmla="*/ 2424 h 9849"/>
              <a:gd name="connsiteX46" fmla="*/ 2600 w 10000"/>
              <a:gd name="connsiteY46" fmla="*/ 2273 h 9849"/>
              <a:gd name="connsiteX47" fmla="*/ 3399 w 10000"/>
              <a:gd name="connsiteY47" fmla="*/ 2273 h 9849"/>
              <a:gd name="connsiteX48" fmla="*/ 3999 w 10000"/>
              <a:gd name="connsiteY48" fmla="*/ 2273 h 9849"/>
              <a:gd name="connsiteX49" fmla="*/ 4600 w 10000"/>
              <a:gd name="connsiteY49" fmla="*/ 2424 h 9849"/>
              <a:gd name="connsiteX50" fmla="*/ 4998 w 10000"/>
              <a:gd name="connsiteY50" fmla="*/ 2577 h 9849"/>
              <a:gd name="connsiteX51" fmla="*/ 5399 w 10000"/>
              <a:gd name="connsiteY51" fmla="*/ 2879 h 9849"/>
              <a:gd name="connsiteX0" fmla="*/ 5399 w 10000"/>
              <a:gd name="connsiteY0" fmla="*/ 2614 h 9691"/>
              <a:gd name="connsiteX1" fmla="*/ 5399 w 10000"/>
              <a:gd name="connsiteY1" fmla="*/ 0 h 9691"/>
              <a:gd name="connsiteX2" fmla="*/ 8799 w 10000"/>
              <a:gd name="connsiteY2" fmla="*/ 2767 h 9691"/>
              <a:gd name="connsiteX3" fmla="*/ 8799 w 10000"/>
              <a:gd name="connsiteY3" fmla="*/ 2923 h 9691"/>
              <a:gd name="connsiteX4" fmla="*/ 8799 w 10000"/>
              <a:gd name="connsiteY4" fmla="*/ 3383 h 9691"/>
              <a:gd name="connsiteX5" fmla="*/ 8999 w 10000"/>
              <a:gd name="connsiteY5" fmla="*/ 3691 h 9691"/>
              <a:gd name="connsiteX6" fmla="*/ 9199 w 10000"/>
              <a:gd name="connsiteY6" fmla="*/ 3998 h 9691"/>
              <a:gd name="connsiteX7" fmla="*/ 9397 w 10000"/>
              <a:gd name="connsiteY7" fmla="*/ 4153 h 9691"/>
              <a:gd name="connsiteX8" fmla="*/ 9397 w 10000"/>
              <a:gd name="connsiteY8" fmla="*/ 4307 h 9691"/>
              <a:gd name="connsiteX9" fmla="*/ 9798 w 10000"/>
              <a:gd name="connsiteY9" fmla="*/ 4460 h 9691"/>
              <a:gd name="connsiteX10" fmla="*/ 10000 w 10000"/>
              <a:gd name="connsiteY10" fmla="*/ 4769 h 9691"/>
              <a:gd name="connsiteX11" fmla="*/ 10000 w 10000"/>
              <a:gd name="connsiteY11" fmla="*/ 5230 h 9691"/>
              <a:gd name="connsiteX12" fmla="*/ 10000 w 10000"/>
              <a:gd name="connsiteY12" fmla="*/ 5537 h 9691"/>
              <a:gd name="connsiteX13" fmla="*/ 9798 w 10000"/>
              <a:gd name="connsiteY13" fmla="*/ 5691 h 9691"/>
              <a:gd name="connsiteX14" fmla="*/ 9397 w 10000"/>
              <a:gd name="connsiteY14" fmla="*/ 6306 h 9691"/>
              <a:gd name="connsiteX15" fmla="*/ 8999 w 10000"/>
              <a:gd name="connsiteY15" fmla="*/ 6768 h 9691"/>
              <a:gd name="connsiteX16" fmla="*/ 8000 w 10000"/>
              <a:gd name="connsiteY16" fmla="*/ 7383 h 9691"/>
              <a:gd name="connsiteX17" fmla="*/ 6999 w 10000"/>
              <a:gd name="connsiteY17" fmla="*/ 8152 h 9691"/>
              <a:gd name="connsiteX18" fmla="*/ 5599 w 10000"/>
              <a:gd name="connsiteY18" fmla="*/ 8614 h 9691"/>
              <a:gd name="connsiteX19" fmla="*/ 4400 w 10000"/>
              <a:gd name="connsiteY19" fmla="*/ 9076 h 9691"/>
              <a:gd name="connsiteX20" fmla="*/ 2999 w 10000"/>
              <a:gd name="connsiteY20" fmla="*/ 9537 h 9691"/>
              <a:gd name="connsiteX21" fmla="*/ 2199 w 10000"/>
              <a:gd name="connsiteY21" fmla="*/ 9691 h 9691"/>
              <a:gd name="connsiteX22" fmla="*/ 2000 w 10000"/>
              <a:gd name="connsiteY22" fmla="*/ 9691 h 9691"/>
              <a:gd name="connsiteX23" fmla="*/ 1600 w 10000"/>
              <a:gd name="connsiteY23" fmla="*/ 9691 h 9691"/>
              <a:gd name="connsiteX24" fmla="*/ 1199 w 10000"/>
              <a:gd name="connsiteY24" fmla="*/ 9537 h 9691"/>
              <a:gd name="connsiteX25" fmla="*/ 800 w 10000"/>
              <a:gd name="connsiteY25" fmla="*/ 9229 h 9691"/>
              <a:gd name="connsiteX26" fmla="*/ 401 w 10000"/>
              <a:gd name="connsiteY26" fmla="*/ 9076 h 9691"/>
              <a:gd name="connsiteX27" fmla="*/ 0 w 10000"/>
              <a:gd name="connsiteY27" fmla="*/ 8767 h 9691"/>
              <a:gd name="connsiteX28" fmla="*/ 0 w 10000"/>
              <a:gd name="connsiteY28" fmla="*/ 8460 h 9691"/>
              <a:gd name="connsiteX29" fmla="*/ 0 w 10000"/>
              <a:gd name="connsiteY29" fmla="*/ 8152 h 9691"/>
              <a:gd name="connsiteX30" fmla="*/ 0 w 10000"/>
              <a:gd name="connsiteY30" fmla="*/ 7691 h 9691"/>
              <a:gd name="connsiteX31" fmla="*/ 401 w 10000"/>
              <a:gd name="connsiteY31" fmla="*/ 7230 h 9691"/>
              <a:gd name="connsiteX32" fmla="*/ 800 w 10000"/>
              <a:gd name="connsiteY32" fmla="*/ 6768 h 9691"/>
              <a:gd name="connsiteX33" fmla="*/ 1798 w 10000"/>
              <a:gd name="connsiteY33" fmla="*/ 6306 h 9691"/>
              <a:gd name="connsiteX34" fmla="*/ 2199 w 10000"/>
              <a:gd name="connsiteY34" fmla="*/ 5691 h 9691"/>
              <a:gd name="connsiteX35" fmla="*/ 2000 w 10000"/>
              <a:gd name="connsiteY35" fmla="*/ 5230 h 9691"/>
              <a:gd name="connsiteX36" fmla="*/ 1199 w 10000"/>
              <a:gd name="connsiteY36" fmla="*/ 4922 h 9691"/>
              <a:gd name="connsiteX37" fmla="*/ 599 w 10000"/>
              <a:gd name="connsiteY37" fmla="*/ 4769 h 9691"/>
              <a:gd name="connsiteX38" fmla="*/ 0 w 10000"/>
              <a:gd name="connsiteY38" fmla="*/ 4307 h 9691"/>
              <a:gd name="connsiteX39" fmla="*/ 401 w 10000"/>
              <a:gd name="connsiteY39" fmla="*/ 3845 h 9691"/>
              <a:gd name="connsiteX40" fmla="*/ 599 w 10000"/>
              <a:gd name="connsiteY40" fmla="*/ 3538 h 9691"/>
              <a:gd name="connsiteX41" fmla="*/ 599 w 10000"/>
              <a:gd name="connsiteY41" fmla="*/ 3076 h 9691"/>
              <a:gd name="connsiteX42" fmla="*/ 401 w 10000"/>
              <a:gd name="connsiteY42" fmla="*/ 2614 h 9691"/>
              <a:gd name="connsiteX43" fmla="*/ 1199 w 10000"/>
              <a:gd name="connsiteY43" fmla="*/ 2308 h 9691"/>
              <a:gd name="connsiteX44" fmla="*/ 2000 w 10000"/>
              <a:gd name="connsiteY44" fmla="*/ 2152 h 9691"/>
              <a:gd name="connsiteX45" fmla="*/ 2600 w 10000"/>
              <a:gd name="connsiteY45" fmla="*/ 1999 h 9691"/>
              <a:gd name="connsiteX46" fmla="*/ 3399 w 10000"/>
              <a:gd name="connsiteY46" fmla="*/ 1999 h 9691"/>
              <a:gd name="connsiteX47" fmla="*/ 3999 w 10000"/>
              <a:gd name="connsiteY47" fmla="*/ 1999 h 9691"/>
              <a:gd name="connsiteX48" fmla="*/ 4600 w 10000"/>
              <a:gd name="connsiteY48" fmla="*/ 2152 h 9691"/>
              <a:gd name="connsiteX49" fmla="*/ 4998 w 10000"/>
              <a:gd name="connsiteY49" fmla="*/ 2308 h 9691"/>
              <a:gd name="connsiteX50" fmla="*/ 5399 w 10000"/>
              <a:gd name="connsiteY50" fmla="*/ 2614 h 9691"/>
              <a:gd name="connsiteX0" fmla="*/ 5399 w 10000"/>
              <a:gd name="connsiteY0" fmla="*/ 634 h 7937"/>
              <a:gd name="connsiteX1" fmla="*/ 8799 w 10000"/>
              <a:gd name="connsiteY1" fmla="*/ 792 h 7937"/>
              <a:gd name="connsiteX2" fmla="*/ 8799 w 10000"/>
              <a:gd name="connsiteY2" fmla="*/ 953 h 7937"/>
              <a:gd name="connsiteX3" fmla="*/ 8799 w 10000"/>
              <a:gd name="connsiteY3" fmla="*/ 1428 h 7937"/>
              <a:gd name="connsiteX4" fmla="*/ 8999 w 10000"/>
              <a:gd name="connsiteY4" fmla="*/ 1746 h 7937"/>
              <a:gd name="connsiteX5" fmla="*/ 9199 w 10000"/>
              <a:gd name="connsiteY5" fmla="*/ 2062 h 7937"/>
              <a:gd name="connsiteX6" fmla="*/ 9397 w 10000"/>
              <a:gd name="connsiteY6" fmla="*/ 2222 h 7937"/>
              <a:gd name="connsiteX7" fmla="*/ 9397 w 10000"/>
              <a:gd name="connsiteY7" fmla="*/ 2381 h 7937"/>
              <a:gd name="connsiteX8" fmla="*/ 9798 w 10000"/>
              <a:gd name="connsiteY8" fmla="*/ 2539 h 7937"/>
              <a:gd name="connsiteX9" fmla="*/ 10000 w 10000"/>
              <a:gd name="connsiteY9" fmla="*/ 2858 h 7937"/>
              <a:gd name="connsiteX10" fmla="*/ 10000 w 10000"/>
              <a:gd name="connsiteY10" fmla="*/ 3334 h 7937"/>
              <a:gd name="connsiteX11" fmla="*/ 10000 w 10000"/>
              <a:gd name="connsiteY11" fmla="*/ 3651 h 7937"/>
              <a:gd name="connsiteX12" fmla="*/ 9798 w 10000"/>
              <a:gd name="connsiteY12" fmla="*/ 3809 h 7937"/>
              <a:gd name="connsiteX13" fmla="*/ 9397 w 10000"/>
              <a:gd name="connsiteY13" fmla="*/ 4444 h 7937"/>
              <a:gd name="connsiteX14" fmla="*/ 8999 w 10000"/>
              <a:gd name="connsiteY14" fmla="*/ 4921 h 7937"/>
              <a:gd name="connsiteX15" fmla="*/ 8000 w 10000"/>
              <a:gd name="connsiteY15" fmla="*/ 5555 h 7937"/>
              <a:gd name="connsiteX16" fmla="*/ 6999 w 10000"/>
              <a:gd name="connsiteY16" fmla="*/ 6349 h 7937"/>
              <a:gd name="connsiteX17" fmla="*/ 5599 w 10000"/>
              <a:gd name="connsiteY17" fmla="*/ 6826 h 7937"/>
              <a:gd name="connsiteX18" fmla="*/ 4400 w 10000"/>
              <a:gd name="connsiteY18" fmla="*/ 7302 h 7937"/>
              <a:gd name="connsiteX19" fmla="*/ 2999 w 10000"/>
              <a:gd name="connsiteY19" fmla="*/ 7778 h 7937"/>
              <a:gd name="connsiteX20" fmla="*/ 2199 w 10000"/>
              <a:gd name="connsiteY20" fmla="*/ 7937 h 7937"/>
              <a:gd name="connsiteX21" fmla="*/ 2000 w 10000"/>
              <a:gd name="connsiteY21" fmla="*/ 7937 h 7937"/>
              <a:gd name="connsiteX22" fmla="*/ 1600 w 10000"/>
              <a:gd name="connsiteY22" fmla="*/ 7937 h 7937"/>
              <a:gd name="connsiteX23" fmla="*/ 1199 w 10000"/>
              <a:gd name="connsiteY23" fmla="*/ 7778 h 7937"/>
              <a:gd name="connsiteX24" fmla="*/ 800 w 10000"/>
              <a:gd name="connsiteY24" fmla="*/ 7460 h 7937"/>
              <a:gd name="connsiteX25" fmla="*/ 401 w 10000"/>
              <a:gd name="connsiteY25" fmla="*/ 7302 h 7937"/>
              <a:gd name="connsiteX26" fmla="*/ 0 w 10000"/>
              <a:gd name="connsiteY26" fmla="*/ 6984 h 7937"/>
              <a:gd name="connsiteX27" fmla="*/ 0 w 10000"/>
              <a:gd name="connsiteY27" fmla="*/ 6667 h 7937"/>
              <a:gd name="connsiteX28" fmla="*/ 0 w 10000"/>
              <a:gd name="connsiteY28" fmla="*/ 6349 h 7937"/>
              <a:gd name="connsiteX29" fmla="*/ 0 w 10000"/>
              <a:gd name="connsiteY29" fmla="*/ 5873 h 7937"/>
              <a:gd name="connsiteX30" fmla="*/ 401 w 10000"/>
              <a:gd name="connsiteY30" fmla="*/ 5398 h 7937"/>
              <a:gd name="connsiteX31" fmla="*/ 800 w 10000"/>
              <a:gd name="connsiteY31" fmla="*/ 4921 h 7937"/>
              <a:gd name="connsiteX32" fmla="*/ 1798 w 10000"/>
              <a:gd name="connsiteY32" fmla="*/ 4444 h 7937"/>
              <a:gd name="connsiteX33" fmla="*/ 2199 w 10000"/>
              <a:gd name="connsiteY33" fmla="*/ 3809 h 7937"/>
              <a:gd name="connsiteX34" fmla="*/ 2000 w 10000"/>
              <a:gd name="connsiteY34" fmla="*/ 3334 h 7937"/>
              <a:gd name="connsiteX35" fmla="*/ 1199 w 10000"/>
              <a:gd name="connsiteY35" fmla="*/ 3016 h 7937"/>
              <a:gd name="connsiteX36" fmla="*/ 599 w 10000"/>
              <a:gd name="connsiteY36" fmla="*/ 2858 h 7937"/>
              <a:gd name="connsiteX37" fmla="*/ 0 w 10000"/>
              <a:gd name="connsiteY37" fmla="*/ 2381 h 7937"/>
              <a:gd name="connsiteX38" fmla="*/ 401 w 10000"/>
              <a:gd name="connsiteY38" fmla="*/ 1905 h 7937"/>
              <a:gd name="connsiteX39" fmla="*/ 599 w 10000"/>
              <a:gd name="connsiteY39" fmla="*/ 1588 h 7937"/>
              <a:gd name="connsiteX40" fmla="*/ 599 w 10000"/>
              <a:gd name="connsiteY40" fmla="*/ 1111 h 7937"/>
              <a:gd name="connsiteX41" fmla="*/ 401 w 10000"/>
              <a:gd name="connsiteY41" fmla="*/ 634 h 7937"/>
              <a:gd name="connsiteX42" fmla="*/ 1199 w 10000"/>
              <a:gd name="connsiteY42" fmla="*/ 319 h 7937"/>
              <a:gd name="connsiteX43" fmla="*/ 2000 w 10000"/>
              <a:gd name="connsiteY43" fmla="*/ 158 h 7937"/>
              <a:gd name="connsiteX44" fmla="*/ 2600 w 10000"/>
              <a:gd name="connsiteY44" fmla="*/ 0 h 7937"/>
              <a:gd name="connsiteX45" fmla="*/ 3399 w 10000"/>
              <a:gd name="connsiteY45" fmla="*/ 0 h 7937"/>
              <a:gd name="connsiteX46" fmla="*/ 3999 w 10000"/>
              <a:gd name="connsiteY46" fmla="*/ 0 h 7937"/>
              <a:gd name="connsiteX47" fmla="*/ 4600 w 10000"/>
              <a:gd name="connsiteY47" fmla="*/ 158 h 7937"/>
              <a:gd name="connsiteX48" fmla="*/ 4998 w 10000"/>
              <a:gd name="connsiteY48" fmla="*/ 319 h 7937"/>
              <a:gd name="connsiteX49" fmla="*/ 5399 w 10000"/>
              <a:gd name="connsiteY49" fmla="*/ 634 h 7937"/>
              <a:gd name="connsiteX0" fmla="*/ 5399 w 10000"/>
              <a:gd name="connsiteY0" fmla="*/ 799 h 10000"/>
              <a:gd name="connsiteX1" fmla="*/ 8799 w 10000"/>
              <a:gd name="connsiteY1" fmla="*/ 1201 h 10000"/>
              <a:gd name="connsiteX2" fmla="*/ 8799 w 10000"/>
              <a:gd name="connsiteY2" fmla="*/ 1799 h 10000"/>
              <a:gd name="connsiteX3" fmla="*/ 8999 w 10000"/>
              <a:gd name="connsiteY3" fmla="*/ 2200 h 10000"/>
              <a:gd name="connsiteX4" fmla="*/ 9199 w 10000"/>
              <a:gd name="connsiteY4" fmla="*/ 2598 h 10000"/>
              <a:gd name="connsiteX5" fmla="*/ 9397 w 10000"/>
              <a:gd name="connsiteY5" fmla="*/ 2800 h 10000"/>
              <a:gd name="connsiteX6" fmla="*/ 9397 w 10000"/>
              <a:gd name="connsiteY6" fmla="*/ 3000 h 10000"/>
              <a:gd name="connsiteX7" fmla="*/ 9798 w 10000"/>
              <a:gd name="connsiteY7" fmla="*/ 3199 h 10000"/>
              <a:gd name="connsiteX8" fmla="*/ 10000 w 10000"/>
              <a:gd name="connsiteY8" fmla="*/ 3601 h 10000"/>
              <a:gd name="connsiteX9" fmla="*/ 10000 w 10000"/>
              <a:gd name="connsiteY9" fmla="*/ 4201 h 10000"/>
              <a:gd name="connsiteX10" fmla="*/ 10000 w 10000"/>
              <a:gd name="connsiteY10" fmla="*/ 4600 h 10000"/>
              <a:gd name="connsiteX11" fmla="*/ 9798 w 10000"/>
              <a:gd name="connsiteY11" fmla="*/ 4799 h 10000"/>
              <a:gd name="connsiteX12" fmla="*/ 9397 w 10000"/>
              <a:gd name="connsiteY12" fmla="*/ 5599 h 10000"/>
              <a:gd name="connsiteX13" fmla="*/ 8999 w 10000"/>
              <a:gd name="connsiteY13" fmla="*/ 6200 h 10000"/>
              <a:gd name="connsiteX14" fmla="*/ 8000 w 10000"/>
              <a:gd name="connsiteY14" fmla="*/ 6999 h 10000"/>
              <a:gd name="connsiteX15" fmla="*/ 6999 w 10000"/>
              <a:gd name="connsiteY15" fmla="*/ 7999 h 10000"/>
              <a:gd name="connsiteX16" fmla="*/ 5599 w 10000"/>
              <a:gd name="connsiteY16" fmla="*/ 8600 h 10000"/>
              <a:gd name="connsiteX17" fmla="*/ 4400 w 10000"/>
              <a:gd name="connsiteY17" fmla="*/ 9200 h 10000"/>
              <a:gd name="connsiteX18" fmla="*/ 2999 w 10000"/>
              <a:gd name="connsiteY18" fmla="*/ 9800 h 10000"/>
              <a:gd name="connsiteX19" fmla="*/ 2199 w 10000"/>
              <a:gd name="connsiteY19" fmla="*/ 10000 h 10000"/>
              <a:gd name="connsiteX20" fmla="*/ 2000 w 10000"/>
              <a:gd name="connsiteY20" fmla="*/ 10000 h 10000"/>
              <a:gd name="connsiteX21" fmla="*/ 1600 w 10000"/>
              <a:gd name="connsiteY21" fmla="*/ 10000 h 10000"/>
              <a:gd name="connsiteX22" fmla="*/ 1199 w 10000"/>
              <a:gd name="connsiteY22" fmla="*/ 9800 h 10000"/>
              <a:gd name="connsiteX23" fmla="*/ 800 w 10000"/>
              <a:gd name="connsiteY23" fmla="*/ 9399 h 10000"/>
              <a:gd name="connsiteX24" fmla="*/ 401 w 10000"/>
              <a:gd name="connsiteY24" fmla="*/ 9200 h 10000"/>
              <a:gd name="connsiteX25" fmla="*/ 0 w 10000"/>
              <a:gd name="connsiteY25" fmla="*/ 8799 h 10000"/>
              <a:gd name="connsiteX26" fmla="*/ 0 w 10000"/>
              <a:gd name="connsiteY26" fmla="*/ 8400 h 10000"/>
              <a:gd name="connsiteX27" fmla="*/ 0 w 10000"/>
              <a:gd name="connsiteY27" fmla="*/ 7999 h 10000"/>
              <a:gd name="connsiteX28" fmla="*/ 0 w 10000"/>
              <a:gd name="connsiteY28" fmla="*/ 7400 h 10000"/>
              <a:gd name="connsiteX29" fmla="*/ 401 w 10000"/>
              <a:gd name="connsiteY29" fmla="*/ 6801 h 10000"/>
              <a:gd name="connsiteX30" fmla="*/ 800 w 10000"/>
              <a:gd name="connsiteY30" fmla="*/ 6200 h 10000"/>
              <a:gd name="connsiteX31" fmla="*/ 1798 w 10000"/>
              <a:gd name="connsiteY31" fmla="*/ 5599 h 10000"/>
              <a:gd name="connsiteX32" fmla="*/ 2199 w 10000"/>
              <a:gd name="connsiteY32" fmla="*/ 4799 h 10000"/>
              <a:gd name="connsiteX33" fmla="*/ 2000 w 10000"/>
              <a:gd name="connsiteY33" fmla="*/ 4201 h 10000"/>
              <a:gd name="connsiteX34" fmla="*/ 1199 w 10000"/>
              <a:gd name="connsiteY34" fmla="*/ 3800 h 10000"/>
              <a:gd name="connsiteX35" fmla="*/ 599 w 10000"/>
              <a:gd name="connsiteY35" fmla="*/ 3601 h 10000"/>
              <a:gd name="connsiteX36" fmla="*/ 0 w 10000"/>
              <a:gd name="connsiteY36" fmla="*/ 3000 h 10000"/>
              <a:gd name="connsiteX37" fmla="*/ 401 w 10000"/>
              <a:gd name="connsiteY37" fmla="*/ 2400 h 10000"/>
              <a:gd name="connsiteX38" fmla="*/ 599 w 10000"/>
              <a:gd name="connsiteY38" fmla="*/ 2001 h 10000"/>
              <a:gd name="connsiteX39" fmla="*/ 599 w 10000"/>
              <a:gd name="connsiteY39" fmla="*/ 1400 h 10000"/>
              <a:gd name="connsiteX40" fmla="*/ 401 w 10000"/>
              <a:gd name="connsiteY40" fmla="*/ 799 h 10000"/>
              <a:gd name="connsiteX41" fmla="*/ 1199 w 10000"/>
              <a:gd name="connsiteY41" fmla="*/ 402 h 10000"/>
              <a:gd name="connsiteX42" fmla="*/ 2000 w 10000"/>
              <a:gd name="connsiteY42" fmla="*/ 199 h 10000"/>
              <a:gd name="connsiteX43" fmla="*/ 2600 w 10000"/>
              <a:gd name="connsiteY43" fmla="*/ 0 h 10000"/>
              <a:gd name="connsiteX44" fmla="*/ 3399 w 10000"/>
              <a:gd name="connsiteY44" fmla="*/ 0 h 10000"/>
              <a:gd name="connsiteX45" fmla="*/ 3999 w 10000"/>
              <a:gd name="connsiteY45" fmla="*/ 0 h 10000"/>
              <a:gd name="connsiteX46" fmla="*/ 4600 w 10000"/>
              <a:gd name="connsiteY46" fmla="*/ 199 h 10000"/>
              <a:gd name="connsiteX47" fmla="*/ 4998 w 10000"/>
              <a:gd name="connsiteY47" fmla="*/ 402 h 10000"/>
              <a:gd name="connsiteX48" fmla="*/ 5399 w 10000"/>
              <a:gd name="connsiteY48" fmla="*/ 799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0000" h="10000">
                <a:moveTo>
                  <a:pt x="5399" y="799"/>
                </a:moveTo>
                <a:lnTo>
                  <a:pt x="8799" y="1201"/>
                </a:lnTo>
                <a:lnTo>
                  <a:pt x="8799" y="1799"/>
                </a:lnTo>
                <a:cubicBezTo>
                  <a:pt x="8866" y="1931"/>
                  <a:pt x="8932" y="2066"/>
                  <a:pt x="8999" y="2200"/>
                </a:cubicBezTo>
                <a:cubicBezTo>
                  <a:pt x="9066" y="2332"/>
                  <a:pt x="9132" y="2467"/>
                  <a:pt x="9199" y="2598"/>
                </a:cubicBezTo>
                <a:lnTo>
                  <a:pt x="9397" y="2800"/>
                </a:lnTo>
                <a:lnTo>
                  <a:pt x="9397" y="3000"/>
                </a:lnTo>
                <a:lnTo>
                  <a:pt x="9798" y="3199"/>
                </a:lnTo>
                <a:lnTo>
                  <a:pt x="10000" y="3601"/>
                </a:lnTo>
                <a:lnTo>
                  <a:pt x="10000" y="4201"/>
                </a:lnTo>
                <a:lnTo>
                  <a:pt x="10000" y="4600"/>
                </a:lnTo>
                <a:lnTo>
                  <a:pt x="9798" y="4799"/>
                </a:lnTo>
                <a:lnTo>
                  <a:pt x="9397" y="5599"/>
                </a:lnTo>
                <a:lnTo>
                  <a:pt x="8999" y="6200"/>
                </a:lnTo>
                <a:lnTo>
                  <a:pt x="8000" y="6999"/>
                </a:lnTo>
                <a:lnTo>
                  <a:pt x="6999" y="7999"/>
                </a:lnTo>
                <a:lnTo>
                  <a:pt x="5599" y="8600"/>
                </a:lnTo>
                <a:lnTo>
                  <a:pt x="4400" y="9200"/>
                </a:lnTo>
                <a:lnTo>
                  <a:pt x="2999" y="9800"/>
                </a:lnTo>
                <a:lnTo>
                  <a:pt x="2199" y="10000"/>
                </a:lnTo>
                <a:lnTo>
                  <a:pt x="2000" y="10000"/>
                </a:lnTo>
                <a:lnTo>
                  <a:pt x="1600" y="10000"/>
                </a:lnTo>
                <a:lnTo>
                  <a:pt x="1199" y="9800"/>
                </a:lnTo>
                <a:lnTo>
                  <a:pt x="800" y="9399"/>
                </a:lnTo>
                <a:lnTo>
                  <a:pt x="401" y="9200"/>
                </a:lnTo>
                <a:lnTo>
                  <a:pt x="0" y="8799"/>
                </a:lnTo>
                <a:lnTo>
                  <a:pt x="0" y="8400"/>
                </a:lnTo>
                <a:lnTo>
                  <a:pt x="0" y="7999"/>
                </a:lnTo>
                <a:lnTo>
                  <a:pt x="0" y="7400"/>
                </a:lnTo>
                <a:lnTo>
                  <a:pt x="401" y="6801"/>
                </a:lnTo>
                <a:lnTo>
                  <a:pt x="800" y="6200"/>
                </a:lnTo>
                <a:lnTo>
                  <a:pt x="1798" y="5599"/>
                </a:lnTo>
                <a:lnTo>
                  <a:pt x="2199" y="4799"/>
                </a:lnTo>
                <a:cubicBezTo>
                  <a:pt x="2133" y="4600"/>
                  <a:pt x="2066" y="4401"/>
                  <a:pt x="2000" y="4201"/>
                </a:cubicBezTo>
                <a:lnTo>
                  <a:pt x="1199" y="3800"/>
                </a:lnTo>
                <a:lnTo>
                  <a:pt x="599" y="3601"/>
                </a:lnTo>
                <a:lnTo>
                  <a:pt x="0" y="3000"/>
                </a:lnTo>
                <a:lnTo>
                  <a:pt x="401" y="2400"/>
                </a:lnTo>
                <a:cubicBezTo>
                  <a:pt x="466" y="2265"/>
                  <a:pt x="533" y="2134"/>
                  <a:pt x="599" y="2001"/>
                </a:cubicBezTo>
                <a:lnTo>
                  <a:pt x="599" y="1400"/>
                </a:lnTo>
                <a:cubicBezTo>
                  <a:pt x="533" y="1199"/>
                  <a:pt x="466" y="999"/>
                  <a:pt x="401" y="799"/>
                </a:cubicBezTo>
                <a:lnTo>
                  <a:pt x="1199" y="402"/>
                </a:lnTo>
                <a:lnTo>
                  <a:pt x="2000" y="199"/>
                </a:lnTo>
                <a:lnTo>
                  <a:pt x="2600" y="0"/>
                </a:lnTo>
                <a:lnTo>
                  <a:pt x="3399" y="0"/>
                </a:lnTo>
                <a:lnTo>
                  <a:pt x="3999" y="0"/>
                </a:lnTo>
                <a:lnTo>
                  <a:pt x="4600" y="199"/>
                </a:lnTo>
                <a:lnTo>
                  <a:pt x="4998" y="402"/>
                </a:lnTo>
                <a:lnTo>
                  <a:pt x="5399" y="799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70" name="Freeform 210">
            <a:extLst>
              <a:ext uri="{FF2B5EF4-FFF2-40B4-BE49-F238E27FC236}">
                <a16:creationId xmlns:a16="http://schemas.microsoft.com/office/drawing/2014/main" id="{D5B15EC1-169F-E04D-EAC6-38607877062E}"/>
              </a:ext>
            </a:extLst>
          </p:cNvPr>
          <p:cNvSpPr>
            <a:spLocks/>
          </p:cNvSpPr>
          <p:nvPr/>
        </p:nvSpPr>
        <p:spPr bwMode="auto">
          <a:xfrm>
            <a:off x="5981532" y="3109751"/>
            <a:ext cx="42405" cy="30702"/>
          </a:xfrm>
          <a:custGeom>
            <a:avLst/>
            <a:gdLst>
              <a:gd name="T0" fmla="*/ 27 w 55"/>
              <a:gd name="T1" fmla="*/ 3 h 67"/>
              <a:gd name="T2" fmla="*/ 31 w 55"/>
              <a:gd name="T3" fmla="*/ 0 h 67"/>
              <a:gd name="T4" fmla="*/ 40 w 55"/>
              <a:gd name="T5" fmla="*/ 0 h 67"/>
              <a:gd name="T6" fmla="*/ 47 w 55"/>
              <a:gd name="T7" fmla="*/ 0 h 67"/>
              <a:gd name="T8" fmla="*/ 51 w 55"/>
              <a:gd name="T9" fmla="*/ 0 h 67"/>
              <a:gd name="T10" fmla="*/ 54 w 55"/>
              <a:gd name="T11" fmla="*/ 4 h 67"/>
              <a:gd name="T12" fmla="*/ 54 w 55"/>
              <a:gd name="T13" fmla="*/ 9 h 67"/>
              <a:gd name="T14" fmla="*/ 50 w 55"/>
              <a:gd name="T15" fmla="*/ 15 h 67"/>
              <a:gd name="T16" fmla="*/ 45 w 55"/>
              <a:gd name="T17" fmla="*/ 18 h 67"/>
              <a:gd name="T18" fmla="*/ 44 w 55"/>
              <a:gd name="T19" fmla="*/ 22 h 67"/>
              <a:gd name="T20" fmla="*/ 45 w 55"/>
              <a:gd name="T21" fmla="*/ 27 h 67"/>
              <a:gd name="T22" fmla="*/ 47 w 55"/>
              <a:gd name="T23" fmla="*/ 30 h 67"/>
              <a:gd name="T24" fmla="*/ 49 w 55"/>
              <a:gd name="T25" fmla="*/ 32 h 67"/>
              <a:gd name="T26" fmla="*/ 50 w 55"/>
              <a:gd name="T27" fmla="*/ 37 h 67"/>
              <a:gd name="T28" fmla="*/ 49 w 55"/>
              <a:gd name="T29" fmla="*/ 40 h 67"/>
              <a:gd name="T30" fmla="*/ 45 w 55"/>
              <a:gd name="T31" fmla="*/ 47 h 67"/>
              <a:gd name="T32" fmla="*/ 35 w 55"/>
              <a:gd name="T33" fmla="*/ 56 h 67"/>
              <a:gd name="T34" fmla="*/ 22 w 55"/>
              <a:gd name="T35" fmla="*/ 62 h 67"/>
              <a:gd name="T36" fmla="*/ 11 w 55"/>
              <a:gd name="T37" fmla="*/ 66 h 67"/>
              <a:gd name="T38" fmla="*/ 8 w 55"/>
              <a:gd name="T39" fmla="*/ 66 h 67"/>
              <a:gd name="T40" fmla="*/ 4 w 55"/>
              <a:gd name="T41" fmla="*/ 63 h 67"/>
              <a:gd name="T42" fmla="*/ 0 w 55"/>
              <a:gd name="T43" fmla="*/ 60 h 67"/>
              <a:gd name="T44" fmla="*/ 0 w 55"/>
              <a:gd name="T45" fmla="*/ 56 h 67"/>
              <a:gd name="T46" fmla="*/ 2 w 55"/>
              <a:gd name="T47" fmla="*/ 50 h 67"/>
              <a:gd name="T48" fmla="*/ 9 w 55"/>
              <a:gd name="T49" fmla="*/ 44 h 67"/>
              <a:gd name="T50" fmla="*/ 10 w 55"/>
              <a:gd name="T51" fmla="*/ 37 h 67"/>
              <a:gd name="T52" fmla="*/ 3 w 55"/>
              <a:gd name="T53" fmla="*/ 34 h 67"/>
              <a:gd name="T54" fmla="*/ 2 w 55"/>
              <a:gd name="T55" fmla="*/ 28 h 67"/>
              <a:gd name="T56" fmla="*/ 3 w 55"/>
              <a:gd name="T57" fmla="*/ 23 h 67"/>
              <a:gd name="T58" fmla="*/ 6 w 55"/>
              <a:gd name="T59" fmla="*/ 18 h 67"/>
              <a:gd name="T60" fmla="*/ 13 w 55"/>
              <a:gd name="T61" fmla="*/ 16 h 67"/>
              <a:gd name="T62" fmla="*/ 20 w 55"/>
              <a:gd name="T63" fmla="*/ 16 h 67"/>
              <a:gd name="T64" fmla="*/ 25 w 55"/>
              <a:gd name="T65" fmla="*/ 18 h 67"/>
              <a:gd name="connsiteX0" fmla="*/ 4909 w 9818"/>
              <a:gd name="connsiteY0" fmla="*/ 2985 h 9851"/>
              <a:gd name="connsiteX1" fmla="*/ 4909 w 9818"/>
              <a:gd name="connsiteY1" fmla="*/ 448 h 9851"/>
              <a:gd name="connsiteX2" fmla="*/ 5091 w 9818"/>
              <a:gd name="connsiteY2" fmla="*/ 149 h 9851"/>
              <a:gd name="connsiteX3" fmla="*/ 5636 w 9818"/>
              <a:gd name="connsiteY3" fmla="*/ 0 h 9851"/>
              <a:gd name="connsiteX4" fmla="*/ 6364 w 9818"/>
              <a:gd name="connsiteY4" fmla="*/ 0 h 9851"/>
              <a:gd name="connsiteX5" fmla="*/ 7273 w 9818"/>
              <a:gd name="connsiteY5" fmla="*/ 0 h 9851"/>
              <a:gd name="connsiteX6" fmla="*/ 8182 w 9818"/>
              <a:gd name="connsiteY6" fmla="*/ 0 h 9851"/>
              <a:gd name="connsiteX7" fmla="*/ 8545 w 9818"/>
              <a:gd name="connsiteY7" fmla="*/ 0 h 9851"/>
              <a:gd name="connsiteX8" fmla="*/ 9091 w 9818"/>
              <a:gd name="connsiteY8" fmla="*/ 0 h 9851"/>
              <a:gd name="connsiteX9" fmla="*/ 9273 w 9818"/>
              <a:gd name="connsiteY9" fmla="*/ 0 h 9851"/>
              <a:gd name="connsiteX10" fmla="*/ 9636 w 9818"/>
              <a:gd name="connsiteY10" fmla="*/ 448 h 9851"/>
              <a:gd name="connsiteX11" fmla="*/ 9818 w 9818"/>
              <a:gd name="connsiteY11" fmla="*/ 597 h 9851"/>
              <a:gd name="connsiteX12" fmla="*/ 9818 w 9818"/>
              <a:gd name="connsiteY12" fmla="*/ 896 h 9851"/>
              <a:gd name="connsiteX13" fmla="*/ 9818 w 9818"/>
              <a:gd name="connsiteY13" fmla="*/ 1343 h 9851"/>
              <a:gd name="connsiteX14" fmla="*/ 9636 w 9818"/>
              <a:gd name="connsiteY14" fmla="*/ 1791 h 9851"/>
              <a:gd name="connsiteX15" fmla="*/ 9091 w 9818"/>
              <a:gd name="connsiteY15" fmla="*/ 2239 h 9851"/>
              <a:gd name="connsiteX16" fmla="*/ 8909 w 9818"/>
              <a:gd name="connsiteY16" fmla="*/ 2388 h 9851"/>
              <a:gd name="connsiteX17" fmla="*/ 8182 w 9818"/>
              <a:gd name="connsiteY17" fmla="*/ 2687 h 9851"/>
              <a:gd name="connsiteX18" fmla="*/ 8000 w 9818"/>
              <a:gd name="connsiteY18" fmla="*/ 3134 h 9851"/>
              <a:gd name="connsiteX19" fmla="*/ 8000 w 9818"/>
              <a:gd name="connsiteY19" fmla="*/ 3284 h 9851"/>
              <a:gd name="connsiteX20" fmla="*/ 8000 w 9818"/>
              <a:gd name="connsiteY20" fmla="*/ 3731 h 9851"/>
              <a:gd name="connsiteX21" fmla="*/ 8182 w 9818"/>
              <a:gd name="connsiteY21" fmla="*/ 4030 h 9851"/>
              <a:gd name="connsiteX22" fmla="*/ 8364 w 9818"/>
              <a:gd name="connsiteY22" fmla="*/ 4328 h 9851"/>
              <a:gd name="connsiteX23" fmla="*/ 8545 w 9818"/>
              <a:gd name="connsiteY23" fmla="*/ 4478 h 9851"/>
              <a:gd name="connsiteX24" fmla="*/ 8545 w 9818"/>
              <a:gd name="connsiteY24" fmla="*/ 4627 h 9851"/>
              <a:gd name="connsiteX25" fmla="*/ 8909 w 9818"/>
              <a:gd name="connsiteY25" fmla="*/ 4776 h 9851"/>
              <a:gd name="connsiteX26" fmla="*/ 9091 w 9818"/>
              <a:gd name="connsiteY26" fmla="*/ 5075 h 9851"/>
              <a:gd name="connsiteX27" fmla="*/ 9091 w 9818"/>
              <a:gd name="connsiteY27" fmla="*/ 5522 h 9851"/>
              <a:gd name="connsiteX28" fmla="*/ 9091 w 9818"/>
              <a:gd name="connsiteY28" fmla="*/ 5821 h 9851"/>
              <a:gd name="connsiteX29" fmla="*/ 8909 w 9818"/>
              <a:gd name="connsiteY29" fmla="*/ 5970 h 9851"/>
              <a:gd name="connsiteX30" fmla="*/ 8545 w 9818"/>
              <a:gd name="connsiteY30" fmla="*/ 6567 h 9851"/>
              <a:gd name="connsiteX31" fmla="*/ 8182 w 9818"/>
              <a:gd name="connsiteY31" fmla="*/ 7015 h 9851"/>
              <a:gd name="connsiteX32" fmla="*/ 7273 w 9818"/>
              <a:gd name="connsiteY32" fmla="*/ 7612 h 9851"/>
              <a:gd name="connsiteX33" fmla="*/ 6364 w 9818"/>
              <a:gd name="connsiteY33" fmla="*/ 8358 h 9851"/>
              <a:gd name="connsiteX34" fmla="*/ 4000 w 9818"/>
              <a:gd name="connsiteY34" fmla="*/ 9254 h 9851"/>
              <a:gd name="connsiteX35" fmla="*/ 2727 w 9818"/>
              <a:gd name="connsiteY35" fmla="*/ 9701 h 9851"/>
              <a:gd name="connsiteX36" fmla="*/ 2000 w 9818"/>
              <a:gd name="connsiteY36" fmla="*/ 9851 h 9851"/>
              <a:gd name="connsiteX37" fmla="*/ 1818 w 9818"/>
              <a:gd name="connsiteY37" fmla="*/ 9851 h 9851"/>
              <a:gd name="connsiteX38" fmla="*/ 1455 w 9818"/>
              <a:gd name="connsiteY38" fmla="*/ 9851 h 9851"/>
              <a:gd name="connsiteX39" fmla="*/ 1091 w 9818"/>
              <a:gd name="connsiteY39" fmla="*/ 9701 h 9851"/>
              <a:gd name="connsiteX40" fmla="*/ 727 w 9818"/>
              <a:gd name="connsiteY40" fmla="*/ 9403 h 9851"/>
              <a:gd name="connsiteX41" fmla="*/ 364 w 9818"/>
              <a:gd name="connsiteY41" fmla="*/ 9254 h 9851"/>
              <a:gd name="connsiteX42" fmla="*/ 0 w 9818"/>
              <a:gd name="connsiteY42" fmla="*/ 8955 h 9851"/>
              <a:gd name="connsiteX43" fmla="*/ 0 w 9818"/>
              <a:gd name="connsiteY43" fmla="*/ 8657 h 9851"/>
              <a:gd name="connsiteX44" fmla="*/ 0 w 9818"/>
              <a:gd name="connsiteY44" fmla="*/ 8358 h 9851"/>
              <a:gd name="connsiteX45" fmla="*/ 0 w 9818"/>
              <a:gd name="connsiteY45" fmla="*/ 7910 h 9851"/>
              <a:gd name="connsiteX46" fmla="*/ 364 w 9818"/>
              <a:gd name="connsiteY46" fmla="*/ 7463 h 9851"/>
              <a:gd name="connsiteX47" fmla="*/ 727 w 9818"/>
              <a:gd name="connsiteY47" fmla="*/ 7015 h 9851"/>
              <a:gd name="connsiteX48" fmla="*/ 1636 w 9818"/>
              <a:gd name="connsiteY48" fmla="*/ 6567 h 9851"/>
              <a:gd name="connsiteX49" fmla="*/ 2000 w 9818"/>
              <a:gd name="connsiteY49" fmla="*/ 5970 h 9851"/>
              <a:gd name="connsiteX50" fmla="*/ 1818 w 9818"/>
              <a:gd name="connsiteY50" fmla="*/ 5522 h 9851"/>
              <a:gd name="connsiteX51" fmla="*/ 1091 w 9818"/>
              <a:gd name="connsiteY51" fmla="*/ 5224 h 9851"/>
              <a:gd name="connsiteX52" fmla="*/ 545 w 9818"/>
              <a:gd name="connsiteY52" fmla="*/ 5075 h 9851"/>
              <a:gd name="connsiteX53" fmla="*/ 0 w 9818"/>
              <a:gd name="connsiteY53" fmla="*/ 4627 h 9851"/>
              <a:gd name="connsiteX54" fmla="*/ 364 w 9818"/>
              <a:gd name="connsiteY54" fmla="*/ 4179 h 9851"/>
              <a:gd name="connsiteX55" fmla="*/ 545 w 9818"/>
              <a:gd name="connsiteY55" fmla="*/ 3881 h 9851"/>
              <a:gd name="connsiteX56" fmla="*/ 545 w 9818"/>
              <a:gd name="connsiteY56" fmla="*/ 3433 h 9851"/>
              <a:gd name="connsiteX57" fmla="*/ 364 w 9818"/>
              <a:gd name="connsiteY57" fmla="*/ 2985 h 9851"/>
              <a:gd name="connsiteX58" fmla="*/ 1091 w 9818"/>
              <a:gd name="connsiteY58" fmla="*/ 2687 h 9851"/>
              <a:gd name="connsiteX59" fmla="*/ 1818 w 9818"/>
              <a:gd name="connsiteY59" fmla="*/ 2537 h 9851"/>
              <a:gd name="connsiteX60" fmla="*/ 2364 w 9818"/>
              <a:gd name="connsiteY60" fmla="*/ 2388 h 9851"/>
              <a:gd name="connsiteX61" fmla="*/ 3091 w 9818"/>
              <a:gd name="connsiteY61" fmla="*/ 2388 h 9851"/>
              <a:gd name="connsiteX62" fmla="*/ 3636 w 9818"/>
              <a:gd name="connsiteY62" fmla="*/ 2388 h 9851"/>
              <a:gd name="connsiteX63" fmla="*/ 4182 w 9818"/>
              <a:gd name="connsiteY63" fmla="*/ 2537 h 9851"/>
              <a:gd name="connsiteX64" fmla="*/ 4545 w 9818"/>
              <a:gd name="connsiteY64" fmla="*/ 2687 h 9851"/>
              <a:gd name="connsiteX65" fmla="*/ 4909 w 9818"/>
              <a:gd name="connsiteY65" fmla="*/ 2985 h 9851"/>
              <a:gd name="connsiteX0" fmla="*/ 5000 w 10000"/>
              <a:gd name="connsiteY0" fmla="*/ 3030 h 10000"/>
              <a:gd name="connsiteX1" fmla="*/ 5000 w 10000"/>
              <a:gd name="connsiteY1" fmla="*/ 455 h 10000"/>
              <a:gd name="connsiteX2" fmla="*/ 5185 w 10000"/>
              <a:gd name="connsiteY2" fmla="*/ 151 h 10000"/>
              <a:gd name="connsiteX3" fmla="*/ 5740 w 10000"/>
              <a:gd name="connsiteY3" fmla="*/ 0 h 10000"/>
              <a:gd name="connsiteX4" fmla="*/ 6482 w 10000"/>
              <a:gd name="connsiteY4" fmla="*/ 0 h 10000"/>
              <a:gd name="connsiteX5" fmla="*/ 7408 w 10000"/>
              <a:gd name="connsiteY5" fmla="*/ 0 h 10000"/>
              <a:gd name="connsiteX6" fmla="*/ 8334 w 10000"/>
              <a:gd name="connsiteY6" fmla="*/ 0 h 10000"/>
              <a:gd name="connsiteX7" fmla="*/ 8703 w 10000"/>
              <a:gd name="connsiteY7" fmla="*/ 0 h 10000"/>
              <a:gd name="connsiteX8" fmla="*/ 9260 w 10000"/>
              <a:gd name="connsiteY8" fmla="*/ 0 h 10000"/>
              <a:gd name="connsiteX9" fmla="*/ 9445 w 10000"/>
              <a:gd name="connsiteY9" fmla="*/ 0 h 10000"/>
              <a:gd name="connsiteX10" fmla="*/ 9815 w 10000"/>
              <a:gd name="connsiteY10" fmla="*/ 455 h 10000"/>
              <a:gd name="connsiteX11" fmla="*/ 10000 w 10000"/>
              <a:gd name="connsiteY11" fmla="*/ 606 h 10000"/>
              <a:gd name="connsiteX12" fmla="*/ 10000 w 10000"/>
              <a:gd name="connsiteY12" fmla="*/ 910 h 10000"/>
              <a:gd name="connsiteX13" fmla="*/ 10000 w 10000"/>
              <a:gd name="connsiteY13" fmla="*/ 1363 h 10000"/>
              <a:gd name="connsiteX14" fmla="*/ 9815 w 10000"/>
              <a:gd name="connsiteY14" fmla="*/ 1818 h 10000"/>
              <a:gd name="connsiteX15" fmla="*/ 9260 w 10000"/>
              <a:gd name="connsiteY15" fmla="*/ 2273 h 10000"/>
              <a:gd name="connsiteX16" fmla="*/ 9074 w 10000"/>
              <a:gd name="connsiteY16" fmla="*/ 2424 h 10000"/>
              <a:gd name="connsiteX17" fmla="*/ 8334 w 10000"/>
              <a:gd name="connsiteY17" fmla="*/ 2728 h 10000"/>
              <a:gd name="connsiteX18" fmla="*/ 8148 w 10000"/>
              <a:gd name="connsiteY18" fmla="*/ 3181 h 10000"/>
              <a:gd name="connsiteX19" fmla="*/ 8148 w 10000"/>
              <a:gd name="connsiteY19" fmla="*/ 3334 h 10000"/>
              <a:gd name="connsiteX20" fmla="*/ 8148 w 10000"/>
              <a:gd name="connsiteY20" fmla="*/ 3787 h 10000"/>
              <a:gd name="connsiteX21" fmla="*/ 8334 w 10000"/>
              <a:gd name="connsiteY21" fmla="*/ 4091 h 10000"/>
              <a:gd name="connsiteX22" fmla="*/ 8519 w 10000"/>
              <a:gd name="connsiteY22" fmla="*/ 4393 h 10000"/>
              <a:gd name="connsiteX23" fmla="*/ 8703 w 10000"/>
              <a:gd name="connsiteY23" fmla="*/ 4546 h 10000"/>
              <a:gd name="connsiteX24" fmla="*/ 8703 w 10000"/>
              <a:gd name="connsiteY24" fmla="*/ 4697 h 10000"/>
              <a:gd name="connsiteX25" fmla="*/ 9074 w 10000"/>
              <a:gd name="connsiteY25" fmla="*/ 4848 h 10000"/>
              <a:gd name="connsiteX26" fmla="*/ 9260 w 10000"/>
              <a:gd name="connsiteY26" fmla="*/ 5152 h 10000"/>
              <a:gd name="connsiteX27" fmla="*/ 9260 w 10000"/>
              <a:gd name="connsiteY27" fmla="*/ 5606 h 10000"/>
              <a:gd name="connsiteX28" fmla="*/ 9260 w 10000"/>
              <a:gd name="connsiteY28" fmla="*/ 5909 h 10000"/>
              <a:gd name="connsiteX29" fmla="*/ 9074 w 10000"/>
              <a:gd name="connsiteY29" fmla="*/ 6060 h 10000"/>
              <a:gd name="connsiteX30" fmla="*/ 8703 w 10000"/>
              <a:gd name="connsiteY30" fmla="*/ 6666 h 10000"/>
              <a:gd name="connsiteX31" fmla="*/ 8334 w 10000"/>
              <a:gd name="connsiteY31" fmla="*/ 7121 h 10000"/>
              <a:gd name="connsiteX32" fmla="*/ 7408 w 10000"/>
              <a:gd name="connsiteY32" fmla="*/ 7727 h 10000"/>
              <a:gd name="connsiteX33" fmla="*/ 6482 w 10000"/>
              <a:gd name="connsiteY33" fmla="*/ 8484 h 10000"/>
              <a:gd name="connsiteX34" fmla="*/ 2778 w 10000"/>
              <a:gd name="connsiteY34" fmla="*/ 9848 h 10000"/>
              <a:gd name="connsiteX35" fmla="*/ 2037 w 10000"/>
              <a:gd name="connsiteY35" fmla="*/ 10000 h 10000"/>
              <a:gd name="connsiteX36" fmla="*/ 1852 w 10000"/>
              <a:gd name="connsiteY36" fmla="*/ 10000 h 10000"/>
              <a:gd name="connsiteX37" fmla="*/ 1482 w 10000"/>
              <a:gd name="connsiteY37" fmla="*/ 10000 h 10000"/>
              <a:gd name="connsiteX38" fmla="*/ 1111 w 10000"/>
              <a:gd name="connsiteY38" fmla="*/ 9848 h 10000"/>
              <a:gd name="connsiteX39" fmla="*/ 740 w 10000"/>
              <a:gd name="connsiteY39" fmla="*/ 9545 h 10000"/>
              <a:gd name="connsiteX40" fmla="*/ 371 w 10000"/>
              <a:gd name="connsiteY40" fmla="*/ 9394 h 10000"/>
              <a:gd name="connsiteX41" fmla="*/ 0 w 10000"/>
              <a:gd name="connsiteY41" fmla="*/ 9090 h 10000"/>
              <a:gd name="connsiteX42" fmla="*/ 0 w 10000"/>
              <a:gd name="connsiteY42" fmla="*/ 8788 h 10000"/>
              <a:gd name="connsiteX43" fmla="*/ 0 w 10000"/>
              <a:gd name="connsiteY43" fmla="*/ 8484 h 10000"/>
              <a:gd name="connsiteX44" fmla="*/ 0 w 10000"/>
              <a:gd name="connsiteY44" fmla="*/ 8030 h 10000"/>
              <a:gd name="connsiteX45" fmla="*/ 371 w 10000"/>
              <a:gd name="connsiteY45" fmla="*/ 7576 h 10000"/>
              <a:gd name="connsiteX46" fmla="*/ 740 w 10000"/>
              <a:gd name="connsiteY46" fmla="*/ 7121 h 10000"/>
              <a:gd name="connsiteX47" fmla="*/ 1666 w 10000"/>
              <a:gd name="connsiteY47" fmla="*/ 6666 h 10000"/>
              <a:gd name="connsiteX48" fmla="*/ 2037 w 10000"/>
              <a:gd name="connsiteY48" fmla="*/ 6060 h 10000"/>
              <a:gd name="connsiteX49" fmla="*/ 1852 w 10000"/>
              <a:gd name="connsiteY49" fmla="*/ 5606 h 10000"/>
              <a:gd name="connsiteX50" fmla="*/ 1111 w 10000"/>
              <a:gd name="connsiteY50" fmla="*/ 5303 h 10000"/>
              <a:gd name="connsiteX51" fmla="*/ 555 w 10000"/>
              <a:gd name="connsiteY51" fmla="*/ 5152 h 10000"/>
              <a:gd name="connsiteX52" fmla="*/ 0 w 10000"/>
              <a:gd name="connsiteY52" fmla="*/ 4697 h 10000"/>
              <a:gd name="connsiteX53" fmla="*/ 371 w 10000"/>
              <a:gd name="connsiteY53" fmla="*/ 4242 h 10000"/>
              <a:gd name="connsiteX54" fmla="*/ 555 w 10000"/>
              <a:gd name="connsiteY54" fmla="*/ 3940 h 10000"/>
              <a:gd name="connsiteX55" fmla="*/ 555 w 10000"/>
              <a:gd name="connsiteY55" fmla="*/ 3485 h 10000"/>
              <a:gd name="connsiteX56" fmla="*/ 371 w 10000"/>
              <a:gd name="connsiteY56" fmla="*/ 3030 h 10000"/>
              <a:gd name="connsiteX57" fmla="*/ 1111 w 10000"/>
              <a:gd name="connsiteY57" fmla="*/ 2728 h 10000"/>
              <a:gd name="connsiteX58" fmla="*/ 1852 w 10000"/>
              <a:gd name="connsiteY58" fmla="*/ 2575 h 10000"/>
              <a:gd name="connsiteX59" fmla="*/ 2408 w 10000"/>
              <a:gd name="connsiteY59" fmla="*/ 2424 h 10000"/>
              <a:gd name="connsiteX60" fmla="*/ 3148 w 10000"/>
              <a:gd name="connsiteY60" fmla="*/ 2424 h 10000"/>
              <a:gd name="connsiteX61" fmla="*/ 3703 w 10000"/>
              <a:gd name="connsiteY61" fmla="*/ 2424 h 10000"/>
              <a:gd name="connsiteX62" fmla="*/ 4260 w 10000"/>
              <a:gd name="connsiteY62" fmla="*/ 2575 h 10000"/>
              <a:gd name="connsiteX63" fmla="*/ 4629 w 10000"/>
              <a:gd name="connsiteY63" fmla="*/ 2728 h 10000"/>
              <a:gd name="connsiteX64" fmla="*/ 5000 w 10000"/>
              <a:gd name="connsiteY64" fmla="*/ 3030 h 10000"/>
              <a:gd name="connsiteX0" fmla="*/ 5000 w 10000"/>
              <a:gd name="connsiteY0" fmla="*/ 3030 h 10000"/>
              <a:gd name="connsiteX1" fmla="*/ 5000 w 10000"/>
              <a:gd name="connsiteY1" fmla="*/ 455 h 10000"/>
              <a:gd name="connsiteX2" fmla="*/ 5185 w 10000"/>
              <a:gd name="connsiteY2" fmla="*/ 151 h 10000"/>
              <a:gd name="connsiteX3" fmla="*/ 5740 w 10000"/>
              <a:gd name="connsiteY3" fmla="*/ 0 h 10000"/>
              <a:gd name="connsiteX4" fmla="*/ 6482 w 10000"/>
              <a:gd name="connsiteY4" fmla="*/ 0 h 10000"/>
              <a:gd name="connsiteX5" fmla="*/ 7408 w 10000"/>
              <a:gd name="connsiteY5" fmla="*/ 0 h 10000"/>
              <a:gd name="connsiteX6" fmla="*/ 8334 w 10000"/>
              <a:gd name="connsiteY6" fmla="*/ 0 h 10000"/>
              <a:gd name="connsiteX7" fmla="*/ 8703 w 10000"/>
              <a:gd name="connsiteY7" fmla="*/ 0 h 10000"/>
              <a:gd name="connsiteX8" fmla="*/ 9260 w 10000"/>
              <a:gd name="connsiteY8" fmla="*/ 0 h 10000"/>
              <a:gd name="connsiteX9" fmla="*/ 9445 w 10000"/>
              <a:gd name="connsiteY9" fmla="*/ 0 h 10000"/>
              <a:gd name="connsiteX10" fmla="*/ 9815 w 10000"/>
              <a:gd name="connsiteY10" fmla="*/ 455 h 10000"/>
              <a:gd name="connsiteX11" fmla="*/ 10000 w 10000"/>
              <a:gd name="connsiteY11" fmla="*/ 606 h 10000"/>
              <a:gd name="connsiteX12" fmla="*/ 10000 w 10000"/>
              <a:gd name="connsiteY12" fmla="*/ 910 h 10000"/>
              <a:gd name="connsiteX13" fmla="*/ 10000 w 10000"/>
              <a:gd name="connsiteY13" fmla="*/ 1363 h 10000"/>
              <a:gd name="connsiteX14" fmla="*/ 9815 w 10000"/>
              <a:gd name="connsiteY14" fmla="*/ 1818 h 10000"/>
              <a:gd name="connsiteX15" fmla="*/ 9260 w 10000"/>
              <a:gd name="connsiteY15" fmla="*/ 2273 h 10000"/>
              <a:gd name="connsiteX16" fmla="*/ 9074 w 10000"/>
              <a:gd name="connsiteY16" fmla="*/ 2424 h 10000"/>
              <a:gd name="connsiteX17" fmla="*/ 8334 w 10000"/>
              <a:gd name="connsiteY17" fmla="*/ 2728 h 10000"/>
              <a:gd name="connsiteX18" fmla="*/ 8148 w 10000"/>
              <a:gd name="connsiteY18" fmla="*/ 3181 h 10000"/>
              <a:gd name="connsiteX19" fmla="*/ 8148 w 10000"/>
              <a:gd name="connsiteY19" fmla="*/ 3334 h 10000"/>
              <a:gd name="connsiteX20" fmla="*/ 8148 w 10000"/>
              <a:gd name="connsiteY20" fmla="*/ 3787 h 10000"/>
              <a:gd name="connsiteX21" fmla="*/ 8334 w 10000"/>
              <a:gd name="connsiteY21" fmla="*/ 4091 h 10000"/>
              <a:gd name="connsiteX22" fmla="*/ 8519 w 10000"/>
              <a:gd name="connsiteY22" fmla="*/ 4393 h 10000"/>
              <a:gd name="connsiteX23" fmla="*/ 8703 w 10000"/>
              <a:gd name="connsiteY23" fmla="*/ 4546 h 10000"/>
              <a:gd name="connsiteX24" fmla="*/ 8703 w 10000"/>
              <a:gd name="connsiteY24" fmla="*/ 4697 h 10000"/>
              <a:gd name="connsiteX25" fmla="*/ 9074 w 10000"/>
              <a:gd name="connsiteY25" fmla="*/ 4848 h 10000"/>
              <a:gd name="connsiteX26" fmla="*/ 9260 w 10000"/>
              <a:gd name="connsiteY26" fmla="*/ 5152 h 10000"/>
              <a:gd name="connsiteX27" fmla="*/ 9260 w 10000"/>
              <a:gd name="connsiteY27" fmla="*/ 5606 h 10000"/>
              <a:gd name="connsiteX28" fmla="*/ 9260 w 10000"/>
              <a:gd name="connsiteY28" fmla="*/ 5909 h 10000"/>
              <a:gd name="connsiteX29" fmla="*/ 9074 w 10000"/>
              <a:gd name="connsiteY29" fmla="*/ 6060 h 10000"/>
              <a:gd name="connsiteX30" fmla="*/ 8703 w 10000"/>
              <a:gd name="connsiteY30" fmla="*/ 6666 h 10000"/>
              <a:gd name="connsiteX31" fmla="*/ 8334 w 10000"/>
              <a:gd name="connsiteY31" fmla="*/ 7121 h 10000"/>
              <a:gd name="connsiteX32" fmla="*/ 7408 w 10000"/>
              <a:gd name="connsiteY32" fmla="*/ 7727 h 10000"/>
              <a:gd name="connsiteX33" fmla="*/ 6482 w 10000"/>
              <a:gd name="connsiteY33" fmla="*/ 8484 h 10000"/>
              <a:gd name="connsiteX34" fmla="*/ 2037 w 10000"/>
              <a:gd name="connsiteY34" fmla="*/ 10000 h 10000"/>
              <a:gd name="connsiteX35" fmla="*/ 1852 w 10000"/>
              <a:gd name="connsiteY35" fmla="*/ 10000 h 10000"/>
              <a:gd name="connsiteX36" fmla="*/ 1482 w 10000"/>
              <a:gd name="connsiteY36" fmla="*/ 10000 h 10000"/>
              <a:gd name="connsiteX37" fmla="*/ 1111 w 10000"/>
              <a:gd name="connsiteY37" fmla="*/ 9848 h 10000"/>
              <a:gd name="connsiteX38" fmla="*/ 740 w 10000"/>
              <a:gd name="connsiteY38" fmla="*/ 9545 h 10000"/>
              <a:gd name="connsiteX39" fmla="*/ 371 w 10000"/>
              <a:gd name="connsiteY39" fmla="*/ 9394 h 10000"/>
              <a:gd name="connsiteX40" fmla="*/ 0 w 10000"/>
              <a:gd name="connsiteY40" fmla="*/ 9090 h 10000"/>
              <a:gd name="connsiteX41" fmla="*/ 0 w 10000"/>
              <a:gd name="connsiteY41" fmla="*/ 8788 h 10000"/>
              <a:gd name="connsiteX42" fmla="*/ 0 w 10000"/>
              <a:gd name="connsiteY42" fmla="*/ 8484 h 10000"/>
              <a:gd name="connsiteX43" fmla="*/ 0 w 10000"/>
              <a:gd name="connsiteY43" fmla="*/ 8030 h 10000"/>
              <a:gd name="connsiteX44" fmla="*/ 371 w 10000"/>
              <a:gd name="connsiteY44" fmla="*/ 7576 h 10000"/>
              <a:gd name="connsiteX45" fmla="*/ 740 w 10000"/>
              <a:gd name="connsiteY45" fmla="*/ 7121 h 10000"/>
              <a:gd name="connsiteX46" fmla="*/ 1666 w 10000"/>
              <a:gd name="connsiteY46" fmla="*/ 6666 h 10000"/>
              <a:gd name="connsiteX47" fmla="*/ 2037 w 10000"/>
              <a:gd name="connsiteY47" fmla="*/ 6060 h 10000"/>
              <a:gd name="connsiteX48" fmla="*/ 1852 w 10000"/>
              <a:gd name="connsiteY48" fmla="*/ 5606 h 10000"/>
              <a:gd name="connsiteX49" fmla="*/ 1111 w 10000"/>
              <a:gd name="connsiteY49" fmla="*/ 5303 h 10000"/>
              <a:gd name="connsiteX50" fmla="*/ 555 w 10000"/>
              <a:gd name="connsiteY50" fmla="*/ 5152 h 10000"/>
              <a:gd name="connsiteX51" fmla="*/ 0 w 10000"/>
              <a:gd name="connsiteY51" fmla="*/ 4697 h 10000"/>
              <a:gd name="connsiteX52" fmla="*/ 371 w 10000"/>
              <a:gd name="connsiteY52" fmla="*/ 4242 h 10000"/>
              <a:gd name="connsiteX53" fmla="*/ 555 w 10000"/>
              <a:gd name="connsiteY53" fmla="*/ 3940 h 10000"/>
              <a:gd name="connsiteX54" fmla="*/ 555 w 10000"/>
              <a:gd name="connsiteY54" fmla="*/ 3485 h 10000"/>
              <a:gd name="connsiteX55" fmla="*/ 371 w 10000"/>
              <a:gd name="connsiteY55" fmla="*/ 3030 h 10000"/>
              <a:gd name="connsiteX56" fmla="*/ 1111 w 10000"/>
              <a:gd name="connsiteY56" fmla="*/ 2728 h 10000"/>
              <a:gd name="connsiteX57" fmla="*/ 1852 w 10000"/>
              <a:gd name="connsiteY57" fmla="*/ 2575 h 10000"/>
              <a:gd name="connsiteX58" fmla="*/ 2408 w 10000"/>
              <a:gd name="connsiteY58" fmla="*/ 2424 h 10000"/>
              <a:gd name="connsiteX59" fmla="*/ 3148 w 10000"/>
              <a:gd name="connsiteY59" fmla="*/ 2424 h 10000"/>
              <a:gd name="connsiteX60" fmla="*/ 3703 w 10000"/>
              <a:gd name="connsiteY60" fmla="*/ 2424 h 10000"/>
              <a:gd name="connsiteX61" fmla="*/ 4260 w 10000"/>
              <a:gd name="connsiteY61" fmla="*/ 2575 h 10000"/>
              <a:gd name="connsiteX62" fmla="*/ 4629 w 10000"/>
              <a:gd name="connsiteY62" fmla="*/ 2728 h 10000"/>
              <a:gd name="connsiteX63" fmla="*/ 5000 w 10000"/>
              <a:gd name="connsiteY63" fmla="*/ 3030 h 10000"/>
              <a:gd name="connsiteX0" fmla="*/ 5000 w 10000"/>
              <a:gd name="connsiteY0" fmla="*/ 3030 h 10000"/>
              <a:gd name="connsiteX1" fmla="*/ 5000 w 10000"/>
              <a:gd name="connsiteY1" fmla="*/ 455 h 10000"/>
              <a:gd name="connsiteX2" fmla="*/ 5185 w 10000"/>
              <a:gd name="connsiteY2" fmla="*/ 151 h 10000"/>
              <a:gd name="connsiteX3" fmla="*/ 5740 w 10000"/>
              <a:gd name="connsiteY3" fmla="*/ 0 h 10000"/>
              <a:gd name="connsiteX4" fmla="*/ 6482 w 10000"/>
              <a:gd name="connsiteY4" fmla="*/ 0 h 10000"/>
              <a:gd name="connsiteX5" fmla="*/ 7408 w 10000"/>
              <a:gd name="connsiteY5" fmla="*/ 0 h 10000"/>
              <a:gd name="connsiteX6" fmla="*/ 8334 w 10000"/>
              <a:gd name="connsiteY6" fmla="*/ 0 h 10000"/>
              <a:gd name="connsiteX7" fmla="*/ 8703 w 10000"/>
              <a:gd name="connsiteY7" fmla="*/ 0 h 10000"/>
              <a:gd name="connsiteX8" fmla="*/ 9260 w 10000"/>
              <a:gd name="connsiteY8" fmla="*/ 0 h 10000"/>
              <a:gd name="connsiteX9" fmla="*/ 9445 w 10000"/>
              <a:gd name="connsiteY9" fmla="*/ 0 h 10000"/>
              <a:gd name="connsiteX10" fmla="*/ 9815 w 10000"/>
              <a:gd name="connsiteY10" fmla="*/ 455 h 10000"/>
              <a:gd name="connsiteX11" fmla="*/ 10000 w 10000"/>
              <a:gd name="connsiteY11" fmla="*/ 606 h 10000"/>
              <a:gd name="connsiteX12" fmla="*/ 10000 w 10000"/>
              <a:gd name="connsiteY12" fmla="*/ 910 h 10000"/>
              <a:gd name="connsiteX13" fmla="*/ 10000 w 10000"/>
              <a:gd name="connsiteY13" fmla="*/ 1363 h 10000"/>
              <a:gd name="connsiteX14" fmla="*/ 9815 w 10000"/>
              <a:gd name="connsiteY14" fmla="*/ 1818 h 10000"/>
              <a:gd name="connsiteX15" fmla="*/ 9260 w 10000"/>
              <a:gd name="connsiteY15" fmla="*/ 2273 h 10000"/>
              <a:gd name="connsiteX16" fmla="*/ 9074 w 10000"/>
              <a:gd name="connsiteY16" fmla="*/ 2424 h 10000"/>
              <a:gd name="connsiteX17" fmla="*/ 8334 w 10000"/>
              <a:gd name="connsiteY17" fmla="*/ 2728 h 10000"/>
              <a:gd name="connsiteX18" fmla="*/ 8148 w 10000"/>
              <a:gd name="connsiteY18" fmla="*/ 3181 h 10000"/>
              <a:gd name="connsiteX19" fmla="*/ 8148 w 10000"/>
              <a:gd name="connsiteY19" fmla="*/ 3334 h 10000"/>
              <a:gd name="connsiteX20" fmla="*/ 8148 w 10000"/>
              <a:gd name="connsiteY20" fmla="*/ 3787 h 10000"/>
              <a:gd name="connsiteX21" fmla="*/ 8334 w 10000"/>
              <a:gd name="connsiteY21" fmla="*/ 4091 h 10000"/>
              <a:gd name="connsiteX22" fmla="*/ 8519 w 10000"/>
              <a:gd name="connsiteY22" fmla="*/ 4393 h 10000"/>
              <a:gd name="connsiteX23" fmla="*/ 8703 w 10000"/>
              <a:gd name="connsiteY23" fmla="*/ 4546 h 10000"/>
              <a:gd name="connsiteX24" fmla="*/ 8703 w 10000"/>
              <a:gd name="connsiteY24" fmla="*/ 4697 h 10000"/>
              <a:gd name="connsiteX25" fmla="*/ 9074 w 10000"/>
              <a:gd name="connsiteY25" fmla="*/ 4848 h 10000"/>
              <a:gd name="connsiteX26" fmla="*/ 9260 w 10000"/>
              <a:gd name="connsiteY26" fmla="*/ 5152 h 10000"/>
              <a:gd name="connsiteX27" fmla="*/ 9260 w 10000"/>
              <a:gd name="connsiteY27" fmla="*/ 5606 h 10000"/>
              <a:gd name="connsiteX28" fmla="*/ 9260 w 10000"/>
              <a:gd name="connsiteY28" fmla="*/ 5909 h 10000"/>
              <a:gd name="connsiteX29" fmla="*/ 9074 w 10000"/>
              <a:gd name="connsiteY29" fmla="*/ 6060 h 10000"/>
              <a:gd name="connsiteX30" fmla="*/ 8703 w 10000"/>
              <a:gd name="connsiteY30" fmla="*/ 6666 h 10000"/>
              <a:gd name="connsiteX31" fmla="*/ 8334 w 10000"/>
              <a:gd name="connsiteY31" fmla="*/ 7121 h 10000"/>
              <a:gd name="connsiteX32" fmla="*/ 7408 w 10000"/>
              <a:gd name="connsiteY32" fmla="*/ 7727 h 10000"/>
              <a:gd name="connsiteX33" fmla="*/ 6482 w 10000"/>
              <a:gd name="connsiteY33" fmla="*/ 8484 h 10000"/>
              <a:gd name="connsiteX34" fmla="*/ 2037 w 10000"/>
              <a:gd name="connsiteY34" fmla="*/ 10000 h 10000"/>
              <a:gd name="connsiteX35" fmla="*/ 1852 w 10000"/>
              <a:gd name="connsiteY35" fmla="*/ 10000 h 10000"/>
              <a:gd name="connsiteX36" fmla="*/ 1482 w 10000"/>
              <a:gd name="connsiteY36" fmla="*/ 10000 h 10000"/>
              <a:gd name="connsiteX37" fmla="*/ 1111 w 10000"/>
              <a:gd name="connsiteY37" fmla="*/ 9848 h 10000"/>
              <a:gd name="connsiteX38" fmla="*/ 740 w 10000"/>
              <a:gd name="connsiteY38" fmla="*/ 9545 h 10000"/>
              <a:gd name="connsiteX39" fmla="*/ 371 w 10000"/>
              <a:gd name="connsiteY39" fmla="*/ 9394 h 10000"/>
              <a:gd name="connsiteX40" fmla="*/ 0 w 10000"/>
              <a:gd name="connsiteY40" fmla="*/ 9090 h 10000"/>
              <a:gd name="connsiteX41" fmla="*/ 0 w 10000"/>
              <a:gd name="connsiteY41" fmla="*/ 8788 h 10000"/>
              <a:gd name="connsiteX42" fmla="*/ 0 w 10000"/>
              <a:gd name="connsiteY42" fmla="*/ 8484 h 10000"/>
              <a:gd name="connsiteX43" fmla="*/ 0 w 10000"/>
              <a:gd name="connsiteY43" fmla="*/ 8030 h 10000"/>
              <a:gd name="connsiteX44" fmla="*/ 371 w 10000"/>
              <a:gd name="connsiteY44" fmla="*/ 7576 h 10000"/>
              <a:gd name="connsiteX45" fmla="*/ 740 w 10000"/>
              <a:gd name="connsiteY45" fmla="*/ 7121 h 10000"/>
              <a:gd name="connsiteX46" fmla="*/ 1666 w 10000"/>
              <a:gd name="connsiteY46" fmla="*/ 6666 h 10000"/>
              <a:gd name="connsiteX47" fmla="*/ 1852 w 10000"/>
              <a:gd name="connsiteY47" fmla="*/ 5606 h 10000"/>
              <a:gd name="connsiteX48" fmla="*/ 1111 w 10000"/>
              <a:gd name="connsiteY48" fmla="*/ 5303 h 10000"/>
              <a:gd name="connsiteX49" fmla="*/ 555 w 10000"/>
              <a:gd name="connsiteY49" fmla="*/ 5152 h 10000"/>
              <a:gd name="connsiteX50" fmla="*/ 0 w 10000"/>
              <a:gd name="connsiteY50" fmla="*/ 4697 h 10000"/>
              <a:gd name="connsiteX51" fmla="*/ 371 w 10000"/>
              <a:gd name="connsiteY51" fmla="*/ 4242 h 10000"/>
              <a:gd name="connsiteX52" fmla="*/ 555 w 10000"/>
              <a:gd name="connsiteY52" fmla="*/ 3940 h 10000"/>
              <a:gd name="connsiteX53" fmla="*/ 555 w 10000"/>
              <a:gd name="connsiteY53" fmla="*/ 3485 h 10000"/>
              <a:gd name="connsiteX54" fmla="*/ 371 w 10000"/>
              <a:gd name="connsiteY54" fmla="*/ 3030 h 10000"/>
              <a:gd name="connsiteX55" fmla="*/ 1111 w 10000"/>
              <a:gd name="connsiteY55" fmla="*/ 2728 h 10000"/>
              <a:gd name="connsiteX56" fmla="*/ 1852 w 10000"/>
              <a:gd name="connsiteY56" fmla="*/ 2575 h 10000"/>
              <a:gd name="connsiteX57" fmla="*/ 2408 w 10000"/>
              <a:gd name="connsiteY57" fmla="*/ 2424 h 10000"/>
              <a:gd name="connsiteX58" fmla="*/ 3148 w 10000"/>
              <a:gd name="connsiteY58" fmla="*/ 2424 h 10000"/>
              <a:gd name="connsiteX59" fmla="*/ 3703 w 10000"/>
              <a:gd name="connsiteY59" fmla="*/ 2424 h 10000"/>
              <a:gd name="connsiteX60" fmla="*/ 4260 w 10000"/>
              <a:gd name="connsiteY60" fmla="*/ 2575 h 10000"/>
              <a:gd name="connsiteX61" fmla="*/ 4629 w 10000"/>
              <a:gd name="connsiteY61" fmla="*/ 2728 h 10000"/>
              <a:gd name="connsiteX62" fmla="*/ 5000 w 10000"/>
              <a:gd name="connsiteY62" fmla="*/ 3030 h 10000"/>
              <a:gd name="connsiteX0" fmla="*/ 5000 w 10000"/>
              <a:gd name="connsiteY0" fmla="*/ 3030 h 10000"/>
              <a:gd name="connsiteX1" fmla="*/ 5000 w 10000"/>
              <a:gd name="connsiteY1" fmla="*/ 455 h 10000"/>
              <a:gd name="connsiteX2" fmla="*/ 5185 w 10000"/>
              <a:gd name="connsiteY2" fmla="*/ 151 h 10000"/>
              <a:gd name="connsiteX3" fmla="*/ 5740 w 10000"/>
              <a:gd name="connsiteY3" fmla="*/ 0 h 10000"/>
              <a:gd name="connsiteX4" fmla="*/ 6482 w 10000"/>
              <a:gd name="connsiteY4" fmla="*/ 0 h 10000"/>
              <a:gd name="connsiteX5" fmla="*/ 7408 w 10000"/>
              <a:gd name="connsiteY5" fmla="*/ 0 h 10000"/>
              <a:gd name="connsiteX6" fmla="*/ 8334 w 10000"/>
              <a:gd name="connsiteY6" fmla="*/ 0 h 10000"/>
              <a:gd name="connsiteX7" fmla="*/ 8703 w 10000"/>
              <a:gd name="connsiteY7" fmla="*/ 0 h 10000"/>
              <a:gd name="connsiteX8" fmla="*/ 9260 w 10000"/>
              <a:gd name="connsiteY8" fmla="*/ 0 h 10000"/>
              <a:gd name="connsiteX9" fmla="*/ 9445 w 10000"/>
              <a:gd name="connsiteY9" fmla="*/ 0 h 10000"/>
              <a:gd name="connsiteX10" fmla="*/ 9815 w 10000"/>
              <a:gd name="connsiteY10" fmla="*/ 455 h 10000"/>
              <a:gd name="connsiteX11" fmla="*/ 10000 w 10000"/>
              <a:gd name="connsiteY11" fmla="*/ 606 h 10000"/>
              <a:gd name="connsiteX12" fmla="*/ 10000 w 10000"/>
              <a:gd name="connsiteY12" fmla="*/ 910 h 10000"/>
              <a:gd name="connsiteX13" fmla="*/ 10000 w 10000"/>
              <a:gd name="connsiteY13" fmla="*/ 1363 h 10000"/>
              <a:gd name="connsiteX14" fmla="*/ 9815 w 10000"/>
              <a:gd name="connsiteY14" fmla="*/ 1818 h 10000"/>
              <a:gd name="connsiteX15" fmla="*/ 9260 w 10000"/>
              <a:gd name="connsiteY15" fmla="*/ 2273 h 10000"/>
              <a:gd name="connsiteX16" fmla="*/ 9074 w 10000"/>
              <a:gd name="connsiteY16" fmla="*/ 2424 h 10000"/>
              <a:gd name="connsiteX17" fmla="*/ 8334 w 10000"/>
              <a:gd name="connsiteY17" fmla="*/ 2728 h 10000"/>
              <a:gd name="connsiteX18" fmla="*/ 8148 w 10000"/>
              <a:gd name="connsiteY18" fmla="*/ 3181 h 10000"/>
              <a:gd name="connsiteX19" fmla="*/ 8148 w 10000"/>
              <a:gd name="connsiteY19" fmla="*/ 3334 h 10000"/>
              <a:gd name="connsiteX20" fmla="*/ 8148 w 10000"/>
              <a:gd name="connsiteY20" fmla="*/ 3787 h 10000"/>
              <a:gd name="connsiteX21" fmla="*/ 8334 w 10000"/>
              <a:gd name="connsiteY21" fmla="*/ 4091 h 10000"/>
              <a:gd name="connsiteX22" fmla="*/ 8519 w 10000"/>
              <a:gd name="connsiteY22" fmla="*/ 4393 h 10000"/>
              <a:gd name="connsiteX23" fmla="*/ 8703 w 10000"/>
              <a:gd name="connsiteY23" fmla="*/ 4546 h 10000"/>
              <a:gd name="connsiteX24" fmla="*/ 8703 w 10000"/>
              <a:gd name="connsiteY24" fmla="*/ 4697 h 10000"/>
              <a:gd name="connsiteX25" fmla="*/ 9074 w 10000"/>
              <a:gd name="connsiteY25" fmla="*/ 4848 h 10000"/>
              <a:gd name="connsiteX26" fmla="*/ 9260 w 10000"/>
              <a:gd name="connsiteY26" fmla="*/ 5152 h 10000"/>
              <a:gd name="connsiteX27" fmla="*/ 9260 w 10000"/>
              <a:gd name="connsiteY27" fmla="*/ 5606 h 10000"/>
              <a:gd name="connsiteX28" fmla="*/ 9260 w 10000"/>
              <a:gd name="connsiteY28" fmla="*/ 5909 h 10000"/>
              <a:gd name="connsiteX29" fmla="*/ 9074 w 10000"/>
              <a:gd name="connsiteY29" fmla="*/ 6060 h 10000"/>
              <a:gd name="connsiteX30" fmla="*/ 8703 w 10000"/>
              <a:gd name="connsiteY30" fmla="*/ 6666 h 10000"/>
              <a:gd name="connsiteX31" fmla="*/ 8334 w 10000"/>
              <a:gd name="connsiteY31" fmla="*/ 7121 h 10000"/>
              <a:gd name="connsiteX32" fmla="*/ 7408 w 10000"/>
              <a:gd name="connsiteY32" fmla="*/ 7727 h 10000"/>
              <a:gd name="connsiteX33" fmla="*/ 6482 w 10000"/>
              <a:gd name="connsiteY33" fmla="*/ 8484 h 10000"/>
              <a:gd name="connsiteX34" fmla="*/ 2037 w 10000"/>
              <a:gd name="connsiteY34" fmla="*/ 10000 h 10000"/>
              <a:gd name="connsiteX35" fmla="*/ 1852 w 10000"/>
              <a:gd name="connsiteY35" fmla="*/ 10000 h 10000"/>
              <a:gd name="connsiteX36" fmla="*/ 1482 w 10000"/>
              <a:gd name="connsiteY36" fmla="*/ 10000 h 10000"/>
              <a:gd name="connsiteX37" fmla="*/ 1111 w 10000"/>
              <a:gd name="connsiteY37" fmla="*/ 9848 h 10000"/>
              <a:gd name="connsiteX38" fmla="*/ 740 w 10000"/>
              <a:gd name="connsiteY38" fmla="*/ 9545 h 10000"/>
              <a:gd name="connsiteX39" fmla="*/ 371 w 10000"/>
              <a:gd name="connsiteY39" fmla="*/ 9394 h 10000"/>
              <a:gd name="connsiteX40" fmla="*/ 0 w 10000"/>
              <a:gd name="connsiteY40" fmla="*/ 9090 h 10000"/>
              <a:gd name="connsiteX41" fmla="*/ 0 w 10000"/>
              <a:gd name="connsiteY41" fmla="*/ 8788 h 10000"/>
              <a:gd name="connsiteX42" fmla="*/ 0 w 10000"/>
              <a:gd name="connsiteY42" fmla="*/ 8484 h 10000"/>
              <a:gd name="connsiteX43" fmla="*/ 0 w 10000"/>
              <a:gd name="connsiteY43" fmla="*/ 8030 h 10000"/>
              <a:gd name="connsiteX44" fmla="*/ 371 w 10000"/>
              <a:gd name="connsiteY44" fmla="*/ 7576 h 10000"/>
              <a:gd name="connsiteX45" fmla="*/ 740 w 10000"/>
              <a:gd name="connsiteY45" fmla="*/ 7121 h 10000"/>
              <a:gd name="connsiteX46" fmla="*/ 1666 w 10000"/>
              <a:gd name="connsiteY46" fmla="*/ 6666 h 10000"/>
              <a:gd name="connsiteX47" fmla="*/ 1111 w 10000"/>
              <a:gd name="connsiteY47" fmla="*/ 5303 h 10000"/>
              <a:gd name="connsiteX48" fmla="*/ 555 w 10000"/>
              <a:gd name="connsiteY48" fmla="*/ 5152 h 10000"/>
              <a:gd name="connsiteX49" fmla="*/ 0 w 10000"/>
              <a:gd name="connsiteY49" fmla="*/ 4697 h 10000"/>
              <a:gd name="connsiteX50" fmla="*/ 371 w 10000"/>
              <a:gd name="connsiteY50" fmla="*/ 4242 h 10000"/>
              <a:gd name="connsiteX51" fmla="*/ 555 w 10000"/>
              <a:gd name="connsiteY51" fmla="*/ 3940 h 10000"/>
              <a:gd name="connsiteX52" fmla="*/ 555 w 10000"/>
              <a:gd name="connsiteY52" fmla="*/ 3485 h 10000"/>
              <a:gd name="connsiteX53" fmla="*/ 371 w 10000"/>
              <a:gd name="connsiteY53" fmla="*/ 3030 h 10000"/>
              <a:gd name="connsiteX54" fmla="*/ 1111 w 10000"/>
              <a:gd name="connsiteY54" fmla="*/ 2728 h 10000"/>
              <a:gd name="connsiteX55" fmla="*/ 1852 w 10000"/>
              <a:gd name="connsiteY55" fmla="*/ 2575 h 10000"/>
              <a:gd name="connsiteX56" fmla="*/ 2408 w 10000"/>
              <a:gd name="connsiteY56" fmla="*/ 2424 h 10000"/>
              <a:gd name="connsiteX57" fmla="*/ 3148 w 10000"/>
              <a:gd name="connsiteY57" fmla="*/ 2424 h 10000"/>
              <a:gd name="connsiteX58" fmla="*/ 3703 w 10000"/>
              <a:gd name="connsiteY58" fmla="*/ 2424 h 10000"/>
              <a:gd name="connsiteX59" fmla="*/ 4260 w 10000"/>
              <a:gd name="connsiteY59" fmla="*/ 2575 h 10000"/>
              <a:gd name="connsiteX60" fmla="*/ 4629 w 10000"/>
              <a:gd name="connsiteY60" fmla="*/ 2728 h 10000"/>
              <a:gd name="connsiteX61" fmla="*/ 5000 w 10000"/>
              <a:gd name="connsiteY61" fmla="*/ 3030 h 10000"/>
              <a:gd name="connsiteX0" fmla="*/ 5000 w 10000"/>
              <a:gd name="connsiteY0" fmla="*/ 3030 h 10000"/>
              <a:gd name="connsiteX1" fmla="*/ 5000 w 10000"/>
              <a:gd name="connsiteY1" fmla="*/ 455 h 10000"/>
              <a:gd name="connsiteX2" fmla="*/ 5185 w 10000"/>
              <a:gd name="connsiteY2" fmla="*/ 151 h 10000"/>
              <a:gd name="connsiteX3" fmla="*/ 5740 w 10000"/>
              <a:gd name="connsiteY3" fmla="*/ 0 h 10000"/>
              <a:gd name="connsiteX4" fmla="*/ 6482 w 10000"/>
              <a:gd name="connsiteY4" fmla="*/ 0 h 10000"/>
              <a:gd name="connsiteX5" fmla="*/ 7408 w 10000"/>
              <a:gd name="connsiteY5" fmla="*/ 0 h 10000"/>
              <a:gd name="connsiteX6" fmla="*/ 8334 w 10000"/>
              <a:gd name="connsiteY6" fmla="*/ 0 h 10000"/>
              <a:gd name="connsiteX7" fmla="*/ 8703 w 10000"/>
              <a:gd name="connsiteY7" fmla="*/ 0 h 10000"/>
              <a:gd name="connsiteX8" fmla="*/ 9260 w 10000"/>
              <a:gd name="connsiteY8" fmla="*/ 0 h 10000"/>
              <a:gd name="connsiteX9" fmla="*/ 9445 w 10000"/>
              <a:gd name="connsiteY9" fmla="*/ 0 h 10000"/>
              <a:gd name="connsiteX10" fmla="*/ 9815 w 10000"/>
              <a:gd name="connsiteY10" fmla="*/ 455 h 10000"/>
              <a:gd name="connsiteX11" fmla="*/ 10000 w 10000"/>
              <a:gd name="connsiteY11" fmla="*/ 606 h 10000"/>
              <a:gd name="connsiteX12" fmla="*/ 10000 w 10000"/>
              <a:gd name="connsiteY12" fmla="*/ 910 h 10000"/>
              <a:gd name="connsiteX13" fmla="*/ 10000 w 10000"/>
              <a:gd name="connsiteY13" fmla="*/ 1363 h 10000"/>
              <a:gd name="connsiteX14" fmla="*/ 9815 w 10000"/>
              <a:gd name="connsiteY14" fmla="*/ 1818 h 10000"/>
              <a:gd name="connsiteX15" fmla="*/ 9260 w 10000"/>
              <a:gd name="connsiteY15" fmla="*/ 2273 h 10000"/>
              <a:gd name="connsiteX16" fmla="*/ 9074 w 10000"/>
              <a:gd name="connsiteY16" fmla="*/ 2424 h 10000"/>
              <a:gd name="connsiteX17" fmla="*/ 8334 w 10000"/>
              <a:gd name="connsiteY17" fmla="*/ 2728 h 10000"/>
              <a:gd name="connsiteX18" fmla="*/ 8148 w 10000"/>
              <a:gd name="connsiteY18" fmla="*/ 3181 h 10000"/>
              <a:gd name="connsiteX19" fmla="*/ 8148 w 10000"/>
              <a:gd name="connsiteY19" fmla="*/ 3334 h 10000"/>
              <a:gd name="connsiteX20" fmla="*/ 8148 w 10000"/>
              <a:gd name="connsiteY20" fmla="*/ 3787 h 10000"/>
              <a:gd name="connsiteX21" fmla="*/ 8334 w 10000"/>
              <a:gd name="connsiteY21" fmla="*/ 4091 h 10000"/>
              <a:gd name="connsiteX22" fmla="*/ 8519 w 10000"/>
              <a:gd name="connsiteY22" fmla="*/ 4393 h 10000"/>
              <a:gd name="connsiteX23" fmla="*/ 8703 w 10000"/>
              <a:gd name="connsiteY23" fmla="*/ 4546 h 10000"/>
              <a:gd name="connsiteX24" fmla="*/ 8703 w 10000"/>
              <a:gd name="connsiteY24" fmla="*/ 4697 h 10000"/>
              <a:gd name="connsiteX25" fmla="*/ 9074 w 10000"/>
              <a:gd name="connsiteY25" fmla="*/ 4848 h 10000"/>
              <a:gd name="connsiteX26" fmla="*/ 9260 w 10000"/>
              <a:gd name="connsiteY26" fmla="*/ 5152 h 10000"/>
              <a:gd name="connsiteX27" fmla="*/ 9260 w 10000"/>
              <a:gd name="connsiteY27" fmla="*/ 5606 h 10000"/>
              <a:gd name="connsiteX28" fmla="*/ 9260 w 10000"/>
              <a:gd name="connsiteY28" fmla="*/ 5909 h 10000"/>
              <a:gd name="connsiteX29" fmla="*/ 9074 w 10000"/>
              <a:gd name="connsiteY29" fmla="*/ 6060 h 10000"/>
              <a:gd name="connsiteX30" fmla="*/ 8703 w 10000"/>
              <a:gd name="connsiteY30" fmla="*/ 6666 h 10000"/>
              <a:gd name="connsiteX31" fmla="*/ 8334 w 10000"/>
              <a:gd name="connsiteY31" fmla="*/ 7121 h 10000"/>
              <a:gd name="connsiteX32" fmla="*/ 7408 w 10000"/>
              <a:gd name="connsiteY32" fmla="*/ 7727 h 10000"/>
              <a:gd name="connsiteX33" fmla="*/ 6482 w 10000"/>
              <a:gd name="connsiteY33" fmla="*/ 8484 h 10000"/>
              <a:gd name="connsiteX34" fmla="*/ 2037 w 10000"/>
              <a:gd name="connsiteY34" fmla="*/ 10000 h 10000"/>
              <a:gd name="connsiteX35" fmla="*/ 1852 w 10000"/>
              <a:gd name="connsiteY35" fmla="*/ 10000 h 10000"/>
              <a:gd name="connsiteX36" fmla="*/ 1482 w 10000"/>
              <a:gd name="connsiteY36" fmla="*/ 10000 h 10000"/>
              <a:gd name="connsiteX37" fmla="*/ 1111 w 10000"/>
              <a:gd name="connsiteY37" fmla="*/ 9848 h 10000"/>
              <a:gd name="connsiteX38" fmla="*/ 740 w 10000"/>
              <a:gd name="connsiteY38" fmla="*/ 9545 h 10000"/>
              <a:gd name="connsiteX39" fmla="*/ 371 w 10000"/>
              <a:gd name="connsiteY39" fmla="*/ 9394 h 10000"/>
              <a:gd name="connsiteX40" fmla="*/ 0 w 10000"/>
              <a:gd name="connsiteY40" fmla="*/ 9090 h 10000"/>
              <a:gd name="connsiteX41" fmla="*/ 0 w 10000"/>
              <a:gd name="connsiteY41" fmla="*/ 8788 h 10000"/>
              <a:gd name="connsiteX42" fmla="*/ 0 w 10000"/>
              <a:gd name="connsiteY42" fmla="*/ 8484 h 10000"/>
              <a:gd name="connsiteX43" fmla="*/ 0 w 10000"/>
              <a:gd name="connsiteY43" fmla="*/ 8030 h 10000"/>
              <a:gd name="connsiteX44" fmla="*/ 371 w 10000"/>
              <a:gd name="connsiteY44" fmla="*/ 7576 h 10000"/>
              <a:gd name="connsiteX45" fmla="*/ 740 w 10000"/>
              <a:gd name="connsiteY45" fmla="*/ 7121 h 10000"/>
              <a:gd name="connsiteX46" fmla="*/ 1111 w 10000"/>
              <a:gd name="connsiteY46" fmla="*/ 5303 h 10000"/>
              <a:gd name="connsiteX47" fmla="*/ 555 w 10000"/>
              <a:gd name="connsiteY47" fmla="*/ 5152 h 10000"/>
              <a:gd name="connsiteX48" fmla="*/ 0 w 10000"/>
              <a:gd name="connsiteY48" fmla="*/ 4697 h 10000"/>
              <a:gd name="connsiteX49" fmla="*/ 371 w 10000"/>
              <a:gd name="connsiteY49" fmla="*/ 4242 h 10000"/>
              <a:gd name="connsiteX50" fmla="*/ 555 w 10000"/>
              <a:gd name="connsiteY50" fmla="*/ 3940 h 10000"/>
              <a:gd name="connsiteX51" fmla="*/ 555 w 10000"/>
              <a:gd name="connsiteY51" fmla="*/ 3485 h 10000"/>
              <a:gd name="connsiteX52" fmla="*/ 371 w 10000"/>
              <a:gd name="connsiteY52" fmla="*/ 3030 h 10000"/>
              <a:gd name="connsiteX53" fmla="*/ 1111 w 10000"/>
              <a:gd name="connsiteY53" fmla="*/ 2728 h 10000"/>
              <a:gd name="connsiteX54" fmla="*/ 1852 w 10000"/>
              <a:gd name="connsiteY54" fmla="*/ 2575 h 10000"/>
              <a:gd name="connsiteX55" fmla="*/ 2408 w 10000"/>
              <a:gd name="connsiteY55" fmla="*/ 2424 h 10000"/>
              <a:gd name="connsiteX56" fmla="*/ 3148 w 10000"/>
              <a:gd name="connsiteY56" fmla="*/ 2424 h 10000"/>
              <a:gd name="connsiteX57" fmla="*/ 3703 w 10000"/>
              <a:gd name="connsiteY57" fmla="*/ 2424 h 10000"/>
              <a:gd name="connsiteX58" fmla="*/ 4260 w 10000"/>
              <a:gd name="connsiteY58" fmla="*/ 2575 h 10000"/>
              <a:gd name="connsiteX59" fmla="*/ 4629 w 10000"/>
              <a:gd name="connsiteY59" fmla="*/ 2728 h 10000"/>
              <a:gd name="connsiteX60" fmla="*/ 5000 w 10000"/>
              <a:gd name="connsiteY60" fmla="*/ 3030 h 10000"/>
              <a:gd name="connsiteX0" fmla="*/ 5000 w 10000"/>
              <a:gd name="connsiteY0" fmla="*/ 3030 h 10000"/>
              <a:gd name="connsiteX1" fmla="*/ 5000 w 10000"/>
              <a:gd name="connsiteY1" fmla="*/ 455 h 10000"/>
              <a:gd name="connsiteX2" fmla="*/ 5185 w 10000"/>
              <a:gd name="connsiteY2" fmla="*/ 151 h 10000"/>
              <a:gd name="connsiteX3" fmla="*/ 5740 w 10000"/>
              <a:gd name="connsiteY3" fmla="*/ 0 h 10000"/>
              <a:gd name="connsiteX4" fmla="*/ 6482 w 10000"/>
              <a:gd name="connsiteY4" fmla="*/ 0 h 10000"/>
              <a:gd name="connsiteX5" fmla="*/ 7408 w 10000"/>
              <a:gd name="connsiteY5" fmla="*/ 0 h 10000"/>
              <a:gd name="connsiteX6" fmla="*/ 8334 w 10000"/>
              <a:gd name="connsiteY6" fmla="*/ 0 h 10000"/>
              <a:gd name="connsiteX7" fmla="*/ 8703 w 10000"/>
              <a:gd name="connsiteY7" fmla="*/ 0 h 10000"/>
              <a:gd name="connsiteX8" fmla="*/ 9260 w 10000"/>
              <a:gd name="connsiteY8" fmla="*/ 0 h 10000"/>
              <a:gd name="connsiteX9" fmla="*/ 9445 w 10000"/>
              <a:gd name="connsiteY9" fmla="*/ 0 h 10000"/>
              <a:gd name="connsiteX10" fmla="*/ 9815 w 10000"/>
              <a:gd name="connsiteY10" fmla="*/ 455 h 10000"/>
              <a:gd name="connsiteX11" fmla="*/ 10000 w 10000"/>
              <a:gd name="connsiteY11" fmla="*/ 606 h 10000"/>
              <a:gd name="connsiteX12" fmla="*/ 10000 w 10000"/>
              <a:gd name="connsiteY12" fmla="*/ 910 h 10000"/>
              <a:gd name="connsiteX13" fmla="*/ 10000 w 10000"/>
              <a:gd name="connsiteY13" fmla="*/ 1363 h 10000"/>
              <a:gd name="connsiteX14" fmla="*/ 9815 w 10000"/>
              <a:gd name="connsiteY14" fmla="*/ 1818 h 10000"/>
              <a:gd name="connsiteX15" fmla="*/ 9260 w 10000"/>
              <a:gd name="connsiteY15" fmla="*/ 2273 h 10000"/>
              <a:gd name="connsiteX16" fmla="*/ 9074 w 10000"/>
              <a:gd name="connsiteY16" fmla="*/ 2424 h 10000"/>
              <a:gd name="connsiteX17" fmla="*/ 8334 w 10000"/>
              <a:gd name="connsiteY17" fmla="*/ 2728 h 10000"/>
              <a:gd name="connsiteX18" fmla="*/ 8148 w 10000"/>
              <a:gd name="connsiteY18" fmla="*/ 3181 h 10000"/>
              <a:gd name="connsiteX19" fmla="*/ 8148 w 10000"/>
              <a:gd name="connsiteY19" fmla="*/ 3334 h 10000"/>
              <a:gd name="connsiteX20" fmla="*/ 8148 w 10000"/>
              <a:gd name="connsiteY20" fmla="*/ 3787 h 10000"/>
              <a:gd name="connsiteX21" fmla="*/ 8334 w 10000"/>
              <a:gd name="connsiteY21" fmla="*/ 4091 h 10000"/>
              <a:gd name="connsiteX22" fmla="*/ 8519 w 10000"/>
              <a:gd name="connsiteY22" fmla="*/ 4393 h 10000"/>
              <a:gd name="connsiteX23" fmla="*/ 8703 w 10000"/>
              <a:gd name="connsiteY23" fmla="*/ 4546 h 10000"/>
              <a:gd name="connsiteX24" fmla="*/ 8703 w 10000"/>
              <a:gd name="connsiteY24" fmla="*/ 4697 h 10000"/>
              <a:gd name="connsiteX25" fmla="*/ 9074 w 10000"/>
              <a:gd name="connsiteY25" fmla="*/ 4848 h 10000"/>
              <a:gd name="connsiteX26" fmla="*/ 9260 w 10000"/>
              <a:gd name="connsiteY26" fmla="*/ 5152 h 10000"/>
              <a:gd name="connsiteX27" fmla="*/ 9260 w 10000"/>
              <a:gd name="connsiteY27" fmla="*/ 5606 h 10000"/>
              <a:gd name="connsiteX28" fmla="*/ 9260 w 10000"/>
              <a:gd name="connsiteY28" fmla="*/ 5909 h 10000"/>
              <a:gd name="connsiteX29" fmla="*/ 9074 w 10000"/>
              <a:gd name="connsiteY29" fmla="*/ 6060 h 10000"/>
              <a:gd name="connsiteX30" fmla="*/ 8703 w 10000"/>
              <a:gd name="connsiteY30" fmla="*/ 6666 h 10000"/>
              <a:gd name="connsiteX31" fmla="*/ 8334 w 10000"/>
              <a:gd name="connsiteY31" fmla="*/ 7121 h 10000"/>
              <a:gd name="connsiteX32" fmla="*/ 7408 w 10000"/>
              <a:gd name="connsiteY32" fmla="*/ 7727 h 10000"/>
              <a:gd name="connsiteX33" fmla="*/ 6482 w 10000"/>
              <a:gd name="connsiteY33" fmla="*/ 8484 h 10000"/>
              <a:gd name="connsiteX34" fmla="*/ 2037 w 10000"/>
              <a:gd name="connsiteY34" fmla="*/ 10000 h 10000"/>
              <a:gd name="connsiteX35" fmla="*/ 1852 w 10000"/>
              <a:gd name="connsiteY35" fmla="*/ 10000 h 10000"/>
              <a:gd name="connsiteX36" fmla="*/ 1482 w 10000"/>
              <a:gd name="connsiteY36" fmla="*/ 10000 h 10000"/>
              <a:gd name="connsiteX37" fmla="*/ 1111 w 10000"/>
              <a:gd name="connsiteY37" fmla="*/ 9848 h 10000"/>
              <a:gd name="connsiteX38" fmla="*/ 740 w 10000"/>
              <a:gd name="connsiteY38" fmla="*/ 9545 h 10000"/>
              <a:gd name="connsiteX39" fmla="*/ 371 w 10000"/>
              <a:gd name="connsiteY39" fmla="*/ 9394 h 10000"/>
              <a:gd name="connsiteX40" fmla="*/ 0 w 10000"/>
              <a:gd name="connsiteY40" fmla="*/ 9090 h 10000"/>
              <a:gd name="connsiteX41" fmla="*/ 0 w 10000"/>
              <a:gd name="connsiteY41" fmla="*/ 8788 h 10000"/>
              <a:gd name="connsiteX42" fmla="*/ 0 w 10000"/>
              <a:gd name="connsiteY42" fmla="*/ 8484 h 10000"/>
              <a:gd name="connsiteX43" fmla="*/ 0 w 10000"/>
              <a:gd name="connsiteY43" fmla="*/ 8030 h 10000"/>
              <a:gd name="connsiteX44" fmla="*/ 371 w 10000"/>
              <a:gd name="connsiteY44" fmla="*/ 7576 h 10000"/>
              <a:gd name="connsiteX45" fmla="*/ 740 w 10000"/>
              <a:gd name="connsiteY45" fmla="*/ 7121 h 10000"/>
              <a:gd name="connsiteX46" fmla="*/ 555 w 10000"/>
              <a:gd name="connsiteY46" fmla="*/ 5152 h 10000"/>
              <a:gd name="connsiteX47" fmla="*/ 0 w 10000"/>
              <a:gd name="connsiteY47" fmla="*/ 4697 h 10000"/>
              <a:gd name="connsiteX48" fmla="*/ 371 w 10000"/>
              <a:gd name="connsiteY48" fmla="*/ 4242 h 10000"/>
              <a:gd name="connsiteX49" fmla="*/ 555 w 10000"/>
              <a:gd name="connsiteY49" fmla="*/ 3940 h 10000"/>
              <a:gd name="connsiteX50" fmla="*/ 555 w 10000"/>
              <a:gd name="connsiteY50" fmla="*/ 3485 h 10000"/>
              <a:gd name="connsiteX51" fmla="*/ 371 w 10000"/>
              <a:gd name="connsiteY51" fmla="*/ 3030 h 10000"/>
              <a:gd name="connsiteX52" fmla="*/ 1111 w 10000"/>
              <a:gd name="connsiteY52" fmla="*/ 2728 h 10000"/>
              <a:gd name="connsiteX53" fmla="*/ 1852 w 10000"/>
              <a:gd name="connsiteY53" fmla="*/ 2575 h 10000"/>
              <a:gd name="connsiteX54" fmla="*/ 2408 w 10000"/>
              <a:gd name="connsiteY54" fmla="*/ 2424 h 10000"/>
              <a:gd name="connsiteX55" fmla="*/ 3148 w 10000"/>
              <a:gd name="connsiteY55" fmla="*/ 2424 h 10000"/>
              <a:gd name="connsiteX56" fmla="*/ 3703 w 10000"/>
              <a:gd name="connsiteY56" fmla="*/ 2424 h 10000"/>
              <a:gd name="connsiteX57" fmla="*/ 4260 w 10000"/>
              <a:gd name="connsiteY57" fmla="*/ 2575 h 10000"/>
              <a:gd name="connsiteX58" fmla="*/ 4629 w 10000"/>
              <a:gd name="connsiteY58" fmla="*/ 2728 h 10000"/>
              <a:gd name="connsiteX59" fmla="*/ 5000 w 10000"/>
              <a:gd name="connsiteY59" fmla="*/ 3030 h 10000"/>
              <a:gd name="connsiteX0" fmla="*/ 5000 w 10000"/>
              <a:gd name="connsiteY0" fmla="*/ 3030 h 10000"/>
              <a:gd name="connsiteX1" fmla="*/ 5000 w 10000"/>
              <a:gd name="connsiteY1" fmla="*/ 455 h 10000"/>
              <a:gd name="connsiteX2" fmla="*/ 5185 w 10000"/>
              <a:gd name="connsiteY2" fmla="*/ 151 h 10000"/>
              <a:gd name="connsiteX3" fmla="*/ 5740 w 10000"/>
              <a:gd name="connsiteY3" fmla="*/ 0 h 10000"/>
              <a:gd name="connsiteX4" fmla="*/ 6482 w 10000"/>
              <a:gd name="connsiteY4" fmla="*/ 0 h 10000"/>
              <a:gd name="connsiteX5" fmla="*/ 7408 w 10000"/>
              <a:gd name="connsiteY5" fmla="*/ 0 h 10000"/>
              <a:gd name="connsiteX6" fmla="*/ 8334 w 10000"/>
              <a:gd name="connsiteY6" fmla="*/ 0 h 10000"/>
              <a:gd name="connsiteX7" fmla="*/ 8703 w 10000"/>
              <a:gd name="connsiteY7" fmla="*/ 0 h 10000"/>
              <a:gd name="connsiteX8" fmla="*/ 9260 w 10000"/>
              <a:gd name="connsiteY8" fmla="*/ 0 h 10000"/>
              <a:gd name="connsiteX9" fmla="*/ 9445 w 10000"/>
              <a:gd name="connsiteY9" fmla="*/ 0 h 10000"/>
              <a:gd name="connsiteX10" fmla="*/ 9815 w 10000"/>
              <a:gd name="connsiteY10" fmla="*/ 455 h 10000"/>
              <a:gd name="connsiteX11" fmla="*/ 10000 w 10000"/>
              <a:gd name="connsiteY11" fmla="*/ 606 h 10000"/>
              <a:gd name="connsiteX12" fmla="*/ 10000 w 10000"/>
              <a:gd name="connsiteY12" fmla="*/ 910 h 10000"/>
              <a:gd name="connsiteX13" fmla="*/ 10000 w 10000"/>
              <a:gd name="connsiteY13" fmla="*/ 1363 h 10000"/>
              <a:gd name="connsiteX14" fmla="*/ 9815 w 10000"/>
              <a:gd name="connsiteY14" fmla="*/ 1818 h 10000"/>
              <a:gd name="connsiteX15" fmla="*/ 9260 w 10000"/>
              <a:gd name="connsiteY15" fmla="*/ 2273 h 10000"/>
              <a:gd name="connsiteX16" fmla="*/ 9074 w 10000"/>
              <a:gd name="connsiteY16" fmla="*/ 2424 h 10000"/>
              <a:gd name="connsiteX17" fmla="*/ 8334 w 10000"/>
              <a:gd name="connsiteY17" fmla="*/ 2728 h 10000"/>
              <a:gd name="connsiteX18" fmla="*/ 8148 w 10000"/>
              <a:gd name="connsiteY18" fmla="*/ 3181 h 10000"/>
              <a:gd name="connsiteX19" fmla="*/ 8148 w 10000"/>
              <a:gd name="connsiteY19" fmla="*/ 3334 h 10000"/>
              <a:gd name="connsiteX20" fmla="*/ 8148 w 10000"/>
              <a:gd name="connsiteY20" fmla="*/ 3787 h 10000"/>
              <a:gd name="connsiteX21" fmla="*/ 8334 w 10000"/>
              <a:gd name="connsiteY21" fmla="*/ 4091 h 10000"/>
              <a:gd name="connsiteX22" fmla="*/ 8519 w 10000"/>
              <a:gd name="connsiteY22" fmla="*/ 4393 h 10000"/>
              <a:gd name="connsiteX23" fmla="*/ 8703 w 10000"/>
              <a:gd name="connsiteY23" fmla="*/ 4546 h 10000"/>
              <a:gd name="connsiteX24" fmla="*/ 8703 w 10000"/>
              <a:gd name="connsiteY24" fmla="*/ 4697 h 10000"/>
              <a:gd name="connsiteX25" fmla="*/ 9074 w 10000"/>
              <a:gd name="connsiteY25" fmla="*/ 4848 h 10000"/>
              <a:gd name="connsiteX26" fmla="*/ 9260 w 10000"/>
              <a:gd name="connsiteY26" fmla="*/ 5152 h 10000"/>
              <a:gd name="connsiteX27" fmla="*/ 9260 w 10000"/>
              <a:gd name="connsiteY27" fmla="*/ 5606 h 10000"/>
              <a:gd name="connsiteX28" fmla="*/ 9260 w 10000"/>
              <a:gd name="connsiteY28" fmla="*/ 5909 h 10000"/>
              <a:gd name="connsiteX29" fmla="*/ 9074 w 10000"/>
              <a:gd name="connsiteY29" fmla="*/ 6060 h 10000"/>
              <a:gd name="connsiteX30" fmla="*/ 8703 w 10000"/>
              <a:gd name="connsiteY30" fmla="*/ 6666 h 10000"/>
              <a:gd name="connsiteX31" fmla="*/ 8334 w 10000"/>
              <a:gd name="connsiteY31" fmla="*/ 7121 h 10000"/>
              <a:gd name="connsiteX32" fmla="*/ 7408 w 10000"/>
              <a:gd name="connsiteY32" fmla="*/ 7727 h 10000"/>
              <a:gd name="connsiteX33" fmla="*/ 6482 w 10000"/>
              <a:gd name="connsiteY33" fmla="*/ 8484 h 10000"/>
              <a:gd name="connsiteX34" fmla="*/ 2037 w 10000"/>
              <a:gd name="connsiteY34" fmla="*/ 10000 h 10000"/>
              <a:gd name="connsiteX35" fmla="*/ 1852 w 10000"/>
              <a:gd name="connsiteY35" fmla="*/ 10000 h 10000"/>
              <a:gd name="connsiteX36" fmla="*/ 1482 w 10000"/>
              <a:gd name="connsiteY36" fmla="*/ 10000 h 10000"/>
              <a:gd name="connsiteX37" fmla="*/ 1111 w 10000"/>
              <a:gd name="connsiteY37" fmla="*/ 9848 h 10000"/>
              <a:gd name="connsiteX38" fmla="*/ 740 w 10000"/>
              <a:gd name="connsiteY38" fmla="*/ 9545 h 10000"/>
              <a:gd name="connsiteX39" fmla="*/ 371 w 10000"/>
              <a:gd name="connsiteY39" fmla="*/ 9394 h 10000"/>
              <a:gd name="connsiteX40" fmla="*/ 0 w 10000"/>
              <a:gd name="connsiteY40" fmla="*/ 9090 h 10000"/>
              <a:gd name="connsiteX41" fmla="*/ 0 w 10000"/>
              <a:gd name="connsiteY41" fmla="*/ 8788 h 10000"/>
              <a:gd name="connsiteX42" fmla="*/ 0 w 10000"/>
              <a:gd name="connsiteY42" fmla="*/ 8484 h 10000"/>
              <a:gd name="connsiteX43" fmla="*/ 0 w 10000"/>
              <a:gd name="connsiteY43" fmla="*/ 8030 h 10000"/>
              <a:gd name="connsiteX44" fmla="*/ 371 w 10000"/>
              <a:gd name="connsiteY44" fmla="*/ 7576 h 10000"/>
              <a:gd name="connsiteX45" fmla="*/ 555 w 10000"/>
              <a:gd name="connsiteY45" fmla="*/ 5152 h 10000"/>
              <a:gd name="connsiteX46" fmla="*/ 0 w 10000"/>
              <a:gd name="connsiteY46" fmla="*/ 4697 h 10000"/>
              <a:gd name="connsiteX47" fmla="*/ 371 w 10000"/>
              <a:gd name="connsiteY47" fmla="*/ 4242 h 10000"/>
              <a:gd name="connsiteX48" fmla="*/ 555 w 10000"/>
              <a:gd name="connsiteY48" fmla="*/ 3940 h 10000"/>
              <a:gd name="connsiteX49" fmla="*/ 555 w 10000"/>
              <a:gd name="connsiteY49" fmla="*/ 3485 h 10000"/>
              <a:gd name="connsiteX50" fmla="*/ 371 w 10000"/>
              <a:gd name="connsiteY50" fmla="*/ 3030 h 10000"/>
              <a:gd name="connsiteX51" fmla="*/ 1111 w 10000"/>
              <a:gd name="connsiteY51" fmla="*/ 2728 h 10000"/>
              <a:gd name="connsiteX52" fmla="*/ 1852 w 10000"/>
              <a:gd name="connsiteY52" fmla="*/ 2575 h 10000"/>
              <a:gd name="connsiteX53" fmla="*/ 2408 w 10000"/>
              <a:gd name="connsiteY53" fmla="*/ 2424 h 10000"/>
              <a:gd name="connsiteX54" fmla="*/ 3148 w 10000"/>
              <a:gd name="connsiteY54" fmla="*/ 2424 h 10000"/>
              <a:gd name="connsiteX55" fmla="*/ 3703 w 10000"/>
              <a:gd name="connsiteY55" fmla="*/ 2424 h 10000"/>
              <a:gd name="connsiteX56" fmla="*/ 4260 w 10000"/>
              <a:gd name="connsiteY56" fmla="*/ 2575 h 10000"/>
              <a:gd name="connsiteX57" fmla="*/ 4629 w 10000"/>
              <a:gd name="connsiteY57" fmla="*/ 2728 h 10000"/>
              <a:gd name="connsiteX58" fmla="*/ 5000 w 10000"/>
              <a:gd name="connsiteY58" fmla="*/ 3030 h 10000"/>
              <a:gd name="connsiteX0" fmla="*/ 5000 w 10000"/>
              <a:gd name="connsiteY0" fmla="*/ 3030 h 10000"/>
              <a:gd name="connsiteX1" fmla="*/ 5000 w 10000"/>
              <a:gd name="connsiteY1" fmla="*/ 455 h 10000"/>
              <a:gd name="connsiteX2" fmla="*/ 5185 w 10000"/>
              <a:gd name="connsiteY2" fmla="*/ 151 h 10000"/>
              <a:gd name="connsiteX3" fmla="*/ 5740 w 10000"/>
              <a:gd name="connsiteY3" fmla="*/ 0 h 10000"/>
              <a:gd name="connsiteX4" fmla="*/ 6482 w 10000"/>
              <a:gd name="connsiteY4" fmla="*/ 0 h 10000"/>
              <a:gd name="connsiteX5" fmla="*/ 7408 w 10000"/>
              <a:gd name="connsiteY5" fmla="*/ 0 h 10000"/>
              <a:gd name="connsiteX6" fmla="*/ 8334 w 10000"/>
              <a:gd name="connsiteY6" fmla="*/ 0 h 10000"/>
              <a:gd name="connsiteX7" fmla="*/ 8703 w 10000"/>
              <a:gd name="connsiteY7" fmla="*/ 0 h 10000"/>
              <a:gd name="connsiteX8" fmla="*/ 9260 w 10000"/>
              <a:gd name="connsiteY8" fmla="*/ 0 h 10000"/>
              <a:gd name="connsiteX9" fmla="*/ 9445 w 10000"/>
              <a:gd name="connsiteY9" fmla="*/ 0 h 10000"/>
              <a:gd name="connsiteX10" fmla="*/ 9815 w 10000"/>
              <a:gd name="connsiteY10" fmla="*/ 455 h 10000"/>
              <a:gd name="connsiteX11" fmla="*/ 10000 w 10000"/>
              <a:gd name="connsiteY11" fmla="*/ 606 h 10000"/>
              <a:gd name="connsiteX12" fmla="*/ 10000 w 10000"/>
              <a:gd name="connsiteY12" fmla="*/ 910 h 10000"/>
              <a:gd name="connsiteX13" fmla="*/ 10000 w 10000"/>
              <a:gd name="connsiteY13" fmla="*/ 1363 h 10000"/>
              <a:gd name="connsiteX14" fmla="*/ 9815 w 10000"/>
              <a:gd name="connsiteY14" fmla="*/ 1818 h 10000"/>
              <a:gd name="connsiteX15" fmla="*/ 9260 w 10000"/>
              <a:gd name="connsiteY15" fmla="*/ 2273 h 10000"/>
              <a:gd name="connsiteX16" fmla="*/ 9074 w 10000"/>
              <a:gd name="connsiteY16" fmla="*/ 2424 h 10000"/>
              <a:gd name="connsiteX17" fmla="*/ 8334 w 10000"/>
              <a:gd name="connsiteY17" fmla="*/ 2728 h 10000"/>
              <a:gd name="connsiteX18" fmla="*/ 8148 w 10000"/>
              <a:gd name="connsiteY18" fmla="*/ 3181 h 10000"/>
              <a:gd name="connsiteX19" fmla="*/ 8148 w 10000"/>
              <a:gd name="connsiteY19" fmla="*/ 3334 h 10000"/>
              <a:gd name="connsiteX20" fmla="*/ 8148 w 10000"/>
              <a:gd name="connsiteY20" fmla="*/ 3787 h 10000"/>
              <a:gd name="connsiteX21" fmla="*/ 8334 w 10000"/>
              <a:gd name="connsiteY21" fmla="*/ 4091 h 10000"/>
              <a:gd name="connsiteX22" fmla="*/ 8519 w 10000"/>
              <a:gd name="connsiteY22" fmla="*/ 4393 h 10000"/>
              <a:gd name="connsiteX23" fmla="*/ 8703 w 10000"/>
              <a:gd name="connsiteY23" fmla="*/ 4546 h 10000"/>
              <a:gd name="connsiteX24" fmla="*/ 8703 w 10000"/>
              <a:gd name="connsiteY24" fmla="*/ 4697 h 10000"/>
              <a:gd name="connsiteX25" fmla="*/ 9074 w 10000"/>
              <a:gd name="connsiteY25" fmla="*/ 4848 h 10000"/>
              <a:gd name="connsiteX26" fmla="*/ 9260 w 10000"/>
              <a:gd name="connsiteY26" fmla="*/ 5152 h 10000"/>
              <a:gd name="connsiteX27" fmla="*/ 9260 w 10000"/>
              <a:gd name="connsiteY27" fmla="*/ 5606 h 10000"/>
              <a:gd name="connsiteX28" fmla="*/ 9260 w 10000"/>
              <a:gd name="connsiteY28" fmla="*/ 5909 h 10000"/>
              <a:gd name="connsiteX29" fmla="*/ 9074 w 10000"/>
              <a:gd name="connsiteY29" fmla="*/ 6060 h 10000"/>
              <a:gd name="connsiteX30" fmla="*/ 8703 w 10000"/>
              <a:gd name="connsiteY30" fmla="*/ 6666 h 10000"/>
              <a:gd name="connsiteX31" fmla="*/ 8334 w 10000"/>
              <a:gd name="connsiteY31" fmla="*/ 7121 h 10000"/>
              <a:gd name="connsiteX32" fmla="*/ 7408 w 10000"/>
              <a:gd name="connsiteY32" fmla="*/ 7727 h 10000"/>
              <a:gd name="connsiteX33" fmla="*/ 6482 w 10000"/>
              <a:gd name="connsiteY33" fmla="*/ 8484 h 10000"/>
              <a:gd name="connsiteX34" fmla="*/ 2037 w 10000"/>
              <a:gd name="connsiteY34" fmla="*/ 10000 h 10000"/>
              <a:gd name="connsiteX35" fmla="*/ 1852 w 10000"/>
              <a:gd name="connsiteY35" fmla="*/ 10000 h 10000"/>
              <a:gd name="connsiteX36" fmla="*/ 1482 w 10000"/>
              <a:gd name="connsiteY36" fmla="*/ 10000 h 10000"/>
              <a:gd name="connsiteX37" fmla="*/ 1111 w 10000"/>
              <a:gd name="connsiteY37" fmla="*/ 9848 h 10000"/>
              <a:gd name="connsiteX38" fmla="*/ 740 w 10000"/>
              <a:gd name="connsiteY38" fmla="*/ 9545 h 10000"/>
              <a:gd name="connsiteX39" fmla="*/ 371 w 10000"/>
              <a:gd name="connsiteY39" fmla="*/ 9394 h 10000"/>
              <a:gd name="connsiteX40" fmla="*/ 0 w 10000"/>
              <a:gd name="connsiteY40" fmla="*/ 9090 h 10000"/>
              <a:gd name="connsiteX41" fmla="*/ 0 w 10000"/>
              <a:gd name="connsiteY41" fmla="*/ 8788 h 10000"/>
              <a:gd name="connsiteX42" fmla="*/ 0 w 10000"/>
              <a:gd name="connsiteY42" fmla="*/ 8484 h 10000"/>
              <a:gd name="connsiteX43" fmla="*/ 0 w 10000"/>
              <a:gd name="connsiteY43" fmla="*/ 8030 h 10000"/>
              <a:gd name="connsiteX44" fmla="*/ 555 w 10000"/>
              <a:gd name="connsiteY44" fmla="*/ 5152 h 10000"/>
              <a:gd name="connsiteX45" fmla="*/ 0 w 10000"/>
              <a:gd name="connsiteY45" fmla="*/ 4697 h 10000"/>
              <a:gd name="connsiteX46" fmla="*/ 371 w 10000"/>
              <a:gd name="connsiteY46" fmla="*/ 4242 h 10000"/>
              <a:gd name="connsiteX47" fmla="*/ 555 w 10000"/>
              <a:gd name="connsiteY47" fmla="*/ 3940 h 10000"/>
              <a:gd name="connsiteX48" fmla="*/ 555 w 10000"/>
              <a:gd name="connsiteY48" fmla="*/ 3485 h 10000"/>
              <a:gd name="connsiteX49" fmla="*/ 371 w 10000"/>
              <a:gd name="connsiteY49" fmla="*/ 3030 h 10000"/>
              <a:gd name="connsiteX50" fmla="*/ 1111 w 10000"/>
              <a:gd name="connsiteY50" fmla="*/ 2728 h 10000"/>
              <a:gd name="connsiteX51" fmla="*/ 1852 w 10000"/>
              <a:gd name="connsiteY51" fmla="*/ 2575 h 10000"/>
              <a:gd name="connsiteX52" fmla="*/ 2408 w 10000"/>
              <a:gd name="connsiteY52" fmla="*/ 2424 h 10000"/>
              <a:gd name="connsiteX53" fmla="*/ 3148 w 10000"/>
              <a:gd name="connsiteY53" fmla="*/ 2424 h 10000"/>
              <a:gd name="connsiteX54" fmla="*/ 3703 w 10000"/>
              <a:gd name="connsiteY54" fmla="*/ 2424 h 10000"/>
              <a:gd name="connsiteX55" fmla="*/ 4260 w 10000"/>
              <a:gd name="connsiteY55" fmla="*/ 2575 h 10000"/>
              <a:gd name="connsiteX56" fmla="*/ 4629 w 10000"/>
              <a:gd name="connsiteY56" fmla="*/ 2728 h 10000"/>
              <a:gd name="connsiteX57" fmla="*/ 5000 w 10000"/>
              <a:gd name="connsiteY57" fmla="*/ 3030 h 10000"/>
              <a:gd name="connsiteX0" fmla="*/ 5000 w 10000"/>
              <a:gd name="connsiteY0" fmla="*/ 3030 h 10000"/>
              <a:gd name="connsiteX1" fmla="*/ 5000 w 10000"/>
              <a:gd name="connsiteY1" fmla="*/ 455 h 10000"/>
              <a:gd name="connsiteX2" fmla="*/ 5185 w 10000"/>
              <a:gd name="connsiteY2" fmla="*/ 151 h 10000"/>
              <a:gd name="connsiteX3" fmla="*/ 5740 w 10000"/>
              <a:gd name="connsiteY3" fmla="*/ 0 h 10000"/>
              <a:gd name="connsiteX4" fmla="*/ 6482 w 10000"/>
              <a:gd name="connsiteY4" fmla="*/ 0 h 10000"/>
              <a:gd name="connsiteX5" fmla="*/ 7408 w 10000"/>
              <a:gd name="connsiteY5" fmla="*/ 0 h 10000"/>
              <a:gd name="connsiteX6" fmla="*/ 8334 w 10000"/>
              <a:gd name="connsiteY6" fmla="*/ 0 h 10000"/>
              <a:gd name="connsiteX7" fmla="*/ 8703 w 10000"/>
              <a:gd name="connsiteY7" fmla="*/ 0 h 10000"/>
              <a:gd name="connsiteX8" fmla="*/ 9260 w 10000"/>
              <a:gd name="connsiteY8" fmla="*/ 0 h 10000"/>
              <a:gd name="connsiteX9" fmla="*/ 9445 w 10000"/>
              <a:gd name="connsiteY9" fmla="*/ 0 h 10000"/>
              <a:gd name="connsiteX10" fmla="*/ 9815 w 10000"/>
              <a:gd name="connsiteY10" fmla="*/ 455 h 10000"/>
              <a:gd name="connsiteX11" fmla="*/ 10000 w 10000"/>
              <a:gd name="connsiteY11" fmla="*/ 606 h 10000"/>
              <a:gd name="connsiteX12" fmla="*/ 10000 w 10000"/>
              <a:gd name="connsiteY12" fmla="*/ 910 h 10000"/>
              <a:gd name="connsiteX13" fmla="*/ 10000 w 10000"/>
              <a:gd name="connsiteY13" fmla="*/ 1363 h 10000"/>
              <a:gd name="connsiteX14" fmla="*/ 9815 w 10000"/>
              <a:gd name="connsiteY14" fmla="*/ 1818 h 10000"/>
              <a:gd name="connsiteX15" fmla="*/ 9260 w 10000"/>
              <a:gd name="connsiteY15" fmla="*/ 2273 h 10000"/>
              <a:gd name="connsiteX16" fmla="*/ 9074 w 10000"/>
              <a:gd name="connsiteY16" fmla="*/ 2424 h 10000"/>
              <a:gd name="connsiteX17" fmla="*/ 8334 w 10000"/>
              <a:gd name="connsiteY17" fmla="*/ 2728 h 10000"/>
              <a:gd name="connsiteX18" fmla="*/ 8148 w 10000"/>
              <a:gd name="connsiteY18" fmla="*/ 3181 h 10000"/>
              <a:gd name="connsiteX19" fmla="*/ 8148 w 10000"/>
              <a:gd name="connsiteY19" fmla="*/ 3334 h 10000"/>
              <a:gd name="connsiteX20" fmla="*/ 8148 w 10000"/>
              <a:gd name="connsiteY20" fmla="*/ 3787 h 10000"/>
              <a:gd name="connsiteX21" fmla="*/ 8334 w 10000"/>
              <a:gd name="connsiteY21" fmla="*/ 4091 h 10000"/>
              <a:gd name="connsiteX22" fmla="*/ 8519 w 10000"/>
              <a:gd name="connsiteY22" fmla="*/ 4393 h 10000"/>
              <a:gd name="connsiteX23" fmla="*/ 8703 w 10000"/>
              <a:gd name="connsiteY23" fmla="*/ 4546 h 10000"/>
              <a:gd name="connsiteX24" fmla="*/ 8703 w 10000"/>
              <a:gd name="connsiteY24" fmla="*/ 4697 h 10000"/>
              <a:gd name="connsiteX25" fmla="*/ 9074 w 10000"/>
              <a:gd name="connsiteY25" fmla="*/ 4848 h 10000"/>
              <a:gd name="connsiteX26" fmla="*/ 9260 w 10000"/>
              <a:gd name="connsiteY26" fmla="*/ 5152 h 10000"/>
              <a:gd name="connsiteX27" fmla="*/ 9260 w 10000"/>
              <a:gd name="connsiteY27" fmla="*/ 5606 h 10000"/>
              <a:gd name="connsiteX28" fmla="*/ 9260 w 10000"/>
              <a:gd name="connsiteY28" fmla="*/ 5909 h 10000"/>
              <a:gd name="connsiteX29" fmla="*/ 9074 w 10000"/>
              <a:gd name="connsiteY29" fmla="*/ 6060 h 10000"/>
              <a:gd name="connsiteX30" fmla="*/ 8703 w 10000"/>
              <a:gd name="connsiteY30" fmla="*/ 6666 h 10000"/>
              <a:gd name="connsiteX31" fmla="*/ 8334 w 10000"/>
              <a:gd name="connsiteY31" fmla="*/ 7121 h 10000"/>
              <a:gd name="connsiteX32" fmla="*/ 7408 w 10000"/>
              <a:gd name="connsiteY32" fmla="*/ 7727 h 10000"/>
              <a:gd name="connsiteX33" fmla="*/ 6482 w 10000"/>
              <a:gd name="connsiteY33" fmla="*/ 8484 h 10000"/>
              <a:gd name="connsiteX34" fmla="*/ 2037 w 10000"/>
              <a:gd name="connsiteY34" fmla="*/ 10000 h 10000"/>
              <a:gd name="connsiteX35" fmla="*/ 1852 w 10000"/>
              <a:gd name="connsiteY35" fmla="*/ 10000 h 10000"/>
              <a:gd name="connsiteX36" fmla="*/ 1482 w 10000"/>
              <a:gd name="connsiteY36" fmla="*/ 10000 h 10000"/>
              <a:gd name="connsiteX37" fmla="*/ 1111 w 10000"/>
              <a:gd name="connsiteY37" fmla="*/ 9848 h 10000"/>
              <a:gd name="connsiteX38" fmla="*/ 740 w 10000"/>
              <a:gd name="connsiteY38" fmla="*/ 9545 h 10000"/>
              <a:gd name="connsiteX39" fmla="*/ 371 w 10000"/>
              <a:gd name="connsiteY39" fmla="*/ 9394 h 10000"/>
              <a:gd name="connsiteX40" fmla="*/ 0 w 10000"/>
              <a:gd name="connsiteY40" fmla="*/ 9090 h 10000"/>
              <a:gd name="connsiteX41" fmla="*/ 0 w 10000"/>
              <a:gd name="connsiteY41" fmla="*/ 8788 h 10000"/>
              <a:gd name="connsiteX42" fmla="*/ 0 w 10000"/>
              <a:gd name="connsiteY42" fmla="*/ 8484 h 10000"/>
              <a:gd name="connsiteX43" fmla="*/ 555 w 10000"/>
              <a:gd name="connsiteY43" fmla="*/ 5152 h 10000"/>
              <a:gd name="connsiteX44" fmla="*/ 0 w 10000"/>
              <a:gd name="connsiteY44" fmla="*/ 4697 h 10000"/>
              <a:gd name="connsiteX45" fmla="*/ 371 w 10000"/>
              <a:gd name="connsiteY45" fmla="*/ 4242 h 10000"/>
              <a:gd name="connsiteX46" fmla="*/ 555 w 10000"/>
              <a:gd name="connsiteY46" fmla="*/ 3940 h 10000"/>
              <a:gd name="connsiteX47" fmla="*/ 555 w 10000"/>
              <a:gd name="connsiteY47" fmla="*/ 3485 h 10000"/>
              <a:gd name="connsiteX48" fmla="*/ 371 w 10000"/>
              <a:gd name="connsiteY48" fmla="*/ 3030 h 10000"/>
              <a:gd name="connsiteX49" fmla="*/ 1111 w 10000"/>
              <a:gd name="connsiteY49" fmla="*/ 2728 h 10000"/>
              <a:gd name="connsiteX50" fmla="*/ 1852 w 10000"/>
              <a:gd name="connsiteY50" fmla="*/ 2575 h 10000"/>
              <a:gd name="connsiteX51" fmla="*/ 2408 w 10000"/>
              <a:gd name="connsiteY51" fmla="*/ 2424 h 10000"/>
              <a:gd name="connsiteX52" fmla="*/ 3148 w 10000"/>
              <a:gd name="connsiteY52" fmla="*/ 2424 h 10000"/>
              <a:gd name="connsiteX53" fmla="*/ 3703 w 10000"/>
              <a:gd name="connsiteY53" fmla="*/ 2424 h 10000"/>
              <a:gd name="connsiteX54" fmla="*/ 4260 w 10000"/>
              <a:gd name="connsiteY54" fmla="*/ 2575 h 10000"/>
              <a:gd name="connsiteX55" fmla="*/ 4629 w 10000"/>
              <a:gd name="connsiteY55" fmla="*/ 2728 h 10000"/>
              <a:gd name="connsiteX56" fmla="*/ 5000 w 10000"/>
              <a:gd name="connsiteY56" fmla="*/ 3030 h 10000"/>
              <a:gd name="connsiteX0" fmla="*/ 5000 w 10000"/>
              <a:gd name="connsiteY0" fmla="*/ 3030 h 10000"/>
              <a:gd name="connsiteX1" fmla="*/ 5000 w 10000"/>
              <a:gd name="connsiteY1" fmla="*/ 455 h 10000"/>
              <a:gd name="connsiteX2" fmla="*/ 5185 w 10000"/>
              <a:gd name="connsiteY2" fmla="*/ 151 h 10000"/>
              <a:gd name="connsiteX3" fmla="*/ 5740 w 10000"/>
              <a:gd name="connsiteY3" fmla="*/ 0 h 10000"/>
              <a:gd name="connsiteX4" fmla="*/ 6482 w 10000"/>
              <a:gd name="connsiteY4" fmla="*/ 0 h 10000"/>
              <a:gd name="connsiteX5" fmla="*/ 7408 w 10000"/>
              <a:gd name="connsiteY5" fmla="*/ 0 h 10000"/>
              <a:gd name="connsiteX6" fmla="*/ 8334 w 10000"/>
              <a:gd name="connsiteY6" fmla="*/ 0 h 10000"/>
              <a:gd name="connsiteX7" fmla="*/ 8703 w 10000"/>
              <a:gd name="connsiteY7" fmla="*/ 0 h 10000"/>
              <a:gd name="connsiteX8" fmla="*/ 9260 w 10000"/>
              <a:gd name="connsiteY8" fmla="*/ 0 h 10000"/>
              <a:gd name="connsiteX9" fmla="*/ 9445 w 10000"/>
              <a:gd name="connsiteY9" fmla="*/ 0 h 10000"/>
              <a:gd name="connsiteX10" fmla="*/ 9815 w 10000"/>
              <a:gd name="connsiteY10" fmla="*/ 455 h 10000"/>
              <a:gd name="connsiteX11" fmla="*/ 10000 w 10000"/>
              <a:gd name="connsiteY11" fmla="*/ 606 h 10000"/>
              <a:gd name="connsiteX12" fmla="*/ 10000 w 10000"/>
              <a:gd name="connsiteY12" fmla="*/ 910 h 10000"/>
              <a:gd name="connsiteX13" fmla="*/ 10000 w 10000"/>
              <a:gd name="connsiteY13" fmla="*/ 1363 h 10000"/>
              <a:gd name="connsiteX14" fmla="*/ 9815 w 10000"/>
              <a:gd name="connsiteY14" fmla="*/ 1818 h 10000"/>
              <a:gd name="connsiteX15" fmla="*/ 9260 w 10000"/>
              <a:gd name="connsiteY15" fmla="*/ 2273 h 10000"/>
              <a:gd name="connsiteX16" fmla="*/ 9074 w 10000"/>
              <a:gd name="connsiteY16" fmla="*/ 2424 h 10000"/>
              <a:gd name="connsiteX17" fmla="*/ 8334 w 10000"/>
              <a:gd name="connsiteY17" fmla="*/ 2728 h 10000"/>
              <a:gd name="connsiteX18" fmla="*/ 8148 w 10000"/>
              <a:gd name="connsiteY18" fmla="*/ 3181 h 10000"/>
              <a:gd name="connsiteX19" fmla="*/ 8148 w 10000"/>
              <a:gd name="connsiteY19" fmla="*/ 3334 h 10000"/>
              <a:gd name="connsiteX20" fmla="*/ 8148 w 10000"/>
              <a:gd name="connsiteY20" fmla="*/ 3787 h 10000"/>
              <a:gd name="connsiteX21" fmla="*/ 8334 w 10000"/>
              <a:gd name="connsiteY21" fmla="*/ 4091 h 10000"/>
              <a:gd name="connsiteX22" fmla="*/ 8519 w 10000"/>
              <a:gd name="connsiteY22" fmla="*/ 4393 h 10000"/>
              <a:gd name="connsiteX23" fmla="*/ 8703 w 10000"/>
              <a:gd name="connsiteY23" fmla="*/ 4546 h 10000"/>
              <a:gd name="connsiteX24" fmla="*/ 8703 w 10000"/>
              <a:gd name="connsiteY24" fmla="*/ 4697 h 10000"/>
              <a:gd name="connsiteX25" fmla="*/ 9074 w 10000"/>
              <a:gd name="connsiteY25" fmla="*/ 4848 h 10000"/>
              <a:gd name="connsiteX26" fmla="*/ 9260 w 10000"/>
              <a:gd name="connsiteY26" fmla="*/ 5152 h 10000"/>
              <a:gd name="connsiteX27" fmla="*/ 9260 w 10000"/>
              <a:gd name="connsiteY27" fmla="*/ 5606 h 10000"/>
              <a:gd name="connsiteX28" fmla="*/ 9260 w 10000"/>
              <a:gd name="connsiteY28" fmla="*/ 5909 h 10000"/>
              <a:gd name="connsiteX29" fmla="*/ 9074 w 10000"/>
              <a:gd name="connsiteY29" fmla="*/ 6060 h 10000"/>
              <a:gd name="connsiteX30" fmla="*/ 8703 w 10000"/>
              <a:gd name="connsiteY30" fmla="*/ 6666 h 10000"/>
              <a:gd name="connsiteX31" fmla="*/ 8334 w 10000"/>
              <a:gd name="connsiteY31" fmla="*/ 7121 h 10000"/>
              <a:gd name="connsiteX32" fmla="*/ 7408 w 10000"/>
              <a:gd name="connsiteY32" fmla="*/ 7727 h 10000"/>
              <a:gd name="connsiteX33" fmla="*/ 6482 w 10000"/>
              <a:gd name="connsiteY33" fmla="*/ 8484 h 10000"/>
              <a:gd name="connsiteX34" fmla="*/ 2037 w 10000"/>
              <a:gd name="connsiteY34" fmla="*/ 10000 h 10000"/>
              <a:gd name="connsiteX35" fmla="*/ 1852 w 10000"/>
              <a:gd name="connsiteY35" fmla="*/ 10000 h 10000"/>
              <a:gd name="connsiteX36" fmla="*/ 1482 w 10000"/>
              <a:gd name="connsiteY36" fmla="*/ 10000 h 10000"/>
              <a:gd name="connsiteX37" fmla="*/ 1111 w 10000"/>
              <a:gd name="connsiteY37" fmla="*/ 9848 h 10000"/>
              <a:gd name="connsiteX38" fmla="*/ 740 w 10000"/>
              <a:gd name="connsiteY38" fmla="*/ 9545 h 10000"/>
              <a:gd name="connsiteX39" fmla="*/ 371 w 10000"/>
              <a:gd name="connsiteY39" fmla="*/ 9394 h 10000"/>
              <a:gd name="connsiteX40" fmla="*/ 0 w 10000"/>
              <a:gd name="connsiteY40" fmla="*/ 9090 h 10000"/>
              <a:gd name="connsiteX41" fmla="*/ 0 w 10000"/>
              <a:gd name="connsiteY41" fmla="*/ 8788 h 10000"/>
              <a:gd name="connsiteX42" fmla="*/ 555 w 10000"/>
              <a:gd name="connsiteY42" fmla="*/ 5152 h 10000"/>
              <a:gd name="connsiteX43" fmla="*/ 0 w 10000"/>
              <a:gd name="connsiteY43" fmla="*/ 4697 h 10000"/>
              <a:gd name="connsiteX44" fmla="*/ 371 w 10000"/>
              <a:gd name="connsiteY44" fmla="*/ 4242 h 10000"/>
              <a:gd name="connsiteX45" fmla="*/ 555 w 10000"/>
              <a:gd name="connsiteY45" fmla="*/ 3940 h 10000"/>
              <a:gd name="connsiteX46" fmla="*/ 555 w 10000"/>
              <a:gd name="connsiteY46" fmla="*/ 3485 h 10000"/>
              <a:gd name="connsiteX47" fmla="*/ 371 w 10000"/>
              <a:gd name="connsiteY47" fmla="*/ 3030 h 10000"/>
              <a:gd name="connsiteX48" fmla="*/ 1111 w 10000"/>
              <a:gd name="connsiteY48" fmla="*/ 2728 h 10000"/>
              <a:gd name="connsiteX49" fmla="*/ 1852 w 10000"/>
              <a:gd name="connsiteY49" fmla="*/ 2575 h 10000"/>
              <a:gd name="connsiteX50" fmla="*/ 2408 w 10000"/>
              <a:gd name="connsiteY50" fmla="*/ 2424 h 10000"/>
              <a:gd name="connsiteX51" fmla="*/ 3148 w 10000"/>
              <a:gd name="connsiteY51" fmla="*/ 2424 h 10000"/>
              <a:gd name="connsiteX52" fmla="*/ 3703 w 10000"/>
              <a:gd name="connsiteY52" fmla="*/ 2424 h 10000"/>
              <a:gd name="connsiteX53" fmla="*/ 4260 w 10000"/>
              <a:gd name="connsiteY53" fmla="*/ 2575 h 10000"/>
              <a:gd name="connsiteX54" fmla="*/ 4629 w 10000"/>
              <a:gd name="connsiteY54" fmla="*/ 2728 h 10000"/>
              <a:gd name="connsiteX55" fmla="*/ 5000 w 10000"/>
              <a:gd name="connsiteY55" fmla="*/ 3030 h 10000"/>
              <a:gd name="connsiteX0" fmla="*/ 5000 w 10000"/>
              <a:gd name="connsiteY0" fmla="*/ 3030 h 10000"/>
              <a:gd name="connsiteX1" fmla="*/ 5000 w 10000"/>
              <a:gd name="connsiteY1" fmla="*/ 455 h 10000"/>
              <a:gd name="connsiteX2" fmla="*/ 5185 w 10000"/>
              <a:gd name="connsiteY2" fmla="*/ 151 h 10000"/>
              <a:gd name="connsiteX3" fmla="*/ 5740 w 10000"/>
              <a:gd name="connsiteY3" fmla="*/ 0 h 10000"/>
              <a:gd name="connsiteX4" fmla="*/ 6482 w 10000"/>
              <a:gd name="connsiteY4" fmla="*/ 0 h 10000"/>
              <a:gd name="connsiteX5" fmla="*/ 7408 w 10000"/>
              <a:gd name="connsiteY5" fmla="*/ 0 h 10000"/>
              <a:gd name="connsiteX6" fmla="*/ 8334 w 10000"/>
              <a:gd name="connsiteY6" fmla="*/ 0 h 10000"/>
              <a:gd name="connsiteX7" fmla="*/ 8703 w 10000"/>
              <a:gd name="connsiteY7" fmla="*/ 0 h 10000"/>
              <a:gd name="connsiteX8" fmla="*/ 9260 w 10000"/>
              <a:gd name="connsiteY8" fmla="*/ 0 h 10000"/>
              <a:gd name="connsiteX9" fmla="*/ 9445 w 10000"/>
              <a:gd name="connsiteY9" fmla="*/ 0 h 10000"/>
              <a:gd name="connsiteX10" fmla="*/ 9815 w 10000"/>
              <a:gd name="connsiteY10" fmla="*/ 455 h 10000"/>
              <a:gd name="connsiteX11" fmla="*/ 10000 w 10000"/>
              <a:gd name="connsiteY11" fmla="*/ 606 h 10000"/>
              <a:gd name="connsiteX12" fmla="*/ 10000 w 10000"/>
              <a:gd name="connsiteY12" fmla="*/ 910 h 10000"/>
              <a:gd name="connsiteX13" fmla="*/ 10000 w 10000"/>
              <a:gd name="connsiteY13" fmla="*/ 1363 h 10000"/>
              <a:gd name="connsiteX14" fmla="*/ 9815 w 10000"/>
              <a:gd name="connsiteY14" fmla="*/ 1818 h 10000"/>
              <a:gd name="connsiteX15" fmla="*/ 9260 w 10000"/>
              <a:gd name="connsiteY15" fmla="*/ 2273 h 10000"/>
              <a:gd name="connsiteX16" fmla="*/ 9074 w 10000"/>
              <a:gd name="connsiteY16" fmla="*/ 2424 h 10000"/>
              <a:gd name="connsiteX17" fmla="*/ 8334 w 10000"/>
              <a:gd name="connsiteY17" fmla="*/ 2728 h 10000"/>
              <a:gd name="connsiteX18" fmla="*/ 8148 w 10000"/>
              <a:gd name="connsiteY18" fmla="*/ 3181 h 10000"/>
              <a:gd name="connsiteX19" fmla="*/ 8148 w 10000"/>
              <a:gd name="connsiteY19" fmla="*/ 3334 h 10000"/>
              <a:gd name="connsiteX20" fmla="*/ 8148 w 10000"/>
              <a:gd name="connsiteY20" fmla="*/ 3787 h 10000"/>
              <a:gd name="connsiteX21" fmla="*/ 8334 w 10000"/>
              <a:gd name="connsiteY21" fmla="*/ 4091 h 10000"/>
              <a:gd name="connsiteX22" fmla="*/ 8519 w 10000"/>
              <a:gd name="connsiteY22" fmla="*/ 4393 h 10000"/>
              <a:gd name="connsiteX23" fmla="*/ 8703 w 10000"/>
              <a:gd name="connsiteY23" fmla="*/ 4546 h 10000"/>
              <a:gd name="connsiteX24" fmla="*/ 8703 w 10000"/>
              <a:gd name="connsiteY24" fmla="*/ 4697 h 10000"/>
              <a:gd name="connsiteX25" fmla="*/ 9074 w 10000"/>
              <a:gd name="connsiteY25" fmla="*/ 4848 h 10000"/>
              <a:gd name="connsiteX26" fmla="*/ 9260 w 10000"/>
              <a:gd name="connsiteY26" fmla="*/ 5152 h 10000"/>
              <a:gd name="connsiteX27" fmla="*/ 9260 w 10000"/>
              <a:gd name="connsiteY27" fmla="*/ 5606 h 10000"/>
              <a:gd name="connsiteX28" fmla="*/ 9260 w 10000"/>
              <a:gd name="connsiteY28" fmla="*/ 5909 h 10000"/>
              <a:gd name="connsiteX29" fmla="*/ 9074 w 10000"/>
              <a:gd name="connsiteY29" fmla="*/ 6060 h 10000"/>
              <a:gd name="connsiteX30" fmla="*/ 8703 w 10000"/>
              <a:gd name="connsiteY30" fmla="*/ 6666 h 10000"/>
              <a:gd name="connsiteX31" fmla="*/ 8334 w 10000"/>
              <a:gd name="connsiteY31" fmla="*/ 7121 h 10000"/>
              <a:gd name="connsiteX32" fmla="*/ 7408 w 10000"/>
              <a:gd name="connsiteY32" fmla="*/ 7727 h 10000"/>
              <a:gd name="connsiteX33" fmla="*/ 6482 w 10000"/>
              <a:gd name="connsiteY33" fmla="*/ 8484 h 10000"/>
              <a:gd name="connsiteX34" fmla="*/ 2037 w 10000"/>
              <a:gd name="connsiteY34" fmla="*/ 10000 h 10000"/>
              <a:gd name="connsiteX35" fmla="*/ 1852 w 10000"/>
              <a:gd name="connsiteY35" fmla="*/ 10000 h 10000"/>
              <a:gd name="connsiteX36" fmla="*/ 1482 w 10000"/>
              <a:gd name="connsiteY36" fmla="*/ 10000 h 10000"/>
              <a:gd name="connsiteX37" fmla="*/ 1111 w 10000"/>
              <a:gd name="connsiteY37" fmla="*/ 9848 h 10000"/>
              <a:gd name="connsiteX38" fmla="*/ 740 w 10000"/>
              <a:gd name="connsiteY38" fmla="*/ 9545 h 10000"/>
              <a:gd name="connsiteX39" fmla="*/ 371 w 10000"/>
              <a:gd name="connsiteY39" fmla="*/ 9394 h 10000"/>
              <a:gd name="connsiteX40" fmla="*/ 0 w 10000"/>
              <a:gd name="connsiteY40" fmla="*/ 9090 h 10000"/>
              <a:gd name="connsiteX41" fmla="*/ 555 w 10000"/>
              <a:gd name="connsiteY41" fmla="*/ 5152 h 10000"/>
              <a:gd name="connsiteX42" fmla="*/ 0 w 10000"/>
              <a:gd name="connsiteY42" fmla="*/ 4697 h 10000"/>
              <a:gd name="connsiteX43" fmla="*/ 371 w 10000"/>
              <a:gd name="connsiteY43" fmla="*/ 4242 h 10000"/>
              <a:gd name="connsiteX44" fmla="*/ 555 w 10000"/>
              <a:gd name="connsiteY44" fmla="*/ 3940 h 10000"/>
              <a:gd name="connsiteX45" fmla="*/ 555 w 10000"/>
              <a:gd name="connsiteY45" fmla="*/ 3485 h 10000"/>
              <a:gd name="connsiteX46" fmla="*/ 371 w 10000"/>
              <a:gd name="connsiteY46" fmla="*/ 3030 h 10000"/>
              <a:gd name="connsiteX47" fmla="*/ 1111 w 10000"/>
              <a:gd name="connsiteY47" fmla="*/ 2728 h 10000"/>
              <a:gd name="connsiteX48" fmla="*/ 1852 w 10000"/>
              <a:gd name="connsiteY48" fmla="*/ 2575 h 10000"/>
              <a:gd name="connsiteX49" fmla="*/ 2408 w 10000"/>
              <a:gd name="connsiteY49" fmla="*/ 2424 h 10000"/>
              <a:gd name="connsiteX50" fmla="*/ 3148 w 10000"/>
              <a:gd name="connsiteY50" fmla="*/ 2424 h 10000"/>
              <a:gd name="connsiteX51" fmla="*/ 3703 w 10000"/>
              <a:gd name="connsiteY51" fmla="*/ 2424 h 10000"/>
              <a:gd name="connsiteX52" fmla="*/ 4260 w 10000"/>
              <a:gd name="connsiteY52" fmla="*/ 2575 h 10000"/>
              <a:gd name="connsiteX53" fmla="*/ 4629 w 10000"/>
              <a:gd name="connsiteY53" fmla="*/ 2728 h 10000"/>
              <a:gd name="connsiteX54" fmla="*/ 5000 w 10000"/>
              <a:gd name="connsiteY54" fmla="*/ 3030 h 10000"/>
              <a:gd name="connsiteX0" fmla="*/ 5000 w 10000"/>
              <a:gd name="connsiteY0" fmla="*/ 3030 h 10000"/>
              <a:gd name="connsiteX1" fmla="*/ 5000 w 10000"/>
              <a:gd name="connsiteY1" fmla="*/ 455 h 10000"/>
              <a:gd name="connsiteX2" fmla="*/ 5185 w 10000"/>
              <a:gd name="connsiteY2" fmla="*/ 151 h 10000"/>
              <a:gd name="connsiteX3" fmla="*/ 5740 w 10000"/>
              <a:gd name="connsiteY3" fmla="*/ 0 h 10000"/>
              <a:gd name="connsiteX4" fmla="*/ 6482 w 10000"/>
              <a:gd name="connsiteY4" fmla="*/ 0 h 10000"/>
              <a:gd name="connsiteX5" fmla="*/ 7408 w 10000"/>
              <a:gd name="connsiteY5" fmla="*/ 0 h 10000"/>
              <a:gd name="connsiteX6" fmla="*/ 8334 w 10000"/>
              <a:gd name="connsiteY6" fmla="*/ 0 h 10000"/>
              <a:gd name="connsiteX7" fmla="*/ 8703 w 10000"/>
              <a:gd name="connsiteY7" fmla="*/ 0 h 10000"/>
              <a:gd name="connsiteX8" fmla="*/ 9260 w 10000"/>
              <a:gd name="connsiteY8" fmla="*/ 0 h 10000"/>
              <a:gd name="connsiteX9" fmla="*/ 9445 w 10000"/>
              <a:gd name="connsiteY9" fmla="*/ 0 h 10000"/>
              <a:gd name="connsiteX10" fmla="*/ 9815 w 10000"/>
              <a:gd name="connsiteY10" fmla="*/ 455 h 10000"/>
              <a:gd name="connsiteX11" fmla="*/ 10000 w 10000"/>
              <a:gd name="connsiteY11" fmla="*/ 606 h 10000"/>
              <a:gd name="connsiteX12" fmla="*/ 10000 w 10000"/>
              <a:gd name="connsiteY12" fmla="*/ 910 h 10000"/>
              <a:gd name="connsiteX13" fmla="*/ 10000 w 10000"/>
              <a:gd name="connsiteY13" fmla="*/ 1363 h 10000"/>
              <a:gd name="connsiteX14" fmla="*/ 9815 w 10000"/>
              <a:gd name="connsiteY14" fmla="*/ 1818 h 10000"/>
              <a:gd name="connsiteX15" fmla="*/ 9260 w 10000"/>
              <a:gd name="connsiteY15" fmla="*/ 2273 h 10000"/>
              <a:gd name="connsiteX16" fmla="*/ 9074 w 10000"/>
              <a:gd name="connsiteY16" fmla="*/ 2424 h 10000"/>
              <a:gd name="connsiteX17" fmla="*/ 8334 w 10000"/>
              <a:gd name="connsiteY17" fmla="*/ 2728 h 10000"/>
              <a:gd name="connsiteX18" fmla="*/ 8148 w 10000"/>
              <a:gd name="connsiteY18" fmla="*/ 3181 h 10000"/>
              <a:gd name="connsiteX19" fmla="*/ 8148 w 10000"/>
              <a:gd name="connsiteY19" fmla="*/ 3334 h 10000"/>
              <a:gd name="connsiteX20" fmla="*/ 8148 w 10000"/>
              <a:gd name="connsiteY20" fmla="*/ 3787 h 10000"/>
              <a:gd name="connsiteX21" fmla="*/ 8334 w 10000"/>
              <a:gd name="connsiteY21" fmla="*/ 4091 h 10000"/>
              <a:gd name="connsiteX22" fmla="*/ 8519 w 10000"/>
              <a:gd name="connsiteY22" fmla="*/ 4393 h 10000"/>
              <a:gd name="connsiteX23" fmla="*/ 8703 w 10000"/>
              <a:gd name="connsiteY23" fmla="*/ 4546 h 10000"/>
              <a:gd name="connsiteX24" fmla="*/ 8703 w 10000"/>
              <a:gd name="connsiteY24" fmla="*/ 4697 h 10000"/>
              <a:gd name="connsiteX25" fmla="*/ 9074 w 10000"/>
              <a:gd name="connsiteY25" fmla="*/ 4848 h 10000"/>
              <a:gd name="connsiteX26" fmla="*/ 9260 w 10000"/>
              <a:gd name="connsiteY26" fmla="*/ 5152 h 10000"/>
              <a:gd name="connsiteX27" fmla="*/ 9260 w 10000"/>
              <a:gd name="connsiteY27" fmla="*/ 5606 h 10000"/>
              <a:gd name="connsiteX28" fmla="*/ 9260 w 10000"/>
              <a:gd name="connsiteY28" fmla="*/ 5909 h 10000"/>
              <a:gd name="connsiteX29" fmla="*/ 9074 w 10000"/>
              <a:gd name="connsiteY29" fmla="*/ 6060 h 10000"/>
              <a:gd name="connsiteX30" fmla="*/ 8703 w 10000"/>
              <a:gd name="connsiteY30" fmla="*/ 6666 h 10000"/>
              <a:gd name="connsiteX31" fmla="*/ 8334 w 10000"/>
              <a:gd name="connsiteY31" fmla="*/ 7121 h 10000"/>
              <a:gd name="connsiteX32" fmla="*/ 7408 w 10000"/>
              <a:gd name="connsiteY32" fmla="*/ 7727 h 10000"/>
              <a:gd name="connsiteX33" fmla="*/ 6482 w 10000"/>
              <a:gd name="connsiteY33" fmla="*/ 8484 h 10000"/>
              <a:gd name="connsiteX34" fmla="*/ 2037 w 10000"/>
              <a:gd name="connsiteY34" fmla="*/ 10000 h 10000"/>
              <a:gd name="connsiteX35" fmla="*/ 1852 w 10000"/>
              <a:gd name="connsiteY35" fmla="*/ 10000 h 10000"/>
              <a:gd name="connsiteX36" fmla="*/ 1482 w 10000"/>
              <a:gd name="connsiteY36" fmla="*/ 10000 h 10000"/>
              <a:gd name="connsiteX37" fmla="*/ 1111 w 10000"/>
              <a:gd name="connsiteY37" fmla="*/ 9848 h 10000"/>
              <a:gd name="connsiteX38" fmla="*/ 740 w 10000"/>
              <a:gd name="connsiteY38" fmla="*/ 9545 h 10000"/>
              <a:gd name="connsiteX39" fmla="*/ 371 w 10000"/>
              <a:gd name="connsiteY39" fmla="*/ 9394 h 10000"/>
              <a:gd name="connsiteX40" fmla="*/ 555 w 10000"/>
              <a:gd name="connsiteY40" fmla="*/ 5152 h 10000"/>
              <a:gd name="connsiteX41" fmla="*/ 0 w 10000"/>
              <a:gd name="connsiteY41" fmla="*/ 4697 h 10000"/>
              <a:gd name="connsiteX42" fmla="*/ 371 w 10000"/>
              <a:gd name="connsiteY42" fmla="*/ 4242 h 10000"/>
              <a:gd name="connsiteX43" fmla="*/ 555 w 10000"/>
              <a:gd name="connsiteY43" fmla="*/ 3940 h 10000"/>
              <a:gd name="connsiteX44" fmla="*/ 555 w 10000"/>
              <a:gd name="connsiteY44" fmla="*/ 3485 h 10000"/>
              <a:gd name="connsiteX45" fmla="*/ 371 w 10000"/>
              <a:gd name="connsiteY45" fmla="*/ 3030 h 10000"/>
              <a:gd name="connsiteX46" fmla="*/ 1111 w 10000"/>
              <a:gd name="connsiteY46" fmla="*/ 2728 h 10000"/>
              <a:gd name="connsiteX47" fmla="*/ 1852 w 10000"/>
              <a:gd name="connsiteY47" fmla="*/ 2575 h 10000"/>
              <a:gd name="connsiteX48" fmla="*/ 2408 w 10000"/>
              <a:gd name="connsiteY48" fmla="*/ 2424 h 10000"/>
              <a:gd name="connsiteX49" fmla="*/ 3148 w 10000"/>
              <a:gd name="connsiteY49" fmla="*/ 2424 h 10000"/>
              <a:gd name="connsiteX50" fmla="*/ 3703 w 10000"/>
              <a:gd name="connsiteY50" fmla="*/ 2424 h 10000"/>
              <a:gd name="connsiteX51" fmla="*/ 4260 w 10000"/>
              <a:gd name="connsiteY51" fmla="*/ 2575 h 10000"/>
              <a:gd name="connsiteX52" fmla="*/ 4629 w 10000"/>
              <a:gd name="connsiteY52" fmla="*/ 2728 h 10000"/>
              <a:gd name="connsiteX53" fmla="*/ 5000 w 10000"/>
              <a:gd name="connsiteY53" fmla="*/ 3030 h 10000"/>
              <a:gd name="connsiteX0" fmla="*/ 5000 w 10000"/>
              <a:gd name="connsiteY0" fmla="*/ 3030 h 10000"/>
              <a:gd name="connsiteX1" fmla="*/ 5000 w 10000"/>
              <a:gd name="connsiteY1" fmla="*/ 455 h 10000"/>
              <a:gd name="connsiteX2" fmla="*/ 5185 w 10000"/>
              <a:gd name="connsiteY2" fmla="*/ 151 h 10000"/>
              <a:gd name="connsiteX3" fmla="*/ 5740 w 10000"/>
              <a:gd name="connsiteY3" fmla="*/ 0 h 10000"/>
              <a:gd name="connsiteX4" fmla="*/ 6482 w 10000"/>
              <a:gd name="connsiteY4" fmla="*/ 0 h 10000"/>
              <a:gd name="connsiteX5" fmla="*/ 7408 w 10000"/>
              <a:gd name="connsiteY5" fmla="*/ 0 h 10000"/>
              <a:gd name="connsiteX6" fmla="*/ 8334 w 10000"/>
              <a:gd name="connsiteY6" fmla="*/ 0 h 10000"/>
              <a:gd name="connsiteX7" fmla="*/ 8703 w 10000"/>
              <a:gd name="connsiteY7" fmla="*/ 0 h 10000"/>
              <a:gd name="connsiteX8" fmla="*/ 9260 w 10000"/>
              <a:gd name="connsiteY8" fmla="*/ 0 h 10000"/>
              <a:gd name="connsiteX9" fmla="*/ 9445 w 10000"/>
              <a:gd name="connsiteY9" fmla="*/ 0 h 10000"/>
              <a:gd name="connsiteX10" fmla="*/ 9815 w 10000"/>
              <a:gd name="connsiteY10" fmla="*/ 455 h 10000"/>
              <a:gd name="connsiteX11" fmla="*/ 10000 w 10000"/>
              <a:gd name="connsiteY11" fmla="*/ 606 h 10000"/>
              <a:gd name="connsiteX12" fmla="*/ 10000 w 10000"/>
              <a:gd name="connsiteY12" fmla="*/ 910 h 10000"/>
              <a:gd name="connsiteX13" fmla="*/ 10000 w 10000"/>
              <a:gd name="connsiteY13" fmla="*/ 1363 h 10000"/>
              <a:gd name="connsiteX14" fmla="*/ 9815 w 10000"/>
              <a:gd name="connsiteY14" fmla="*/ 1818 h 10000"/>
              <a:gd name="connsiteX15" fmla="*/ 9260 w 10000"/>
              <a:gd name="connsiteY15" fmla="*/ 2273 h 10000"/>
              <a:gd name="connsiteX16" fmla="*/ 9074 w 10000"/>
              <a:gd name="connsiteY16" fmla="*/ 2424 h 10000"/>
              <a:gd name="connsiteX17" fmla="*/ 8334 w 10000"/>
              <a:gd name="connsiteY17" fmla="*/ 2728 h 10000"/>
              <a:gd name="connsiteX18" fmla="*/ 8148 w 10000"/>
              <a:gd name="connsiteY18" fmla="*/ 3181 h 10000"/>
              <a:gd name="connsiteX19" fmla="*/ 8148 w 10000"/>
              <a:gd name="connsiteY19" fmla="*/ 3334 h 10000"/>
              <a:gd name="connsiteX20" fmla="*/ 8148 w 10000"/>
              <a:gd name="connsiteY20" fmla="*/ 3787 h 10000"/>
              <a:gd name="connsiteX21" fmla="*/ 8334 w 10000"/>
              <a:gd name="connsiteY21" fmla="*/ 4091 h 10000"/>
              <a:gd name="connsiteX22" fmla="*/ 8519 w 10000"/>
              <a:gd name="connsiteY22" fmla="*/ 4393 h 10000"/>
              <a:gd name="connsiteX23" fmla="*/ 8703 w 10000"/>
              <a:gd name="connsiteY23" fmla="*/ 4546 h 10000"/>
              <a:gd name="connsiteX24" fmla="*/ 8703 w 10000"/>
              <a:gd name="connsiteY24" fmla="*/ 4697 h 10000"/>
              <a:gd name="connsiteX25" fmla="*/ 9074 w 10000"/>
              <a:gd name="connsiteY25" fmla="*/ 4848 h 10000"/>
              <a:gd name="connsiteX26" fmla="*/ 9260 w 10000"/>
              <a:gd name="connsiteY26" fmla="*/ 5152 h 10000"/>
              <a:gd name="connsiteX27" fmla="*/ 9260 w 10000"/>
              <a:gd name="connsiteY27" fmla="*/ 5606 h 10000"/>
              <a:gd name="connsiteX28" fmla="*/ 9260 w 10000"/>
              <a:gd name="connsiteY28" fmla="*/ 5909 h 10000"/>
              <a:gd name="connsiteX29" fmla="*/ 9074 w 10000"/>
              <a:gd name="connsiteY29" fmla="*/ 6060 h 10000"/>
              <a:gd name="connsiteX30" fmla="*/ 8703 w 10000"/>
              <a:gd name="connsiteY30" fmla="*/ 6666 h 10000"/>
              <a:gd name="connsiteX31" fmla="*/ 8334 w 10000"/>
              <a:gd name="connsiteY31" fmla="*/ 7121 h 10000"/>
              <a:gd name="connsiteX32" fmla="*/ 7408 w 10000"/>
              <a:gd name="connsiteY32" fmla="*/ 7727 h 10000"/>
              <a:gd name="connsiteX33" fmla="*/ 6482 w 10000"/>
              <a:gd name="connsiteY33" fmla="*/ 8484 h 10000"/>
              <a:gd name="connsiteX34" fmla="*/ 2037 w 10000"/>
              <a:gd name="connsiteY34" fmla="*/ 10000 h 10000"/>
              <a:gd name="connsiteX35" fmla="*/ 1852 w 10000"/>
              <a:gd name="connsiteY35" fmla="*/ 10000 h 10000"/>
              <a:gd name="connsiteX36" fmla="*/ 1482 w 10000"/>
              <a:gd name="connsiteY36" fmla="*/ 10000 h 10000"/>
              <a:gd name="connsiteX37" fmla="*/ 740 w 10000"/>
              <a:gd name="connsiteY37" fmla="*/ 9545 h 10000"/>
              <a:gd name="connsiteX38" fmla="*/ 371 w 10000"/>
              <a:gd name="connsiteY38" fmla="*/ 9394 h 10000"/>
              <a:gd name="connsiteX39" fmla="*/ 555 w 10000"/>
              <a:gd name="connsiteY39" fmla="*/ 5152 h 10000"/>
              <a:gd name="connsiteX40" fmla="*/ 0 w 10000"/>
              <a:gd name="connsiteY40" fmla="*/ 4697 h 10000"/>
              <a:gd name="connsiteX41" fmla="*/ 371 w 10000"/>
              <a:gd name="connsiteY41" fmla="*/ 4242 h 10000"/>
              <a:gd name="connsiteX42" fmla="*/ 555 w 10000"/>
              <a:gd name="connsiteY42" fmla="*/ 3940 h 10000"/>
              <a:gd name="connsiteX43" fmla="*/ 555 w 10000"/>
              <a:gd name="connsiteY43" fmla="*/ 3485 h 10000"/>
              <a:gd name="connsiteX44" fmla="*/ 371 w 10000"/>
              <a:gd name="connsiteY44" fmla="*/ 3030 h 10000"/>
              <a:gd name="connsiteX45" fmla="*/ 1111 w 10000"/>
              <a:gd name="connsiteY45" fmla="*/ 2728 h 10000"/>
              <a:gd name="connsiteX46" fmla="*/ 1852 w 10000"/>
              <a:gd name="connsiteY46" fmla="*/ 2575 h 10000"/>
              <a:gd name="connsiteX47" fmla="*/ 2408 w 10000"/>
              <a:gd name="connsiteY47" fmla="*/ 2424 h 10000"/>
              <a:gd name="connsiteX48" fmla="*/ 3148 w 10000"/>
              <a:gd name="connsiteY48" fmla="*/ 2424 h 10000"/>
              <a:gd name="connsiteX49" fmla="*/ 3703 w 10000"/>
              <a:gd name="connsiteY49" fmla="*/ 2424 h 10000"/>
              <a:gd name="connsiteX50" fmla="*/ 4260 w 10000"/>
              <a:gd name="connsiteY50" fmla="*/ 2575 h 10000"/>
              <a:gd name="connsiteX51" fmla="*/ 4629 w 10000"/>
              <a:gd name="connsiteY51" fmla="*/ 2728 h 10000"/>
              <a:gd name="connsiteX52" fmla="*/ 5000 w 10000"/>
              <a:gd name="connsiteY52" fmla="*/ 3030 h 10000"/>
              <a:gd name="connsiteX0" fmla="*/ 5000 w 10000"/>
              <a:gd name="connsiteY0" fmla="*/ 3030 h 10000"/>
              <a:gd name="connsiteX1" fmla="*/ 5000 w 10000"/>
              <a:gd name="connsiteY1" fmla="*/ 455 h 10000"/>
              <a:gd name="connsiteX2" fmla="*/ 5185 w 10000"/>
              <a:gd name="connsiteY2" fmla="*/ 151 h 10000"/>
              <a:gd name="connsiteX3" fmla="*/ 5740 w 10000"/>
              <a:gd name="connsiteY3" fmla="*/ 0 h 10000"/>
              <a:gd name="connsiteX4" fmla="*/ 6482 w 10000"/>
              <a:gd name="connsiteY4" fmla="*/ 0 h 10000"/>
              <a:gd name="connsiteX5" fmla="*/ 7408 w 10000"/>
              <a:gd name="connsiteY5" fmla="*/ 0 h 10000"/>
              <a:gd name="connsiteX6" fmla="*/ 8334 w 10000"/>
              <a:gd name="connsiteY6" fmla="*/ 0 h 10000"/>
              <a:gd name="connsiteX7" fmla="*/ 8703 w 10000"/>
              <a:gd name="connsiteY7" fmla="*/ 0 h 10000"/>
              <a:gd name="connsiteX8" fmla="*/ 9260 w 10000"/>
              <a:gd name="connsiteY8" fmla="*/ 0 h 10000"/>
              <a:gd name="connsiteX9" fmla="*/ 9445 w 10000"/>
              <a:gd name="connsiteY9" fmla="*/ 0 h 10000"/>
              <a:gd name="connsiteX10" fmla="*/ 9815 w 10000"/>
              <a:gd name="connsiteY10" fmla="*/ 455 h 10000"/>
              <a:gd name="connsiteX11" fmla="*/ 10000 w 10000"/>
              <a:gd name="connsiteY11" fmla="*/ 606 h 10000"/>
              <a:gd name="connsiteX12" fmla="*/ 10000 w 10000"/>
              <a:gd name="connsiteY12" fmla="*/ 910 h 10000"/>
              <a:gd name="connsiteX13" fmla="*/ 10000 w 10000"/>
              <a:gd name="connsiteY13" fmla="*/ 1363 h 10000"/>
              <a:gd name="connsiteX14" fmla="*/ 9815 w 10000"/>
              <a:gd name="connsiteY14" fmla="*/ 1818 h 10000"/>
              <a:gd name="connsiteX15" fmla="*/ 9260 w 10000"/>
              <a:gd name="connsiteY15" fmla="*/ 2273 h 10000"/>
              <a:gd name="connsiteX16" fmla="*/ 9074 w 10000"/>
              <a:gd name="connsiteY16" fmla="*/ 2424 h 10000"/>
              <a:gd name="connsiteX17" fmla="*/ 8334 w 10000"/>
              <a:gd name="connsiteY17" fmla="*/ 2728 h 10000"/>
              <a:gd name="connsiteX18" fmla="*/ 8148 w 10000"/>
              <a:gd name="connsiteY18" fmla="*/ 3181 h 10000"/>
              <a:gd name="connsiteX19" fmla="*/ 8148 w 10000"/>
              <a:gd name="connsiteY19" fmla="*/ 3334 h 10000"/>
              <a:gd name="connsiteX20" fmla="*/ 8148 w 10000"/>
              <a:gd name="connsiteY20" fmla="*/ 3787 h 10000"/>
              <a:gd name="connsiteX21" fmla="*/ 8334 w 10000"/>
              <a:gd name="connsiteY21" fmla="*/ 4091 h 10000"/>
              <a:gd name="connsiteX22" fmla="*/ 8519 w 10000"/>
              <a:gd name="connsiteY22" fmla="*/ 4393 h 10000"/>
              <a:gd name="connsiteX23" fmla="*/ 8703 w 10000"/>
              <a:gd name="connsiteY23" fmla="*/ 4546 h 10000"/>
              <a:gd name="connsiteX24" fmla="*/ 8703 w 10000"/>
              <a:gd name="connsiteY24" fmla="*/ 4697 h 10000"/>
              <a:gd name="connsiteX25" fmla="*/ 9074 w 10000"/>
              <a:gd name="connsiteY25" fmla="*/ 4848 h 10000"/>
              <a:gd name="connsiteX26" fmla="*/ 9260 w 10000"/>
              <a:gd name="connsiteY26" fmla="*/ 5152 h 10000"/>
              <a:gd name="connsiteX27" fmla="*/ 9260 w 10000"/>
              <a:gd name="connsiteY27" fmla="*/ 5606 h 10000"/>
              <a:gd name="connsiteX28" fmla="*/ 9260 w 10000"/>
              <a:gd name="connsiteY28" fmla="*/ 5909 h 10000"/>
              <a:gd name="connsiteX29" fmla="*/ 9074 w 10000"/>
              <a:gd name="connsiteY29" fmla="*/ 6060 h 10000"/>
              <a:gd name="connsiteX30" fmla="*/ 8703 w 10000"/>
              <a:gd name="connsiteY30" fmla="*/ 6666 h 10000"/>
              <a:gd name="connsiteX31" fmla="*/ 8334 w 10000"/>
              <a:gd name="connsiteY31" fmla="*/ 7121 h 10000"/>
              <a:gd name="connsiteX32" fmla="*/ 7408 w 10000"/>
              <a:gd name="connsiteY32" fmla="*/ 7727 h 10000"/>
              <a:gd name="connsiteX33" fmla="*/ 6482 w 10000"/>
              <a:gd name="connsiteY33" fmla="*/ 8484 h 10000"/>
              <a:gd name="connsiteX34" fmla="*/ 2037 w 10000"/>
              <a:gd name="connsiteY34" fmla="*/ 10000 h 10000"/>
              <a:gd name="connsiteX35" fmla="*/ 1852 w 10000"/>
              <a:gd name="connsiteY35" fmla="*/ 10000 h 10000"/>
              <a:gd name="connsiteX36" fmla="*/ 740 w 10000"/>
              <a:gd name="connsiteY36" fmla="*/ 9545 h 10000"/>
              <a:gd name="connsiteX37" fmla="*/ 371 w 10000"/>
              <a:gd name="connsiteY37" fmla="*/ 9394 h 10000"/>
              <a:gd name="connsiteX38" fmla="*/ 555 w 10000"/>
              <a:gd name="connsiteY38" fmla="*/ 5152 h 10000"/>
              <a:gd name="connsiteX39" fmla="*/ 0 w 10000"/>
              <a:gd name="connsiteY39" fmla="*/ 4697 h 10000"/>
              <a:gd name="connsiteX40" fmla="*/ 371 w 10000"/>
              <a:gd name="connsiteY40" fmla="*/ 4242 h 10000"/>
              <a:gd name="connsiteX41" fmla="*/ 555 w 10000"/>
              <a:gd name="connsiteY41" fmla="*/ 3940 h 10000"/>
              <a:gd name="connsiteX42" fmla="*/ 555 w 10000"/>
              <a:gd name="connsiteY42" fmla="*/ 3485 h 10000"/>
              <a:gd name="connsiteX43" fmla="*/ 371 w 10000"/>
              <a:gd name="connsiteY43" fmla="*/ 3030 h 10000"/>
              <a:gd name="connsiteX44" fmla="*/ 1111 w 10000"/>
              <a:gd name="connsiteY44" fmla="*/ 2728 h 10000"/>
              <a:gd name="connsiteX45" fmla="*/ 1852 w 10000"/>
              <a:gd name="connsiteY45" fmla="*/ 2575 h 10000"/>
              <a:gd name="connsiteX46" fmla="*/ 2408 w 10000"/>
              <a:gd name="connsiteY46" fmla="*/ 2424 h 10000"/>
              <a:gd name="connsiteX47" fmla="*/ 3148 w 10000"/>
              <a:gd name="connsiteY47" fmla="*/ 2424 h 10000"/>
              <a:gd name="connsiteX48" fmla="*/ 3703 w 10000"/>
              <a:gd name="connsiteY48" fmla="*/ 2424 h 10000"/>
              <a:gd name="connsiteX49" fmla="*/ 4260 w 10000"/>
              <a:gd name="connsiteY49" fmla="*/ 2575 h 10000"/>
              <a:gd name="connsiteX50" fmla="*/ 4629 w 10000"/>
              <a:gd name="connsiteY50" fmla="*/ 2728 h 10000"/>
              <a:gd name="connsiteX51" fmla="*/ 5000 w 10000"/>
              <a:gd name="connsiteY51" fmla="*/ 3030 h 10000"/>
              <a:gd name="connsiteX0" fmla="*/ 5000 w 10000"/>
              <a:gd name="connsiteY0" fmla="*/ 3030 h 10000"/>
              <a:gd name="connsiteX1" fmla="*/ 5000 w 10000"/>
              <a:gd name="connsiteY1" fmla="*/ 455 h 10000"/>
              <a:gd name="connsiteX2" fmla="*/ 5185 w 10000"/>
              <a:gd name="connsiteY2" fmla="*/ 151 h 10000"/>
              <a:gd name="connsiteX3" fmla="*/ 5740 w 10000"/>
              <a:gd name="connsiteY3" fmla="*/ 0 h 10000"/>
              <a:gd name="connsiteX4" fmla="*/ 6482 w 10000"/>
              <a:gd name="connsiteY4" fmla="*/ 0 h 10000"/>
              <a:gd name="connsiteX5" fmla="*/ 7408 w 10000"/>
              <a:gd name="connsiteY5" fmla="*/ 0 h 10000"/>
              <a:gd name="connsiteX6" fmla="*/ 8334 w 10000"/>
              <a:gd name="connsiteY6" fmla="*/ 0 h 10000"/>
              <a:gd name="connsiteX7" fmla="*/ 8703 w 10000"/>
              <a:gd name="connsiteY7" fmla="*/ 0 h 10000"/>
              <a:gd name="connsiteX8" fmla="*/ 9260 w 10000"/>
              <a:gd name="connsiteY8" fmla="*/ 0 h 10000"/>
              <a:gd name="connsiteX9" fmla="*/ 9445 w 10000"/>
              <a:gd name="connsiteY9" fmla="*/ 0 h 10000"/>
              <a:gd name="connsiteX10" fmla="*/ 9815 w 10000"/>
              <a:gd name="connsiteY10" fmla="*/ 455 h 10000"/>
              <a:gd name="connsiteX11" fmla="*/ 10000 w 10000"/>
              <a:gd name="connsiteY11" fmla="*/ 606 h 10000"/>
              <a:gd name="connsiteX12" fmla="*/ 10000 w 10000"/>
              <a:gd name="connsiteY12" fmla="*/ 910 h 10000"/>
              <a:gd name="connsiteX13" fmla="*/ 10000 w 10000"/>
              <a:gd name="connsiteY13" fmla="*/ 1363 h 10000"/>
              <a:gd name="connsiteX14" fmla="*/ 9815 w 10000"/>
              <a:gd name="connsiteY14" fmla="*/ 1818 h 10000"/>
              <a:gd name="connsiteX15" fmla="*/ 9260 w 10000"/>
              <a:gd name="connsiteY15" fmla="*/ 2273 h 10000"/>
              <a:gd name="connsiteX16" fmla="*/ 9074 w 10000"/>
              <a:gd name="connsiteY16" fmla="*/ 2424 h 10000"/>
              <a:gd name="connsiteX17" fmla="*/ 8334 w 10000"/>
              <a:gd name="connsiteY17" fmla="*/ 2728 h 10000"/>
              <a:gd name="connsiteX18" fmla="*/ 8148 w 10000"/>
              <a:gd name="connsiteY18" fmla="*/ 3181 h 10000"/>
              <a:gd name="connsiteX19" fmla="*/ 8148 w 10000"/>
              <a:gd name="connsiteY19" fmla="*/ 3334 h 10000"/>
              <a:gd name="connsiteX20" fmla="*/ 8148 w 10000"/>
              <a:gd name="connsiteY20" fmla="*/ 3787 h 10000"/>
              <a:gd name="connsiteX21" fmla="*/ 8334 w 10000"/>
              <a:gd name="connsiteY21" fmla="*/ 4091 h 10000"/>
              <a:gd name="connsiteX22" fmla="*/ 8519 w 10000"/>
              <a:gd name="connsiteY22" fmla="*/ 4393 h 10000"/>
              <a:gd name="connsiteX23" fmla="*/ 8703 w 10000"/>
              <a:gd name="connsiteY23" fmla="*/ 4546 h 10000"/>
              <a:gd name="connsiteX24" fmla="*/ 8703 w 10000"/>
              <a:gd name="connsiteY24" fmla="*/ 4697 h 10000"/>
              <a:gd name="connsiteX25" fmla="*/ 9074 w 10000"/>
              <a:gd name="connsiteY25" fmla="*/ 4848 h 10000"/>
              <a:gd name="connsiteX26" fmla="*/ 9260 w 10000"/>
              <a:gd name="connsiteY26" fmla="*/ 5152 h 10000"/>
              <a:gd name="connsiteX27" fmla="*/ 9260 w 10000"/>
              <a:gd name="connsiteY27" fmla="*/ 5606 h 10000"/>
              <a:gd name="connsiteX28" fmla="*/ 9260 w 10000"/>
              <a:gd name="connsiteY28" fmla="*/ 5909 h 10000"/>
              <a:gd name="connsiteX29" fmla="*/ 9074 w 10000"/>
              <a:gd name="connsiteY29" fmla="*/ 6060 h 10000"/>
              <a:gd name="connsiteX30" fmla="*/ 8703 w 10000"/>
              <a:gd name="connsiteY30" fmla="*/ 6666 h 10000"/>
              <a:gd name="connsiteX31" fmla="*/ 8334 w 10000"/>
              <a:gd name="connsiteY31" fmla="*/ 7121 h 10000"/>
              <a:gd name="connsiteX32" fmla="*/ 7408 w 10000"/>
              <a:gd name="connsiteY32" fmla="*/ 7727 h 10000"/>
              <a:gd name="connsiteX33" fmla="*/ 6482 w 10000"/>
              <a:gd name="connsiteY33" fmla="*/ 8484 h 10000"/>
              <a:gd name="connsiteX34" fmla="*/ 2037 w 10000"/>
              <a:gd name="connsiteY34" fmla="*/ 10000 h 10000"/>
              <a:gd name="connsiteX35" fmla="*/ 740 w 10000"/>
              <a:gd name="connsiteY35" fmla="*/ 9545 h 10000"/>
              <a:gd name="connsiteX36" fmla="*/ 371 w 10000"/>
              <a:gd name="connsiteY36" fmla="*/ 9394 h 10000"/>
              <a:gd name="connsiteX37" fmla="*/ 555 w 10000"/>
              <a:gd name="connsiteY37" fmla="*/ 5152 h 10000"/>
              <a:gd name="connsiteX38" fmla="*/ 0 w 10000"/>
              <a:gd name="connsiteY38" fmla="*/ 4697 h 10000"/>
              <a:gd name="connsiteX39" fmla="*/ 371 w 10000"/>
              <a:gd name="connsiteY39" fmla="*/ 4242 h 10000"/>
              <a:gd name="connsiteX40" fmla="*/ 555 w 10000"/>
              <a:gd name="connsiteY40" fmla="*/ 3940 h 10000"/>
              <a:gd name="connsiteX41" fmla="*/ 555 w 10000"/>
              <a:gd name="connsiteY41" fmla="*/ 3485 h 10000"/>
              <a:gd name="connsiteX42" fmla="*/ 371 w 10000"/>
              <a:gd name="connsiteY42" fmla="*/ 3030 h 10000"/>
              <a:gd name="connsiteX43" fmla="*/ 1111 w 10000"/>
              <a:gd name="connsiteY43" fmla="*/ 2728 h 10000"/>
              <a:gd name="connsiteX44" fmla="*/ 1852 w 10000"/>
              <a:gd name="connsiteY44" fmla="*/ 2575 h 10000"/>
              <a:gd name="connsiteX45" fmla="*/ 2408 w 10000"/>
              <a:gd name="connsiteY45" fmla="*/ 2424 h 10000"/>
              <a:gd name="connsiteX46" fmla="*/ 3148 w 10000"/>
              <a:gd name="connsiteY46" fmla="*/ 2424 h 10000"/>
              <a:gd name="connsiteX47" fmla="*/ 3703 w 10000"/>
              <a:gd name="connsiteY47" fmla="*/ 2424 h 10000"/>
              <a:gd name="connsiteX48" fmla="*/ 4260 w 10000"/>
              <a:gd name="connsiteY48" fmla="*/ 2575 h 10000"/>
              <a:gd name="connsiteX49" fmla="*/ 4629 w 10000"/>
              <a:gd name="connsiteY49" fmla="*/ 2728 h 10000"/>
              <a:gd name="connsiteX50" fmla="*/ 5000 w 10000"/>
              <a:gd name="connsiteY50" fmla="*/ 3030 h 10000"/>
              <a:gd name="connsiteX0" fmla="*/ 5000 w 10000"/>
              <a:gd name="connsiteY0" fmla="*/ 3030 h 9545"/>
              <a:gd name="connsiteX1" fmla="*/ 5000 w 10000"/>
              <a:gd name="connsiteY1" fmla="*/ 455 h 9545"/>
              <a:gd name="connsiteX2" fmla="*/ 5185 w 10000"/>
              <a:gd name="connsiteY2" fmla="*/ 151 h 9545"/>
              <a:gd name="connsiteX3" fmla="*/ 5740 w 10000"/>
              <a:gd name="connsiteY3" fmla="*/ 0 h 9545"/>
              <a:gd name="connsiteX4" fmla="*/ 6482 w 10000"/>
              <a:gd name="connsiteY4" fmla="*/ 0 h 9545"/>
              <a:gd name="connsiteX5" fmla="*/ 7408 w 10000"/>
              <a:gd name="connsiteY5" fmla="*/ 0 h 9545"/>
              <a:gd name="connsiteX6" fmla="*/ 8334 w 10000"/>
              <a:gd name="connsiteY6" fmla="*/ 0 h 9545"/>
              <a:gd name="connsiteX7" fmla="*/ 8703 w 10000"/>
              <a:gd name="connsiteY7" fmla="*/ 0 h 9545"/>
              <a:gd name="connsiteX8" fmla="*/ 9260 w 10000"/>
              <a:gd name="connsiteY8" fmla="*/ 0 h 9545"/>
              <a:gd name="connsiteX9" fmla="*/ 9445 w 10000"/>
              <a:gd name="connsiteY9" fmla="*/ 0 h 9545"/>
              <a:gd name="connsiteX10" fmla="*/ 9815 w 10000"/>
              <a:gd name="connsiteY10" fmla="*/ 455 h 9545"/>
              <a:gd name="connsiteX11" fmla="*/ 10000 w 10000"/>
              <a:gd name="connsiteY11" fmla="*/ 606 h 9545"/>
              <a:gd name="connsiteX12" fmla="*/ 10000 w 10000"/>
              <a:gd name="connsiteY12" fmla="*/ 910 h 9545"/>
              <a:gd name="connsiteX13" fmla="*/ 10000 w 10000"/>
              <a:gd name="connsiteY13" fmla="*/ 1363 h 9545"/>
              <a:gd name="connsiteX14" fmla="*/ 9815 w 10000"/>
              <a:gd name="connsiteY14" fmla="*/ 1818 h 9545"/>
              <a:gd name="connsiteX15" fmla="*/ 9260 w 10000"/>
              <a:gd name="connsiteY15" fmla="*/ 2273 h 9545"/>
              <a:gd name="connsiteX16" fmla="*/ 9074 w 10000"/>
              <a:gd name="connsiteY16" fmla="*/ 2424 h 9545"/>
              <a:gd name="connsiteX17" fmla="*/ 8334 w 10000"/>
              <a:gd name="connsiteY17" fmla="*/ 2728 h 9545"/>
              <a:gd name="connsiteX18" fmla="*/ 8148 w 10000"/>
              <a:gd name="connsiteY18" fmla="*/ 3181 h 9545"/>
              <a:gd name="connsiteX19" fmla="*/ 8148 w 10000"/>
              <a:gd name="connsiteY19" fmla="*/ 3334 h 9545"/>
              <a:gd name="connsiteX20" fmla="*/ 8148 w 10000"/>
              <a:gd name="connsiteY20" fmla="*/ 3787 h 9545"/>
              <a:gd name="connsiteX21" fmla="*/ 8334 w 10000"/>
              <a:gd name="connsiteY21" fmla="*/ 4091 h 9545"/>
              <a:gd name="connsiteX22" fmla="*/ 8519 w 10000"/>
              <a:gd name="connsiteY22" fmla="*/ 4393 h 9545"/>
              <a:gd name="connsiteX23" fmla="*/ 8703 w 10000"/>
              <a:gd name="connsiteY23" fmla="*/ 4546 h 9545"/>
              <a:gd name="connsiteX24" fmla="*/ 8703 w 10000"/>
              <a:gd name="connsiteY24" fmla="*/ 4697 h 9545"/>
              <a:gd name="connsiteX25" fmla="*/ 9074 w 10000"/>
              <a:gd name="connsiteY25" fmla="*/ 4848 h 9545"/>
              <a:gd name="connsiteX26" fmla="*/ 9260 w 10000"/>
              <a:gd name="connsiteY26" fmla="*/ 5152 h 9545"/>
              <a:gd name="connsiteX27" fmla="*/ 9260 w 10000"/>
              <a:gd name="connsiteY27" fmla="*/ 5606 h 9545"/>
              <a:gd name="connsiteX28" fmla="*/ 9260 w 10000"/>
              <a:gd name="connsiteY28" fmla="*/ 5909 h 9545"/>
              <a:gd name="connsiteX29" fmla="*/ 9074 w 10000"/>
              <a:gd name="connsiteY29" fmla="*/ 6060 h 9545"/>
              <a:gd name="connsiteX30" fmla="*/ 8703 w 10000"/>
              <a:gd name="connsiteY30" fmla="*/ 6666 h 9545"/>
              <a:gd name="connsiteX31" fmla="*/ 8334 w 10000"/>
              <a:gd name="connsiteY31" fmla="*/ 7121 h 9545"/>
              <a:gd name="connsiteX32" fmla="*/ 7408 w 10000"/>
              <a:gd name="connsiteY32" fmla="*/ 7727 h 9545"/>
              <a:gd name="connsiteX33" fmla="*/ 6482 w 10000"/>
              <a:gd name="connsiteY33" fmla="*/ 8484 h 9545"/>
              <a:gd name="connsiteX34" fmla="*/ 740 w 10000"/>
              <a:gd name="connsiteY34" fmla="*/ 9545 h 9545"/>
              <a:gd name="connsiteX35" fmla="*/ 371 w 10000"/>
              <a:gd name="connsiteY35" fmla="*/ 9394 h 9545"/>
              <a:gd name="connsiteX36" fmla="*/ 555 w 10000"/>
              <a:gd name="connsiteY36" fmla="*/ 5152 h 9545"/>
              <a:gd name="connsiteX37" fmla="*/ 0 w 10000"/>
              <a:gd name="connsiteY37" fmla="*/ 4697 h 9545"/>
              <a:gd name="connsiteX38" fmla="*/ 371 w 10000"/>
              <a:gd name="connsiteY38" fmla="*/ 4242 h 9545"/>
              <a:gd name="connsiteX39" fmla="*/ 555 w 10000"/>
              <a:gd name="connsiteY39" fmla="*/ 3940 h 9545"/>
              <a:gd name="connsiteX40" fmla="*/ 555 w 10000"/>
              <a:gd name="connsiteY40" fmla="*/ 3485 h 9545"/>
              <a:gd name="connsiteX41" fmla="*/ 371 w 10000"/>
              <a:gd name="connsiteY41" fmla="*/ 3030 h 9545"/>
              <a:gd name="connsiteX42" fmla="*/ 1111 w 10000"/>
              <a:gd name="connsiteY42" fmla="*/ 2728 h 9545"/>
              <a:gd name="connsiteX43" fmla="*/ 1852 w 10000"/>
              <a:gd name="connsiteY43" fmla="*/ 2575 h 9545"/>
              <a:gd name="connsiteX44" fmla="*/ 2408 w 10000"/>
              <a:gd name="connsiteY44" fmla="*/ 2424 h 9545"/>
              <a:gd name="connsiteX45" fmla="*/ 3148 w 10000"/>
              <a:gd name="connsiteY45" fmla="*/ 2424 h 9545"/>
              <a:gd name="connsiteX46" fmla="*/ 3703 w 10000"/>
              <a:gd name="connsiteY46" fmla="*/ 2424 h 9545"/>
              <a:gd name="connsiteX47" fmla="*/ 4260 w 10000"/>
              <a:gd name="connsiteY47" fmla="*/ 2575 h 9545"/>
              <a:gd name="connsiteX48" fmla="*/ 4629 w 10000"/>
              <a:gd name="connsiteY48" fmla="*/ 2728 h 9545"/>
              <a:gd name="connsiteX49" fmla="*/ 5000 w 10000"/>
              <a:gd name="connsiteY49" fmla="*/ 3030 h 9545"/>
              <a:gd name="connsiteX0" fmla="*/ 5000 w 10000"/>
              <a:gd name="connsiteY0" fmla="*/ 3174 h 9842"/>
              <a:gd name="connsiteX1" fmla="*/ 5000 w 10000"/>
              <a:gd name="connsiteY1" fmla="*/ 477 h 9842"/>
              <a:gd name="connsiteX2" fmla="*/ 5185 w 10000"/>
              <a:gd name="connsiteY2" fmla="*/ 158 h 9842"/>
              <a:gd name="connsiteX3" fmla="*/ 5740 w 10000"/>
              <a:gd name="connsiteY3" fmla="*/ 0 h 9842"/>
              <a:gd name="connsiteX4" fmla="*/ 6482 w 10000"/>
              <a:gd name="connsiteY4" fmla="*/ 0 h 9842"/>
              <a:gd name="connsiteX5" fmla="*/ 7408 w 10000"/>
              <a:gd name="connsiteY5" fmla="*/ 0 h 9842"/>
              <a:gd name="connsiteX6" fmla="*/ 8334 w 10000"/>
              <a:gd name="connsiteY6" fmla="*/ 0 h 9842"/>
              <a:gd name="connsiteX7" fmla="*/ 8703 w 10000"/>
              <a:gd name="connsiteY7" fmla="*/ 0 h 9842"/>
              <a:gd name="connsiteX8" fmla="*/ 9260 w 10000"/>
              <a:gd name="connsiteY8" fmla="*/ 0 h 9842"/>
              <a:gd name="connsiteX9" fmla="*/ 9445 w 10000"/>
              <a:gd name="connsiteY9" fmla="*/ 0 h 9842"/>
              <a:gd name="connsiteX10" fmla="*/ 9815 w 10000"/>
              <a:gd name="connsiteY10" fmla="*/ 477 h 9842"/>
              <a:gd name="connsiteX11" fmla="*/ 10000 w 10000"/>
              <a:gd name="connsiteY11" fmla="*/ 635 h 9842"/>
              <a:gd name="connsiteX12" fmla="*/ 10000 w 10000"/>
              <a:gd name="connsiteY12" fmla="*/ 953 h 9842"/>
              <a:gd name="connsiteX13" fmla="*/ 10000 w 10000"/>
              <a:gd name="connsiteY13" fmla="*/ 1428 h 9842"/>
              <a:gd name="connsiteX14" fmla="*/ 9815 w 10000"/>
              <a:gd name="connsiteY14" fmla="*/ 1905 h 9842"/>
              <a:gd name="connsiteX15" fmla="*/ 9260 w 10000"/>
              <a:gd name="connsiteY15" fmla="*/ 2381 h 9842"/>
              <a:gd name="connsiteX16" fmla="*/ 9074 w 10000"/>
              <a:gd name="connsiteY16" fmla="*/ 2540 h 9842"/>
              <a:gd name="connsiteX17" fmla="*/ 8334 w 10000"/>
              <a:gd name="connsiteY17" fmla="*/ 2858 h 9842"/>
              <a:gd name="connsiteX18" fmla="*/ 8148 w 10000"/>
              <a:gd name="connsiteY18" fmla="*/ 3333 h 9842"/>
              <a:gd name="connsiteX19" fmla="*/ 8148 w 10000"/>
              <a:gd name="connsiteY19" fmla="*/ 3493 h 9842"/>
              <a:gd name="connsiteX20" fmla="*/ 8148 w 10000"/>
              <a:gd name="connsiteY20" fmla="*/ 3968 h 9842"/>
              <a:gd name="connsiteX21" fmla="*/ 8334 w 10000"/>
              <a:gd name="connsiteY21" fmla="*/ 4286 h 9842"/>
              <a:gd name="connsiteX22" fmla="*/ 8519 w 10000"/>
              <a:gd name="connsiteY22" fmla="*/ 4602 h 9842"/>
              <a:gd name="connsiteX23" fmla="*/ 8703 w 10000"/>
              <a:gd name="connsiteY23" fmla="*/ 4763 h 9842"/>
              <a:gd name="connsiteX24" fmla="*/ 8703 w 10000"/>
              <a:gd name="connsiteY24" fmla="*/ 4921 h 9842"/>
              <a:gd name="connsiteX25" fmla="*/ 9074 w 10000"/>
              <a:gd name="connsiteY25" fmla="*/ 5079 h 9842"/>
              <a:gd name="connsiteX26" fmla="*/ 9260 w 10000"/>
              <a:gd name="connsiteY26" fmla="*/ 5398 h 9842"/>
              <a:gd name="connsiteX27" fmla="*/ 9260 w 10000"/>
              <a:gd name="connsiteY27" fmla="*/ 5873 h 9842"/>
              <a:gd name="connsiteX28" fmla="*/ 9260 w 10000"/>
              <a:gd name="connsiteY28" fmla="*/ 6191 h 9842"/>
              <a:gd name="connsiteX29" fmla="*/ 9074 w 10000"/>
              <a:gd name="connsiteY29" fmla="*/ 6349 h 9842"/>
              <a:gd name="connsiteX30" fmla="*/ 8703 w 10000"/>
              <a:gd name="connsiteY30" fmla="*/ 6984 h 9842"/>
              <a:gd name="connsiteX31" fmla="*/ 8334 w 10000"/>
              <a:gd name="connsiteY31" fmla="*/ 7460 h 9842"/>
              <a:gd name="connsiteX32" fmla="*/ 7408 w 10000"/>
              <a:gd name="connsiteY32" fmla="*/ 8095 h 9842"/>
              <a:gd name="connsiteX33" fmla="*/ 6482 w 10000"/>
              <a:gd name="connsiteY33" fmla="*/ 8888 h 9842"/>
              <a:gd name="connsiteX34" fmla="*/ 371 w 10000"/>
              <a:gd name="connsiteY34" fmla="*/ 9842 h 9842"/>
              <a:gd name="connsiteX35" fmla="*/ 555 w 10000"/>
              <a:gd name="connsiteY35" fmla="*/ 5398 h 9842"/>
              <a:gd name="connsiteX36" fmla="*/ 0 w 10000"/>
              <a:gd name="connsiteY36" fmla="*/ 4921 h 9842"/>
              <a:gd name="connsiteX37" fmla="*/ 371 w 10000"/>
              <a:gd name="connsiteY37" fmla="*/ 4444 h 9842"/>
              <a:gd name="connsiteX38" fmla="*/ 555 w 10000"/>
              <a:gd name="connsiteY38" fmla="*/ 4128 h 9842"/>
              <a:gd name="connsiteX39" fmla="*/ 555 w 10000"/>
              <a:gd name="connsiteY39" fmla="*/ 3651 h 9842"/>
              <a:gd name="connsiteX40" fmla="*/ 371 w 10000"/>
              <a:gd name="connsiteY40" fmla="*/ 3174 h 9842"/>
              <a:gd name="connsiteX41" fmla="*/ 1111 w 10000"/>
              <a:gd name="connsiteY41" fmla="*/ 2858 h 9842"/>
              <a:gd name="connsiteX42" fmla="*/ 1852 w 10000"/>
              <a:gd name="connsiteY42" fmla="*/ 2698 h 9842"/>
              <a:gd name="connsiteX43" fmla="*/ 2408 w 10000"/>
              <a:gd name="connsiteY43" fmla="*/ 2540 h 9842"/>
              <a:gd name="connsiteX44" fmla="*/ 3148 w 10000"/>
              <a:gd name="connsiteY44" fmla="*/ 2540 h 9842"/>
              <a:gd name="connsiteX45" fmla="*/ 3703 w 10000"/>
              <a:gd name="connsiteY45" fmla="*/ 2540 h 9842"/>
              <a:gd name="connsiteX46" fmla="*/ 4260 w 10000"/>
              <a:gd name="connsiteY46" fmla="*/ 2698 h 9842"/>
              <a:gd name="connsiteX47" fmla="*/ 4629 w 10000"/>
              <a:gd name="connsiteY47" fmla="*/ 2858 h 9842"/>
              <a:gd name="connsiteX48" fmla="*/ 5000 w 10000"/>
              <a:gd name="connsiteY48" fmla="*/ 3174 h 9842"/>
              <a:gd name="connsiteX0" fmla="*/ 5000 w 10000"/>
              <a:gd name="connsiteY0" fmla="*/ 3225 h 9031"/>
              <a:gd name="connsiteX1" fmla="*/ 5000 w 10000"/>
              <a:gd name="connsiteY1" fmla="*/ 485 h 9031"/>
              <a:gd name="connsiteX2" fmla="*/ 5185 w 10000"/>
              <a:gd name="connsiteY2" fmla="*/ 161 h 9031"/>
              <a:gd name="connsiteX3" fmla="*/ 5740 w 10000"/>
              <a:gd name="connsiteY3" fmla="*/ 0 h 9031"/>
              <a:gd name="connsiteX4" fmla="*/ 6482 w 10000"/>
              <a:gd name="connsiteY4" fmla="*/ 0 h 9031"/>
              <a:gd name="connsiteX5" fmla="*/ 7408 w 10000"/>
              <a:gd name="connsiteY5" fmla="*/ 0 h 9031"/>
              <a:gd name="connsiteX6" fmla="*/ 8334 w 10000"/>
              <a:gd name="connsiteY6" fmla="*/ 0 h 9031"/>
              <a:gd name="connsiteX7" fmla="*/ 8703 w 10000"/>
              <a:gd name="connsiteY7" fmla="*/ 0 h 9031"/>
              <a:gd name="connsiteX8" fmla="*/ 9260 w 10000"/>
              <a:gd name="connsiteY8" fmla="*/ 0 h 9031"/>
              <a:gd name="connsiteX9" fmla="*/ 9445 w 10000"/>
              <a:gd name="connsiteY9" fmla="*/ 0 h 9031"/>
              <a:gd name="connsiteX10" fmla="*/ 9815 w 10000"/>
              <a:gd name="connsiteY10" fmla="*/ 485 h 9031"/>
              <a:gd name="connsiteX11" fmla="*/ 10000 w 10000"/>
              <a:gd name="connsiteY11" fmla="*/ 645 h 9031"/>
              <a:gd name="connsiteX12" fmla="*/ 10000 w 10000"/>
              <a:gd name="connsiteY12" fmla="*/ 968 h 9031"/>
              <a:gd name="connsiteX13" fmla="*/ 10000 w 10000"/>
              <a:gd name="connsiteY13" fmla="*/ 1451 h 9031"/>
              <a:gd name="connsiteX14" fmla="*/ 9815 w 10000"/>
              <a:gd name="connsiteY14" fmla="*/ 1936 h 9031"/>
              <a:gd name="connsiteX15" fmla="*/ 9260 w 10000"/>
              <a:gd name="connsiteY15" fmla="*/ 2419 h 9031"/>
              <a:gd name="connsiteX16" fmla="*/ 9074 w 10000"/>
              <a:gd name="connsiteY16" fmla="*/ 2581 h 9031"/>
              <a:gd name="connsiteX17" fmla="*/ 8334 w 10000"/>
              <a:gd name="connsiteY17" fmla="*/ 2904 h 9031"/>
              <a:gd name="connsiteX18" fmla="*/ 8148 w 10000"/>
              <a:gd name="connsiteY18" fmla="*/ 3387 h 9031"/>
              <a:gd name="connsiteX19" fmla="*/ 8148 w 10000"/>
              <a:gd name="connsiteY19" fmla="*/ 3549 h 9031"/>
              <a:gd name="connsiteX20" fmla="*/ 8148 w 10000"/>
              <a:gd name="connsiteY20" fmla="*/ 4032 h 9031"/>
              <a:gd name="connsiteX21" fmla="*/ 8334 w 10000"/>
              <a:gd name="connsiteY21" fmla="*/ 4355 h 9031"/>
              <a:gd name="connsiteX22" fmla="*/ 8519 w 10000"/>
              <a:gd name="connsiteY22" fmla="*/ 4676 h 9031"/>
              <a:gd name="connsiteX23" fmla="*/ 8703 w 10000"/>
              <a:gd name="connsiteY23" fmla="*/ 4839 h 9031"/>
              <a:gd name="connsiteX24" fmla="*/ 8703 w 10000"/>
              <a:gd name="connsiteY24" fmla="*/ 5000 h 9031"/>
              <a:gd name="connsiteX25" fmla="*/ 9074 w 10000"/>
              <a:gd name="connsiteY25" fmla="*/ 5161 h 9031"/>
              <a:gd name="connsiteX26" fmla="*/ 9260 w 10000"/>
              <a:gd name="connsiteY26" fmla="*/ 5485 h 9031"/>
              <a:gd name="connsiteX27" fmla="*/ 9260 w 10000"/>
              <a:gd name="connsiteY27" fmla="*/ 5967 h 9031"/>
              <a:gd name="connsiteX28" fmla="*/ 9260 w 10000"/>
              <a:gd name="connsiteY28" fmla="*/ 6290 h 9031"/>
              <a:gd name="connsiteX29" fmla="*/ 9074 w 10000"/>
              <a:gd name="connsiteY29" fmla="*/ 6451 h 9031"/>
              <a:gd name="connsiteX30" fmla="*/ 8703 w 10000"/>
              <a:gd name="connsiteY30" fmla="*/ 7096 h 9031"/>
              <a:gd name="connsiteX31" fmla="*/ 8334 w 10000"/>
              <a:gd name="connsiteY31" fmla="*/ 7580 h 9031"/>
              <a:gd name="connsiteX32" fmla="*/ 7408 w 10000"/>
              <a:gd name="connsiteY32" fmla="*/ 8225 h 9031"/>
              <a:gd name="connsiteX33" fmla="*/ 6482 w 10000"/>
              <a:gd name="connsiteY33" fmla="*/ 9031 h 9031"/>
              <a:gd name="connsiteX34" fmla="*/ 555 w 10000"/>
              <a:gd name="connsiteY34" fmla="*/ 5485 h 9031"/>
              <a:gd name="connsiteX35" fmla="*/ 0 w 10000"/>
              <a:gd name="connsiteY35" fmla="*/ 5000 h 9031"/>
              <a:gd name="connsiteX36" fmla="*/ 371 w 10000"/>
              <a:gd name="connsiteY36" fmla="*/ 4515 h 9031"/>
              <a:gd name="connsiteX37" fmla="*/ 555 w 10000"/>
              <a:gd name="connsiteY37" fmla="*/ 4194 h 9031"/>
              <a:gd name="connsiteX38" fmla="*/ 555 w 10000"/>
              <a:gd name="connsiteY38" fmla="*/ 3710 h 9031"/>
              <a:gd name="connsiteX39" fmla="*/ 371 w 10000"/>
              <a:gd name="connsiteY39" fmla="*/ 3225 h 9031"/>
              <a:gd name="connsiteX40" fmla="*/ 1111 w 10000"/>
              <a:gd name="connsiteY40" fmla="*/ 2904 h 9031"/>
              <a:gd name="connsiteX41" fmla="*/ 1852 w 10000"/>
              <a:gd name="connsiteY41" fmla="*/ 2741 h 9031"/>
              <a:gd name="connsiteX42" fmla="*/ 2408 w 10000"/>
              <a:gd name="connsiteY42" fmla="*/ 2581 h 9031"/>
              <a:gd name="connsiteX43" fmla="*/ 3148 w 10000"/>
              <a:gd name="connsiteY43" fmla="*/ 2581 h 9031"/>
              <a:gd name="connsiteX44" fmla="*/ 3703 w 10000"/>
              <a:gd name="connsiteY44" fmla="*/ 2581 h 9031"/>
              <a:gd name="connsiteX45" fmla="*/ 4260 w 10000"/>
              <a:gd name="connsiteY45" fmla="*/ 2741 h 9031"/>
              <a:gd name="connsiteX46" fmla="*/ 4629 w 10000"/>
              <a:gd name="connsiteY46" fmla="*/ 2904 h 9031"/>
              <a:gd name="connsiteX47" fmla="*/ 5000 w 10000"/>
              <a:gd name="connsiteY47" fmla="*/ 3225 h 9031"/>
              <a:gd name="connsiteX0" fmla="*/ 5000 w 10000"/>
              <a:gd name="connsiteY0" fmla="*/ 3571 h 10000"/>
              <a:gd name="connsiteX1" fmla="*/ 5000 w 10000"/>
              <a:gd name="connsiteY1" fmla="*/ 537 h 10000"/>
              <a:gd name="connsiteX2" fmla="*/ 5185 w 10000"/>
              <a:gd name="connsiteY2" fmla="*/ 178 h 10000"/>
              <a:gd name="connsiteX3" fmla="*/ 5740 w 10000"/>
              <a:gd name="connsiteY3" fmla="*/ 0 h 10000"/>
              <a:gd name="connsiteX4" fmla="*/ 6482 w 10000"/>
              <a:gd name="connsiteY4" fmla="*/ 0 h 10000"/>
              <a:gd name="connsiteX5" fmla="*/ 7408 w 10000"/>
              <a:gd name="connsiteY5" fmla="*/ 0 h 10000"/>
              <a:gd name="connsiteX6" fmla="*/ 8334 w 10000"/>
              <a:gd name="connsiteY6" fmla="*/ 0 h 10000"/>
              <a:gd name="connsiteX7" fmla="*/ 8703 w 10000"/>
              <a:gd name="connsiteY7" fmla="*/ 0 h 10000"/>
              <a:gd name="connsiteX8" fmla="*/ 9260 w 10000"/>
              <a:gd name="connsiteY8" fmla="*/ 0 h 10000"/>
              <a:gd name="connsiteX9" fmla="*/ 9445 w 10000"/>
              <a:gd name="connsiteY9" fmla="*/ 0 h 10000"/>
              <a:gd name="connsiteX10" fmla="*/ 9815 w 10000"/>
              <a:gd name="connsiteY10" fmla="*/ 537 h 10000"/>
              <a:gd name="connsiteX11" fmla="*/ 10000 w 10000"/>
              <a:gd name="connsiteY11" fmla="*/ 714 h 10000"/>
              <a:gd name="connsiteX12" fmla="*/ 10000 w 10000"/>
              <a:gd name="connsiteY12" fmla="*/ 1072 h 10000"/>
              <a:gd name="connsiteX13" fmla="*/ 10000 w 10000"/>
              <a:gd name="connsiteY13" fmla="*/ 1607 h 10000"/>
              <a:gd name="connsiteX14" fmla="*/ 9815 w 10000"/>
              <a:gd name="connsiteY14" fmla="*/ 2144 h 10000"/>
              <a:gd name="connsiteX15" fmla="*/ 9260 w 10000"/>
              <a:gd name="connsiteY15" fmla="*/ 2679 h 10000"/>
              <a:gd name="connsiteX16" fmla="*/ 9074 w 10000"/>
              <a:gd name="connsiteY16" fmla="*/ 2858 h 10000"/>
              <a:gd name="connsiteX17" fmla="*/ 8334 w 10000"/>
              <a:gd name="connsiteY17" fmla="*/ 3216 h 10000"/>
              <a:gd name="connsiteX18" fmla="*/ 8148 w 10000"/>
              <a:gd name="connsiteY18" fmla="*/ 3750 h 10000"/>
              <a:gd name="connsiteX19" fmla="*/ 8148 w 10000"/>
              <a:gd name="connsiteY19" fmla="*/ 3930 h 10000"/>
              <a:gd name="connsiteX20" fmla="*/ 8148 w 10000"/>
              <a:gd name="connsiteY20" fmla="*/ 4465 h 10000"/>
              <a:gd name="connsiteX21" fmla="*/ 8334 w 10000"/>
              <a:gd name="connsiteY21" fmla="*/ 4822 h 10000"/>
              <a:gd name="connsiteX22" fmla="*/ 8519 w 10000"/>
              <a:gd name="connsiteY22" fmla="*/ 5178 h 10000"/>
              <a:gd name="connsiteX23" fmla="*/ 8703 w 10000"/>
              <a:gd name="connsiteY23" fmla="*/ 5358 h 10000"/>
              <a:gd name="connsiteX24" fmla="*/ 8703 w 10000"/>
              <a:gd name="connsiteY24" fmla="*/ 5536 h 10000"/>
              <a:gd name="connsiteX25" fmla="*/ 9074 w 10000"/>
              <a:gd name="connsiteY25" fmla="*/ 5715 h 10000"/>
              <a:gd name="connsiteX26" fmla="*/ 9260 w 10000"/>
              <a:gd name="connsiteY26" fmla="*/ 6074 h 10000"/>
              <a:gd name="connsiteX27" fmla="*/ 9260 w 10000"/>
              <a:gd name="connsiteY27" fmla="*/ 6607 h 10000"/>
              <a:gd name="connsiteX28" fmla="*/ 9260 w 10000"/>
              <a:gd name="connsiteY28" fmla="*/ 6965 h 10000"/>
              <a:gd name="connsiteX29" fmla="*/ 9074 w 10000"/>
              <a:gd name="connsiteY29" fmla="*/ 7143 h 10000"/>
              <a:gd name="connsiteX30" fmla="*/ 8703 w 10000"/>
              <a:gd name="connsiteY30" fmla="*/ 7857 h 10000"/>
              <a:gd name="connsiteX31" fmla="*/ 8334 w 10000"/>
              <a:gd name="connsiteY31" fmla="*/ 8393 h 10000"/>
              <a:gd name="connsiteX32" fmla="*/ 7408 w 10000"/>
              <a:gd name="connsiteY32" fmla="*/ 9108 h 10000"/>
              <a:gd name="connsiteX33" fmla="*/ 6482 w 10000"/>
              <a:gd name="connsiteY33" fmla="*/ 10000 h 10000"/>
              <a:gd name="connsiteX34" fmla="*/ 0 w 10000"/>
              <a:gd name="connsiteY34" fmla="*/ 5536 h 10000"/>
              <a:gd name="connsiteX35" fmla="*/ 371 w 10000"/>
              <a:gd name="connsiteY35" fmla="*/ 4999 h 10000"/>
              <a:gd name="connsiteX36" fmla="*/ 555 w 10000"/>
              <a:gd name="connsiteY36" fmla="*/ 4644 h 10000"/>
              <a:gd name="connsiteX37" fmla="*/ 555 w 10000"/>
              <a:gd name="connsiteY37" fmla="*/ 4108 h 10000"/>
              <a:gd name="connsiteX38" fmla="*/ 371 w 10000"/>
              <a:gd name="connsiteY38" fmla="*/ 3571 h 10000"/>
              <a:gd name="connsiteX39" fmla="*/ 1111 w 10000"/>
              <a:gd name="connsiteY39" fmla="*/ 3216 h 10000"/>
              <a:gd name="connsiteX40" fmla="*/ 1852 w 10000"/>
              <a:gd name="connsiteY40" fmla="*/ 3035 h 10000"/>
              <a:gd name="connsiteX41" fmla="*/ 2408 w 10000"/>
              <a:gd name="connsiteY41" fmla="*/ 2858 h 10000"/>
              <a:gd name="connsiteX42" fmla="*/ 3148 w 10000"/>
              <a:gd name="connsiteY42" fmla="*/ 2858 h 10000"/>
              <a:gd name="connsiteX43" fmla="*/ 3703 w 10000"/>
              <a:gd name="connsiteY43" fmla="*/ 2858 h 10000"/>
              <a:gd name="connsiteX44" fmla="*/ 4260 w 10000"/>
              <a:gd name="connsiteY44" fmla="*/ 3035 h 10000"/>
              <a:gd name="connsiteX45" fmla="*/ 4629 w 10000"/>
              <a:gd name="connsiteY45" fmla="*/ 3216 h 10000"/>
              <a:gd name="connsiteX46" fmla="*/ 5000 w 10000"/>
              <a:gd name="connsiteY46" fmla="*/ 3571 h 10000"/>
              <a:gd name="connsiteX0" fmla="*/ 5000 w 10000"/>
              <a:gd name="connsiteY0" fmla="*/ 3571 h 10000"/>
              <a:gd name="connsiteX1" fmla="*/ 5000 w 10000"/>
              <a:gd name="connsiteY1" fmla="*/ 537 h 10000"/>
              <a:gd name="connsiteX2" fmla="*/ 5185 w 10000"/>
              <a:gd name="connsiteY2" fmla="*/ 178 h 10000"/>
              <a:gd name="connsiteX3" fmla="*/ 5740 w 10000"/>
              <a:gd name="connsiteY3" fmla="*/ 0 h 10000"/>
              <a:gd name="connsiteX4" fmla="*/ 6482 w 10000"/>
              <a:gd name="connsiteY4" fmla="*/ 0 h 10000"/>
              <a:gd name="connsiteX5" fmla="*/ 7408 w 10000"/>
              <a:gd name="connsiteY5" fmla="*/ 0 h 10000"/>
              <a:gd name="connsiteX6" fmla="*/ 8334 w 10000"/>
              <a:gd name="connsiteY6" fmla="*/ 0 h 10000"/>
              <a:gd name="connsiteX7" fmla="*/ 8703 w 10000"/>
              <a:gd name="connsiteY7" fmla="*/ 0 h 10000"/>
              <a:gd name="connsiteX8" fmla="*/ 9260 w 10000"/>
              <a:gd name="connsiteY8" fmla="*/ 0 h 10000"/>
              <a:gd name="connsiteX9" fmla="*/ 9445 w 10000"/>
              <a:gd name="connsiteY9" fmla="*/ 0 h 10000"/>
              <a:gd name="connsiteX10" fmla="*/ 9815 w 10000"/>
              <a:gd name="connsiteY10" fmla="*/ 537 h 10000"/>
              <a:gd name="connsiteX11" fmla="*/ 10000 w 10000"/>
              <a:gd name="connsiteY11" fmla="*/ 714 h 10000"/>
              <a:gd name="connsiteX12" fmla="*/ 10000 w 10000"/>
              <a:gd name="connsiteY12" fmla="*/ 1072 h 10000"/>
              <a:gd name="connsiteX13" fmla="*/ 10000 w 10000"/>
              <a:gd name="connsiteY13" fmla="*/ 1607 h 10000"/>
              <a:gd name="connsiteX14" fmla="*/ 9815 w 10000"/>
              <a:gd name="connsiteY14" fmla="*/ 2144 h 10000"/>
              <a:gd name="connsiteX15" fmla="*/ 9260 w 10000"/>
              <a:gd name="connsiteY15" fmla="*/ 2679 h 10000"/>
              <a:gd name="connsiteX16" fmla="*/ 9074 w 10000"/>
              <a:gd name="connsiteY16" fmla="*/ 2858 h 10000"/>
              <a:gd name="connsiteX17" fmla="*/ 8334 w 10000"/>
              <a:gd name="connsiteY17" fmla="*/ 3216 h 10000"/>
              <a:gd name="connsiteX18" fmla="*/ 8148 w 10000"/>
              <a:gd name="connsiteY18" fmla="*/ 3750 h 10000"/>
              <a:gd name="connsiteX19" fmla="*/ 8148 w 10000"/>
              <a:gd name="connsiteY19" fmla="*/ 3930 h 10000"/>
              <a:gd name="connsiteX20" fmla="*/ 8148 w 10000"/>
              <a:gd name="connsiteY20" fmla="*/ 4465 h 10000"/>
              <a:gd name="connsiteX21" fmla="*/ 8334 w 10000"/>
              <a:gd name="connsiteY21" fmla="*/ 4822 h 10000"/>
              <a:gd name="connsiteX22" fmla="*/ 8519 w 10000"/>
              <a:gd name="connsiteY22" fmla="*/ 5178 h 10000"/>
              <a:gd name="connsiteX23" fmla="*/ 8703 w 10000"/>
              <a:gd name="connsiteY23" fmla="*/ 5358 h 10000"/>
              <a:gd name="connsiteX24" fmla="*/ 8703 w 10000"/>
              <a:gd name="connsiteY24" fmla="*/ 5536 h 10000"/>
              <a:gd name="connsiteX25" fmla="*/ 9074 w 10000"/>
              <a:gd name="connsiteY25" fmla="*/ 5715 h 10000"/>
              <a:gd name="connsiteX26" fmla="*/ 9260 w 10000"/>
              <a:gd name="connsiteY26" fmla="*/ 6074 h 10000"/>
              <a:gd name="connsiteX27" fmla="*/ 9260 w 10000"/>
              <a:gd name="connsiteY27" fmla="*/ 6607 h 10000"/>
              <a:gd name="connsiteX28" fmla="*/ 9260 w 10000"/>
              <a:gd name="connsiteY28" fmla="*/ 6965 h 10000"/>
              <a:gd name="connsiteX29" fmla="*/ 9074 w 10000"/>
              <a:gd name="connsiteY29" fmla="*/ 7143 h 10000"/>
              <a:gd name="connsiteX30" fmla="*/ 8703 w 10000"/>
              <a:gd name="connsiteY30" fmla="*/ 7857 h 10000"/>
              <a:gd name="connsiteX31" fmla="*/ 8334 w 10000"/>
              <a:gd name="connsiteY31" fmla="*/ 8393 h 10000"/>
              <a:gd name="connsiteX32" fmla="*/ 7408 w 10000"/>
              <a:gd name="connsiteY32" fmla="*/ 9108 h 10000"/>
              <a:gd name="connsiteX33" fmla="*/ 6482 w 10000"/>
              <a:gd name="connsiteY33" fmla="*/ 10000 h 10000"/>
              <a:gd name="connsiteX34" fmla="*/ 0 w 10000"/>
              <a:gd name="connsiteY34" fmla="*/ 5536 h 10000"/>
              <a:gd name="connsiteX35" fmla="*/ 371 w 10000"/>
              <a:gd name="connsiteY35" fmla="*/ 4999 h 10000"/>
              <a:gd name="connsiteX36" fmla="*/ 555 w 10000"/>
              <a:gd name="connsiteY36" fmla="*/ 4644 h 10000"/>
              <a:gd name="connsiteX37" fmla="*/ 555 w 10000"/>
              <a:gd name="connsiteY37" fmla="*/ 4108 h 10000"/>
              <a:gd name="connsiteX38" fmla="*/ 371 w 10000"/>
              <a:gd name="connsiteY38" fmla="*/ 3571 h 10000"/>
              <a:gd name="connsiteX39" fmla="*/ 1111 w 10000"/>
              <a:gd name="connsiteY39" fmla="*/ 3216 h 10000"/>
              <a:gd name="connsiteX40" fmla="*/ 1852 w 10000"/>
              <a:gd name="connsiteY40" fmla="*/ 3035 h 10000"/>
              <a:gd name="connsiteX41" fmla="*/ 2408 w 10000"/>
              <a:gd name="connsiteY41" fmla="*/ 2858 h 10000"/>
              <a:gd name="connsiteX42" fmla="*/ 3148 w 10000"/>
              <a:gd name="connsiteY42" fmla="*/ 2858 h 10000"/>
              <a:gd name="connsiteX43" fmla="*/ 3703 w 10000"/>
              <a:gd name="connsiteY43" fmla="*/ 2858 h 10000"/>
              <a:gd name="connsiteX44" fmla="*/ 4629 w 10000"/>
              <a:gd name="connsiteY44" fmla="*/ 3216 h 10000"/>
              <a:gd name="connsiteX45" fmla="*/ 5000 w 10000"/>
              <a:gd name="connsiteY45" fmla="*/ 3571 h 10000"/>
              <a:gd name="connsiteX0" fmla="*/ 5000 w 10000"/>
              <a:gd name="connsiteY0" fmla="*/ 3571 h 10000"/>
              <a:gd name="connsiteX1" fmla="*/ 5000 w 10000"/>
              <a:gd name="connsiteY1" fmla="*/ 537 h 10000"/>
              <a:gd name="connsiteX2" fmla="*/ 5185 w 10000"/>
              <a:gd name="connsiteY2" fmla="*/ 178 h 10000"/>
              <a:gd name="connsiteX3" fmla="*/ 5740 w 10000"/>
              <a:gd name="connsiteY3" fmla="*/ 0 h 10000"/>
              <a:gd name="connsiteX4" fmla="*/ 6482 w 10000"/>
              <a:gd name="connsiteY4" fmla="*/ 0 h 10000"/>
              <a:gd name="connsiteX5" fmla="*/ 7408 w 10000"/>
              <a:gd name="connsiteY5" fmla="*/ 0 h 10000"/>
              <a:gd name="connsiteX6" fmla="*/ 8334 w 10000"/>
              <a:gd name="connsiteY6" fmla="*/ 0 h 10000"/>
              <a:gd name="connsiteX7" fmla="*/ 8703 w 10000"/>
              <a:gd name="connsiteY7" fmla="*/ 0 h 10000"/>
              <a:gd name="connsiteX8" fmla="*/ 9260 w 10000"/>
              <a:gd name="connsiteY8" fmla="*/ 0 h 10000"/>
              <a:gd name="connsiteX9" fmla="*/ 9445 w 10000"/>
              <a:gd name="connsiteY9" fmla="*/ 0 h 10000"/>
              <a:gd name="connsiteX10" fmla="*/ 9815 w 10000"/>
              <a:gd name="connsiteY10" fmla="*/ 537 h 10000"/>
              <a:gd name="connsiteX11" fmla="*/ 10000 w 10000"/>
              <a:gd name="connsiteY11" fmla="*/ 714 h 10000"/>
              <a:gd name="connsiteX12" fmla="*/ 10000 w 10000"/>
              <a:gd name="connsiteY12" fmla="*/ 1072 h 10000"/>
              <a:gd name="connsiteX13" fmla="*/ 10000 w 10000"/>
              <a:gd name="connsiteY13" fmla="*/ 1607 h 10000"/>
              <a:gd name="connsiteX14" fmla="*/ 9815 w 10000"/>
              <a:gd name="connsiteY14" fmla="*/ 2144 h 10000"/>
              <a:gd name="connsiteX15" fmla="*/ 9260 w 10000"/>
              <a:gd name="connsiteY15" fmla="*/ 2679 h 10000"/>
              <a:gd name="connsiteX16" fmla="*/ 9074 w 10000"/>
              <a:gd name="connsiteY16" fmla="*/ 2858 h 10000"/>
              <a:gd name="connsiteX17" fmla="*/ 8334 w 10000"/>
              <a:gd name="connsiteY17" fmla="*/ 3216 h 10000"/>
              <a:gd name="connsiteX18" fmla="*/ 8148 w 10000"/>
              <a:gd name="connsiteY18" fmla="*/ 3750 h 10000"/>
              <a:gd name="connsiteX19" fmla="*/ 8148 w 10000"/>
              <a:gd name="connsiteY19" fmla="*/ 3930 h 10000"/>
              <a:gd name="connsiteX20" fmla="*/ 8148 w 10000"/>
              <a:gd name="connsiteY20" fmla="*/ 4465 h 10000"/>
              <a:gd name="connsiteX21" fmla="*/ 8334 w 10000"/>
              <a:gd name="connsiteY21" fmla="*/ 4822 h 10000"/>
              <a:gd name="connsiteX22" fmla="*/ 8519 w 10000"/>
              <a:gd name="connsiteY22" fmla="*/ 5178 h 10000"/>
              <a:gd name="connsiteX23" fmla="*/ 8703 w 10000"/>
              <a:gd name="connsiteY23" fmla="*/ 5358 h 10000"/>
              <a:gd name="connsiteX24" fmla="*/ 8703 w 10000"/>
              <a:gd name="connsiteY24" fmla="*/ 5536 h 10000"/>
              <a:gd name="connsiteX25" fmla="*/ 9074 w 10000"/>
              <a:gd name="connsiteY25" fmla="*/ 5715 h 10000"/>
              <a:gd name="connsiteX26" fmla="*/ 9260 w 10000"/>
              <a:gd name="connsiteY26" fmla="*/ 6074 h 10000"/>
              <a:gd name="connsiteX27" fmla="*/ 9260 w 10000"/>
              <a:gd name="connsiteY27" fmla="*/ 6607 h 10000"/>
              <a:gd name="connsiteX28" fmla="*/ 9260 w 10000"/>
              <a:gd name="connsiteY28" fmla="*/ 6965 h 10000"/>
              <a:gd name="connsiteX29" fmla="*/ 9074 w 10000"/>
              <a:gd name="connsiteY29" fmla="*/ 7143 h 10000"/>
              <a:gd name="connsiteX30" fmla="*/ 8703 w 10000"/>
              <a:gd name="connsiteY30" fmla="*/ 7857 h 10000"/>
              <a:gd name="connsiteX31" fmla="*/ 8334 w 10000"/>
              <a:gd name="connsiteY31" fmla="*/ 8393 h 10000"/>
              <a:gd name="connsiteX32" fmla="*/ 7408 w 10000"/>
              <a:gd name="connsiteY32" fmla="*/ 9108 h 10000"/>
              <a:gd name="connsiteX33" fmla="*/ 6482 w 10000"/>
              <a:gd name="connsiteY33" fmla="*/ 10000 h 10000"/>
              <a:gd name="connsiteX34" fmla="*/ 0 w 10000"/>
              <a:gd name="connsiteY34" fmla="*/ 5536 h 10000"/>
              <a:gd name="connsiteX35" fmla="*/ 371 w 10000"/>
              <a:gd name="connsiteY35" fmla="*/ 4999 h 10000"/>
              <a:gd name="connsiteX36" fmla="*/ 555 w 10000"/>
              <a:gd name="connsiteY36" fmla="*/ 4644 h 10000"/>
              <a:gd name="connsiteX37" fmla="*/ 555 w 10000"/>
              <a:gd name="connsiteY37" fmla="*/ 4108 h 10000"/>
              <a:gd name="connsiteX38" fmla="*/ 371 w 10000"/>
              <a:gd name="connsiteY38" fmla="*/ 3571 h 10000"/>
              <a:gd name="connsiteX39" fmla="*/ 1111 w 10000"/>
              <a:gd name="connsiteY39" fmla="*/ 3216 h 10000"/>
              <a:gd name="connsiteX40" fmla="*/ 1852 w 10000"/>
              <a:gd name="connsiteY40" fmla="*/ 3035 h 10000"/>
              <a:gd name="connsiteX41" fmla="*/ 2408 w 10000"/>
              <a:gd name="connsiteY41" fmla="*/ 2858 h 10000"/>
              <a:gd name="connsiteX42" fmla="*/ 3148 w 10000"/>
              <a:gd name="connsiteY42" fmla="*/ 2858 h 10000"/>
              <a:gd name="connsiteX43" fmla="*/ 4629 w 10000"/>
              <a:gd name="connsiteY43" fmla="*/ 3216 h 10000"/>
              <a:gd name="connsiteX44" fmla="*/ 5000 w 10000"/>
              <a:gd name="connsiteY44" fmla="*/ 3571 h 10000"/>
              <a:gd name="connsiteX0" fmla="*/ 5000 w 10000"/>
              <a:gd name="connsiteY0" fmla="*/ 3571 h 10000"/>
              <a:gd name="connsiteX1" fmla="*/ 5000 w 10000"/>
              <a:gd name="connsiteY1" fmla="*/ 537 h 10000"/>
              <a:gd name="connsiteX2" fmla="*/ 5185 w 10000"/>
              <a:gd name="connsiteY2" fmla="*/ 178 h 10000"/>
              <a:gd name="connsiteX3" fmla="*/ 5740 w 10000"/>
              <a:gd name="connsiteY3" fmla="*/ 0 h 10000"/>
              <a:gd name="connsiteX4" fmla="*/ 6482 w 10000"/>
              <a:gd name="connsiteY4" fmla="*/ 0 h 10000"/>
              <a:gd name="connsiteX5" fmla="*/ 7408 w 10000"/>
              <a:gd name="connsiteY5" fmla="*/ 0 h 10000"/>
              <a:gd name="connsiteX6" fmla="*/ 8334 w 10000"/>
              <a:gd name="connsiteY6" fmla="*/ 0 h 10000"/>
              <a:gd name="connsiteX7" fmla="*/ 8703 w 10000"/>
              <a:gd name="connsiteY7" fmla="*/ 0 h 10000"/>
              <a:gd name="connsiteX8" fmla="*/ 9260 w 10000"/>
              <a:gd name="connsiteY8" fmla="*/ 0 h 10000"/>
              <a:gd name="connsiteX9" fmla="*/ 9445 w 10000"/>
              <a:gd name="connsiteY9" fmla="*/ 0 h 10000"/>
              <a:gd name="connsiteX10" fmla="*/ 9815 w 10000"/>
              <a:gd name="connsiteY10" fmla="*/ 537 h 10000"/>
              <a:gd name="connsiteX11" fmla="*/ 10000 w 10000"/>
              <a:gd name="connsiteY11" fmla="*/ 714 h 10000"/>
              <a:gd name="connsiteX12" fmla="*/ 10000 w 10000"/>
              <a:gd name="connsiteY12" fmla="*/ 1072 h 10000"/>
              <a:gd name="connsiteX13" fmla="*/ 10000 w 10000"/>
              <a:gd name="connsiteY13" fmla="*/ 1607 h 10000"/>
              <a:gd name="connsiteX14" fmla="*/ 9815 w 10000"/>
              <a:gd name="connsiteY14" fmla="*/ 2144 h 10000"/>
              <a:gd name="connsiteX15" fmla="*/ 9260 w 10000"/>
              <a:gd name="connsiteY15" fmla="*/ 2679 h 10000"/>
              <a:gd name="connsiteX16" fmla="*/ 9074 w 10000"/>
              <a:gd name="connsiteY16" fmla="*/ 2858 h 10000"/>
              <a:gd name="connsiteX17" fmla="*/ 8334 w 10000"/>
              <a:gd name="connsiteY17" fmla="*/ 3216 h 10000"/>
              <a:gd name="connsiteX18" fmla="*/ 8148 w 10000"/>
              <a:gd name="connsiteY18" fmla="*/ 3750 h 10000"/>
              <a:gd name="connsiteX19" fmla="*/ 8148 w 10000"/>
              <a:gd name="connsiteY19" fmla="*/ 3930 h 10000"/>
              <a:gd name="connsiteX20" fmla="*/ 8148 w 10000"/>
              <a:gd name="connsiteY20" fmla="*/ 4465 h 10000"/>
              <a:gd name="connsiteX21" fmla="*/ 8334 w 10000"/>
              <a:gd name="connsiteY21" fmla="*/ 4822 h 10000"/>
              <a:gd name="connsiteX22" fmla="*/ 8519 w 10000"/>
              <a:gd name="connsiteY22" fmla="*/ 5178 h 10000"/>
              <a:gd name="connsiteX23" fmla="*/ 8703 w 10000"/>
              <a:gd name="connsiteY23" fmla="*/ 5358 h 10000"/>
              <a:gd name="connsiteX24" fmla="*/ 8703 w 10000"/>
              <a:gd name="connsiteY24" fmla="*/ 5536 h 10000"/>
              <a:gd name="connsiteX25" fmla="*/ 9074 w 10000"/>
              <a:gd name="connsiteY25" fmla="*/ 5715 h 10000"/>
              <a:gd name="connsiteX26" fmla="*/ 9260 w 10000"/>
              <a:gd name="connsiteY26" fmla="*/ 6074 h 10000"/>
              <a:gd name="connsiteX27" fmla="*/ 9260 w 10000"/>
              <a:gd name="connsiteY27" fmla="*/ 6607 h 10000"/>
              <a:gd name="connsiteX28" fmla="*/ 9260 w 10000"/>
              <a:gd name="connsiteY28" fmla="*/ 6965 h 10000"/>
              <a:gd name="connsiteX29" fmla="*/ 9074 w 10000"/>
              <a:gd name="connsiteY29" fmla="*/ 7143 h 10000"/>
              <a:gd name="connsiteX30" fmla="*/ 8703 w 10000"/>
              <a:gd name="connsiteY30" fmla="*/ 7857 h 10000"/>
              <a:gd name="connsiteX31" fmla="*/ 8334 w 10000"/>
              <a:gd name="connsiteY31" fmla="*/ 8393 h 10000"/>
              <a:gd name="connsiteX32" fmla="*/ 7408 w 10000"/>
              <a:gd name="connsiteY32" fmla="*/ 9108 h 10000"/>
              <a:gd name="connsiteX33" fmla="*/ 6482 w 10000"/>
              <a:gd name="connsiteY33" fmla="*/ 10000 h 10000"/>
              <a:gd name="connsiteX34" fmla="*/ 0 w 10000"/>
              <a:gd name="connsiteY34" fmla="*/ 5536 h 10000"/>
              <a:gd name="connsiteX35" fmla="*/ 371 w 10000"/>
              <a:gd name="connsiteY35" fmla="*/ 4999 h 10000"/>
              <a:gd name="connsiteX36" fmla="*/ 555 w 10000"/>
              <a:gd name="connsiteY36" fmla="*/ 4644 h 10000"/>
              <a:gd name="connsiteX37" fmla="*/ 555 w 10000"/>
              <a:gd name="connsiteY37" fmla="*/ 4108 h 10000"/>
              <a:gd name="connsiteX38" fmla="*/ 371 w 10000"/>
              <a:gd name="connsiteY38" fmla="*/ 3571 h 10000"/>
              <a:gd name="connsiteX39" fmla="*/ 1111 w 10000"/>
              <a:gd name="connsiteY39" fmla="*/ 3216 h 10000"/>
              <a:gd name="connsiteX40" fmla="*/ 1852 w 10000"/>
              <a:gd name="connsiteY40" fmla="*/ 3035 h 10000"/>
              <a:gd name="connsiteX41" fmla="*/ 2408 w 10000"/>
              <a:gd name="connsiteY41" fmla="*/ 2858 h 10000"/>
              <a:gd name="connsiteX42" fmla="*/ 4629 w 10000"/>
              <a:gd name="connsiteY42" fmla="*/ 3216 h 10000"/>
              <a:gd name="connsiteX43" fmla="*/ 5000 w 10000"/>
              <a:gd name="connsiteY43" fmla="*/ 3571 h 10000"/>
              <a:gd name="connsiteX0" fmla="*/ 5000 w 10000"/>
              <a:gd name="connsiteY0" fmla="*/ 3571 h 10000"/>
              <a:gd name="connsiteX1" fmla="*/ 5000 w 10000"/>
              <a:gd name="connsiteY1" fmla="*/ 537 h 10000"/>
              <a:gd name="connsiteX2" fmla="*/ 5185 w 10000"/>
              <a:gd name="connsiteY2" fmla="*/ 178 h 10000"/>
              <a:gd name="connsiteX3" fmla="*/ 5740 w 10000"/>
              <a:gd name="connsiteY3" fmla="*/ 0 h 10000"/>
              <a:gd name="connsiteX4" fmla="*/ 6482 w 10000"/>
              <a:gd name="connsiteY4" fmla="*/ 0 h 10000"/>
              <a:gd name="connsiteX5" fmla="*/ 7408 w 10000"/>
              <a:gd name="connsiteY5" fmla="*/ 0 h 10000"/>
              <a:gd name="connsiteX6" fmla="*/ 8334 w 10000"/>
              <a:gd name="connsiteY6" fmla="*/ 0 h 10000"/>
              <a:gd name="connsiteX7" fmla="*/ 8703 w 10000"/>
              <a:gd name="connsiteY7" fmla="*/ 0 h 10000"/>
              <a:gd name="connsiteX8" fmla="*/ 9260 w 10000"/>
              <a:gd name="connsiteY8" fmla="*/ 0 h 10000"/>
              <a:gd name="connsiteX9" fmla="*/ 9445 w 10000"/>
              <a:gd name="connsiteY9" fmla="*/ 0 h 10000"/>
              <a:gd name="connsiteX10" fmla="*/ 9815 w 10000"/>
              <a:gd name="connsiteY10" fmla="*/ 537 h 10000"/>
              <a:gd name="connsiteX11" fmla="*/ 10000 w 10000"/>
              <a:gd name="connsiteY11" fmla="*/ 714 h 10000"/>
              <a:gd name="connsiteX12" fmla="*/ 10000 w 10000"/>
              <a:gd name="connsiteY12" fmla="*/ 1072 h 10000"/>
              <a:gd name="connsiteX13" fmla="*/ 10000 w 10000"/>
              <a:gd name="connsiteY13" fmla="*/ 1607 h 10000"/>
              <a:gd name="connsiteX14" fmla="*/ 9815 w 10000"/>
              <a:gd name="connsiteY14" fmla="*/ 2144 h 10000"/>
              <a:gd name="connsiteX15" fmla="*/ 9260 w 10000"/>
              <a:gd name="connsiteY15" fmla="*/ 2679 h 10000"/>
              <a:gd name="connsiteX16" fmla="*/ 9074 w 10000"/>
              <a:gd name="connsiteY16" fmla="*/ 2858 h 10000"/>
              <a:gd name="connsiteX17" fmla="*/ 8334 w 10000"/>
              <a:gd name="connsiteY17" fmla="*/ 3216 h 10000"/>
              <a:gd name="connsiteX18" fmla="*/ 8148 w 10000"/>
              <a:gd name="connsiteY18" fmla="*/ 3750 h 10000"/>
              <a:gd name="connsiteX19" fmla="*/ 8148 w 10000"/>
              <a:gd name="connsiteY19" fmla="*/ 3930 h 10000"/>
              <a:gd name="connsiteX20" fmla="*/ 8148 w 10000"/>
              <a:gd name="connsiteY20" fmla="*/ 4465 h 10000"/>
              <a:gd name="connsiteX21" fmla="*/ 8334 w 10000"/>
              <a:gd name="connsiteY21" fmla="*/ 4822 h 10000"/>
              <a:gd name="connsiteX22" fmla="*/ 8519 w 10000"/>
              <a:gd name="connsiteY22" fmla="*/ 5178 h 10000"/>
              <a:gd name="connsiteX23" fmla="*/ 8703 w 10000"/>
              <a:gd name="connsiteY23" fmla="*/ 5358 h 10000"/>
              <a:gd name="connsiteX24" fmla="*/ 8703 w 10000"/>
              <a:gd name="connsiteY24" fmla="*/ 5536 h 10000"/>
              <a:gd name="connsiteX25" fmla="*/ 9074 w 10000"/>
              <a:gd name="connsiteY25" fmla="*/ 5715 h 10000"/>
              <a:gd name="connsiteX26" fmla="*/ 9260 w 10000"/>
              <a:gd name="connsiteY26" fmla="*/ 6074 h 10000"/>
              <a:gd name="connsiteX27" fmla="*/ 9260 w 10000"/>
              <a:gd name="connsiteY27" fmla="*/ 6607 h 10000"/>
              <a:gd name="connsiteX28" fmla="*/ 9260 w 10000"/>
              <a:gd name="connsiteY28" fmla="*/ 6965 h 10000"/>
              <a:gd name="connsiteX29" fmla="*/ 9074 w 10000"/>
              <a:gd name="connsiteY29" fmla="*/ 7143 h 10000"/>
              <a:gd name="connsiteX30" fmla="*/ 8703 w 10000"/>
              <a:gd name="connsiteY30" fmla="*/ 7857 h 10000"/>
              <a:gd name="connsiteX31" fmla="*/ 8334 w 10000"/>
              <a:gd name="connsiteY31" fmla="*/ 8393 h 10000"/>
              <a:gd name="connsiteX32" fmla="*/ 7408 w 10000"/>
              <a:gd name="connsiteY32" fmla="*/ 9108 h 10000"/>
              <a:gd name="connsiteX33" fmla="*/ 6482 w 10000"/>
              <a:gd name="connsiteY33" fmla="*/ 10000 h 10000"/>
              <a:gd name="connsiteX34" fmla="*/ 0 w 10000"/>
              <a:gd name="connsiteY34" fmla="*/ 5536 h 10000"/>
              <a:gd name="connsiteX35" fmla="*/ 371 w 10000"/>
              <a:gd name="connsiteY35" fmla="*/ 4999 h 10000"/>
              <a:gd name="connsiteX36" fmla="*/ 555 w 10000"/>
              <a:gd name="connsiteY36" fmla="*/ 4644 h 10000"/>
              <a:gd name="connsiteX37" fmla="*/ 555 w 10000"/>
              <a:gd name="connsiteY37" fmla="*/ 4108 h 10000"/>
              <a:gd name="connsiteX38" fmla="*/ 371 w 10000"/>
              <a:gd name="connsiteY38" fmla="*/ 3571 h 10000"/>
              <a:gd name="connsiteX39" fmla="*/ 1111 w 10000"/>
              <a:gd name="connsiteY39" fmla="*/ 3216 h 10000"/>
              <a:gd name="connsiteX40" fmla="*/ 1852 w 10000"/>
              <a:gd name="connsiteY40" fmla="*/ 3035 h 10000"/>
              <a:gd name="connsiteX41" fmla="*/ 4629 w 10000"/>
              <a:gd name="connsiteY41" fmla="*/ 3216 h 10000"/>
              <a:gd name="connsiteX42" fmla="*/ 5000 w 10000"/>
              <a:gd name="connsiteY42" fmla="*/ 3571 h 10000"/>
              <a:gd name="connsiteX0" fmla="*/ 5000 w 10000"/>
              <a:gd name="connsiteY0" fmla="*/ 3571 h 10000"/>
              <a:gd name="connsiteX1" fmla="*/ 5000 w 10000"/>
              <a:gd name="connsiteY1" fmla="*/ 537 h 10000"/>
              <a:gd name="connsiteX2" fmla="*/ 5185 w 10000"/>
              <a:gd name="connsiteY2" fmla="*/ 178 h 10000"/>
              <a:gd name="connsiteX3" fmla="*/ 5740 w 10000"/>
              <a:gd name="connsiteY3" fmla="*/ 0 h 10000"/>
              <a:gd name="connsiteX4" fmla="*/ 6482 w 10000"/>
              <a:gd name="connsiteY4" fmla="*/ 0 h 10000"/>
              <a:gd name="connsiteX5" fmla="*/ 7408 w 10000"/>
              <a:gd name="connsiteY5" fmla="*/ 0 h 10000"/>
              <a:gd name="connsiteX6" fmla="*/ 8334 w 10000"/>
              <a:gd name="connsiteY6" fmla="*/ 0 h 10000"/>
              <a:gd name="connsiteX7" fmla="*/ 8703 w 10000"/>
              <a:gd name="connsiteY7" fmla="*/ 0 h 10000"/>
              <a:gd name="connsiteX8" fmla="*/ 9260 w 10000"/>
              <a:gd name="connsiteY8" fmla="*/ 0 h 10000"/>
              <a:gd name="connsiteX9" fmla="*/ 9445 w 10000"/>
              <a:gd name="connsiteY9" fmla="*/ 0 h 10000"/>
              <a:gd name="connsiteX10" fmla="*/ 9815 w 10000"/>
              <a:gd name="connsiteY10" fmla="*/ 537 h 10000"/>
              <a:gd name="connsiteX11" fmla="*/ 10000 w 10000"/>
              <a:gd name="connsiteY11" fmla="*/ 714 h 10000"/>
              <a:gd name="connsiteX12" fmla="*/ 10000 w 10000"/>
              <a:gd name="connsiteY12" fmla="*/ 1072 h 10000"/>
              <a:gd name="connsiteX13" fmla="*/ 10000 w 10000"/>
              <a:gd name="connsiteY13" fmla="*/ 1607 h 10000"/>
              <a:gd name="connsiteX14" fmla="*/ 9815 w 10000"/>
              <a:gd name="connsiteY14" fmla="*/ 2144 h 10000"/>
              <a:gd name="connsiteX15" fmla="*/ 9260 w 10000"/>
              <a:gd name="connsiteY15" fmla="*/ 2679 h 10000"/>
              <a:gd name="connsiteX16" fmla="*/ 9074 w 10000"/>
              <a:gd name="connsiteY16" fmla="*/ 2858 h 10000"/>
              <a:gd name="connsiteX17" fmla="*/ 8334 w 10000"/>
              <a:gd name="connsiteY17" fmla="*/ 3216 h 10000"/>
              <a:gd name="connsiteX18" fmla="*/ 8148 w 10000"/>
              <a:gd name="connsiteY18" fmla="*/ 3750 h 10000"/>
              <a:gd name="connsiteX19" fmla="*/ 8148 w 10000"/>
              <a:gd name="connsiteY19" fmla="*/ 3930 h 10000"/>
              <a:gd name="connsiteX20" fmla="*/ 8148 w 10000"/>
              <a:gd name="connsiteY20" fmla="*/ 4465 h 10000"/>
              <a:gd name="connsiteX21" fmla="*/ 8334 w 10000"/>
              <a:gd name="connsiteY21" fmla="*/ 4822 h 10000"/>
              <a:gd name="connsiteX22" fmla="*/ 8519 w 10000"/>
              <a:gd name="connsiteY22" fmla="*/ 5178 h 10000"/>
              <a:gd name="connsiteX23" fmla="*/ 8703 w 10000"/>
              <a:gd name="connsiteY23" fmla="*/ 5358 h 10000"/>
              <a:gd name="connsiteX24" fmla="*/ 8703 w 10000"/>
              <a:gd name="connsiteY24" fmla="*/ 5536 h 10000"/>
              <a:gd name="connsiteX25" fmla="*/ 9074 w 10000"/>
              <a:gd name="connsiteY25" fmla="*/ 5715 h 10000"/>
              <a:gd name="connsiteX26" fmla="*/ 9260 w 10000"/>
              <a:gd name="connsiteY26" fmla="*/ 6074 h 10000"/>
              <a:gd name="connsiteX27" fmla="*/ 9260 w 10000"/>
              <a:gd name="connsiteY27" fmla="*/ 6607 h 10000"/>
              <a:gd name="connsiteX28" fmla="*/ 9260 w 10000"/>
              <a:gd name="connsiteY28" fmla="*/ 6965 h 10000"/>
              <a:gd name="connsiteX29" fmla="*/ 9074 w 10000"/>
              <a:gd name="connsiteY29" fmla="*/ 7143 h 10000"/>
              <a:gd name="connsiteX30" fmla="*/ 8703 w 10000"/>
              <a:gd name="connsiteY30" fmla="*/ 7857 h 10000"/>
              <a:gd name="connsiteX31" fmla="*/ 8334 w 10000"/>
              <a:gd name="connsiteY31" fmla="*/ 8393 h 10000"/>
              <a:gd name="connsiteX32" fmla="*/ 7408 w 10000"/>
              <a:gd name="connsiteY32" fmla="*/ 9108 h 10000"/>
              <a:gd name="connsiteX33" fmla="*/ 6482 w 10000"/>
              <a:gd name="connsiteY33" fmla="*/ 10000 h 10000"/>
              <a:gd name="connsiteX34" fmla="*/ 0 w 10000"/>
              <a:gd name="connsiteY34" fmla="*/ 5536 h 10000"/>
              <a:gd name="connsiteX35" fmla="*/ 371 w 10000"/>
              <a:gd name="connsiteY35" fmla="*/ 4999 h 10000"/>
              <a:gd name="connsiteX36" fmla="*/ 555 w 10000"/>
              <a:gd name="connsiteY36" fmla="*/ 4644 h 10000"/>
              <a:gd name="connsiteX37" fmla="*/ 555 w 10000"/>
              <a:gd name="connsiteY37" fmla="*/ 4108 h 10000"/>
              <a:gd name="connsiteX38" fmla="*/ 371 w 10000"/>
              <a:gd name="connsiteY38" fmla="*/ 3571 h 10000"/>
              <a:gd name="connsiteX39" fmla="*/ 1111 w 10000"/>
              <a:gd name="connsiteY39" fmla="*/ 3216 h 10000"/>
              <a:gd name="connsiteX40" fmla="*/ 4629 w 10000"/>
              <a:gd name="connsiteY40" fmla="*/ 3216 h 10000"/>
              <a:gd name="connsiteX41" fmla="*/ 5000 w 10000"/>
              <a:gd name="connsiteY41" fmla="*/ 3571 h 10000"/>
              <a:gd name="connsiteX0" fmla="*/ 5000 w 10000"/>
              <a:gd name="connsiteY0" fmla="*/ 3571 h 10000"/>
              <a:gd name="connsiteX1" fmla="*/ 5000 w 10000"/>
              <a:gd name="connsiteY1" fmla="*/ 537 h 10000"/>
              <a:gd name="connsiteX2" fmla="*/ 5185 w 10000"/>
              <a:gd name="connsiteY2" fmla="*/ 178 h 10000"/>
              <a:gd name="connsiteX3" fmla="*/ 5740 w 10000"/>
              <a:gd name="connsiteY3" fmla="*/ 0 h 10000"/>
              <a:gd name="connsiteX4" fmla="*/ 6482 w 10000"/>
              <a:gd name="connsiteY4" fmla="*/ 0 h 10000"/>
              <a:gd name="connsiteX5" fmla="*/ 7408 w 10000"/>
              <a:gd name="connsiteY5" fmla="*/ 0 h 10000"/>
              <a:gd name="connsiteX6" fmla="*/ 8334 w 10000"/>
              <a:gd name="connsiteY6" fmla="*/ 0 h 10000"/>
              <a:gd name="connsiteX7" fmla="*/ 8703 w 10000"/>
              <a:gd name="connsiteY7" fmla="*/ 0 h 10000"/>
              <a:gd name="connsiteX8" fmla="*/ 9260 w 10000"/>
              <a:gd name="connsiteY8" fmla="*/ 0 h 10000"/>
              <a:gd name="connsiteX9" fmla="*/ 9445 w 10000"/>
              <a:gd name="connsiteY9" fmla="*/ 0 h 10000"/>
              <a:gd name="connsiteX10" fmla="*/ 9815 w 10000"/>
              <a:gd name="connsiteY10" fmla="*/ 537 h 10000"/>
              <a:gd name="connsiteX11" fmla="*/ 10000 w 10000"/>
              <a:gd name="connsiteY11" fmla="*/ 714 h 10000"/>
              <a:gd name="connsiteX12" fmla="*/ 10000 w 10000"/>
              <a:gd name="connsiteY12" fmla="*/ 1072 h 10000"/>
              <a:gd name="connsiteX13" fmla="*/ 10000 w 10000"/>
              <a:gd name="connsiteY13" fmla="*/ 1607 h 10000"/>
              <a:gd name="connsiteX14" fmla="*/ 9815 w 10000"/>
              <a:gd name="connsiteY14" fmla="*/ 2144 h 10000"/>
              <a:gd name="connsiteX15" fmla="*/ 9260 w 10000"/>
              <a:gd name="connsiteY15" fmla="*/ 2679 h 10000"/>
              <a:gd name="connsiteX16" fmla="*/ 9074 w 10000"/>
              <a:gd name="connsiteY16" fmla="*/ 2858 h 10000"/>
              <a:gd name="connsiteX17" fmla="*/ 8334 w 10000"/>
              <a:gd name="connsiteY17" fmla="*/ 3216 h 10000"/>
              <a:gd name="connsiteX18" fmla="*/ 8148 w 10000"/>
              <a:gd name="connsiteY18" fmla="*/ 3750 h 10000"/>
              <a:gd name="connsiteX19" fmla="*/ 8148 w 10000"/>
              <a:gd name="connsiteY19" fmla="*/ 3930 h 10000"/>
              <a:gd name="connsiteX20" fmla="*/ 8148 w 10000"/>
              <a:gd name="connsiteY20" fmla="*/ 4465 h 10000"/>
              <a:gd name="connsiteX21" fmla="*/ 8334 w 10000"/>
              <a:gd name="connsiteY21" fmla="*/ 4822 h 10000"/>
              <a:gd name="connsiteX22" fmla="*/ 8519 w 10000"/>
              <a:gd name="connsiteY22" fmla="*/ 5178 h 10000"/>
              <a:gd name="connsiteX23" fmla="*/ 8703 w 10000"/>
              <a:gd name="connsiteY23" fmla="*/ 5358 h 10000"/>
              <a:gd name="connsiteX24" fmla="*/ 8703 w 10000"/>
              <a:gd name="connsiteY24" fmla="*/ 5536 h 10000"/>
              <a:gd name="connsiteX25" fmla="*/ 9074 w 10000"/>
              <a:gd name="connsiteY25" fmla="*/ 5715 h 10000"/>
              <a:gd name="connsiteX26" fmla="*/ 9260 w 10000"/>
              <a:gd name="connsiteY26" fmla="*/ 6074 h 10000"/>
              <a:gd name="connsiteX27" fmla="*/ 9260 w 10000"/>
              <a:gd name="connsiteY27" fmla="*/ 6607 h 10000"/>
              <a:gd name="connsiteX28" fmla="*/ 9260 w 10000"/>
              <a:gd name="connsiteY28" fmla="*/ 6965 h 10000"/>
              <a:gd name="connsiteX29" fmla="*/ 9074 w 10000"/>
              <a:gd name="connsiteY29" fmla="*/ 7143 h 10000"/>
              <a:gd name="connsiteX30" fmla="*/ 8703 w 10000"/>
              <a:gd name="connsiteY30" fmla="*/ 7857 h 10000"/>
              <a:gd name="connsiteX31" fmla="*/ 8334 w 10000"/>
              <a:gd name="connsiteY31" fmla="*/ 8393 h 10000"/>
              <a:gd name="connsiteX32" fmla="*/ 7408 w 10000"/>
              <a:gd name="connsiteY32" fmla="*/ 9108 h 10000"/>
              <a:gd name="connsiteX33" fmla="*/ 6482 w 10000"/>
              <a:gd name="connsiteY33" fmla="*/ 10000 h 10000"/>
              <a:gd name="connsiteX34" fmla="*/ 0 w 10000"/>
              <a:gd name="connsiteY34" fmla="*/ 5536 h 10000"/>
              <a:gd name="connsiteX35" fmla="*/ 371 w 10000"/>
              <a:gd name="connsiteY35" fmla="*/ 4999 h 10000"/>
              <a:gd name="connsiteX36" fmla="*/ 555 w 10000"/>
              <a:gd name="connsiteY36" fmla="*/ 4644 h 10000"/>
              <a:gd name="connsiteX37" fmla="*/ 555 w 10000"/>
              <a:gd name="connsiteY37" fmla="*/ 4108 h 10000"/>
              <a:gd name="connsiteX38" fmla="*/ 1111 w 10000"/>
              <a:gd name="connsiteY38" fmla="*/ 3216 h 10000"/>
              <a:gd name="connsiteX39" fmla="*/ 4629 w 10000"/>
              <a:gd name="connsiteY39" fmla="*/ 3216 h 10000"/>
              <a:gd name="connsiteX40" fmla="*/ 5000 w 10000"/>
              <a:gd name="connsiteY40" fmla="*/ 3571 h 10000"/>
              <a:gd name="connsiteX0" fmla="*/ 5000 w 10000"/>
              <a:gd name="connsiteY0" fmla="*/ 3571 h 10000"/>
              <a:gd name="connsiteX1" fmla="*/ 5000 w 10000"/>
              <a:gd name="connsiteY1" fmla="*/ 537 h 10000"/>
              <a:gd name="connsiteX2" fmla="*/ 5185 w 10000"/>
              <a:gd name="connsiteY2" fmla="*/ 178 h 10000"/>
              <a:gd name="connsiteX3" fmla="*/ 5740 w 10000"/>
              <a:gd name="connsiteY3" fmla="*/ 0 h 10000"/>
              <a:gd name="connsiteX4" fmla="*/ 6482 w 10000"/>
              <a:gd name="connsiteY4" fmla="*/ 0 h 10000"/>
              <a:gd name="connsiteX5" fmla="*/ 7408 w 10000"/>
              <a:gd name="connsiteY5" fmla="*/ 0 h 10000"/>
              <a:gd name="connsiteX6" fmla="*/ 8334 w 10000"/>
              <a:gd name="connsiteY6" fmla="*/ 0 h 10000"/>
              <a:gd name="connsiteX7" fmla="*/ 8703 w 10000"/>
              <a:gd name="connsiteY7" fmla="*/ 0 h 10000"/>
              <a:gd name="connsiteX8" fmla="*/ 9260 w 10000"/>
              <a:gd name="connsiteY8" fmla="*/ 0 h 10000"/>
              <a:gd name="connsiteX9" fmla="*/ 9445 w 10000"/>
              <a:gd name="connsiteY9" fmla="*/ 0 h 10000"/>
              <a:gd name="connsiteX10" fmla="*/ 9815 w 10000"/>
              <a:gd name="connsiteY10" fmla="*/ 537 h 10000"/>
              <a:gd name="connsiteX11" fmla="*/ 10000 w 10000"/>
              <a:gd name="connsiteY11" fmla="*/ 714 h 10000"/>
              <a:gd name="connsiteX12" fmla="*/ 10000 w 10000"/>
              <a:gd name="connsiteY12" fmla="*/ 1072 h 10000"/>
              <a:gd name="connsiteX13" fmla="*/ 10000 w 10000"/>
              <a:gd name="connsiteY13" fmla="*/ 1607 h 10000"/>
              <a:gd name="connsiteX14" fmla="*/ 9815 w 10000"/>
              <a:gd name="connsiteY14" fmla="*/ 2144 h 10000"/>
              <a:gd name="connsiteX15" fmla="*/ 9260 w 10000"/>
              <a:gd name="connsiteY15" fmla="*/ 2679 h 10000"/>
              <a:gd name="connsiteX16" fmla="*/ 9074 w 10000"/>
              <a:gd name="connsiteY16" fmla="*/ 2858 h 10000"/>
              <a:gd name="connsiteX17" fmla="*/ 8334 w 10000"/>
              <a:gd name="connsiteY17" fmla="*/ 3216 h 10000"/>
              <a:gd name="connsiteX18" fmla="*/ 8148 w 10000"/>
              <a:gd name="connsiteY18" fmla="*/ 3750 h 10000"/>
              <a:gd name="connsiteX19" fmla="*/ 8148 w 10000"/>
              <a:gd name="connsiteY19" fmla="*/ 3930 h 10000"/>
              <a:gd name="connsiteX20" fmla="*/ 8148 w 10000"/>
              <a:gd name="connsiteY20" fmla="*/ 4465 h 10000"/>
              <a:gd name="connsiteX21" fmla="*/ 8334 w 10000"/>
              <a:gd name="connsiteY21" fmla="*/ 4822 h 10000"/>
              <a:gd name="connsiteX22" fmla="*/ 8519 w 10000"/>
              <a:gd name="connsiteY22" fmla="*/ 5178 h 10000"/>
              <a:gd name="connsiteX23" fmla="*/ 8703 w 10000"/>
              <a:gd name="connsiteY23" fmla="*/ 5358 h 10000"/>
              <a:gd name="connsiteX24" fmla="*/ 8703 w 10000"/>
              <a:gd name="connsiteY24" fmla="*/ 5536 h 10000"/>
              <a:gd name="connsiteX25" fmla="*/ 9074 w 10000"/>
              <a:gd name="connsiteY25" fmla="*/ 5715 h 10000"/>
              <a:gd name="connsiteX26" fmla="*/ 9260 w 10000"/>
              <a:gd name="connsiteY26" fmla="*/ 6074 h 10000"/>
              <a:gd name="connsiteX27" fmla="*/ 9260 w 10000"/>
              <a:gd name="connsiteY27" fmla="*/ 6607 h 10000"/>
              <a:gd name="connsiteX28" fmla="*/ 9260 w 10000"/>
              <a:gd name="connsiteY28" fmla="*/ 6965 h 10000"/>
              <a:gd name="connsiteX29" fmla="*/ 9074 w 10000"/>
              <a:gd name="connsiteY29" fmla="*/ 7143 h 10000"/>
              <a:gd name="connsiteX30" fmla="*/ 8703 w 10000"/>
              <a:gd name="connsiteY30" fmla="*/ 7857 h 10000"/>
              <a:gd name="connsiteX31" fmla="*/ 8334 w 10000"/>
              <a:gd name="connsiteY31" fmla="*/ 8393 h 10000"/>
              <a:gd name="connsiteX32" fmla="*/ 7408 w 10000"/>
              <a:gd name="connsiteY32" fmla="*/ 9108 h 10000"/>
              <a:gd name="connsiteX33" fmla="*/ 6482 w 10000"/>
              <a:gd name="connsiteY33" fmla="*/ 10000 h 10000"/>
              <a:gd name="connsiteX34" fmla="*/ 0 w 10000"/>
              <a:gd name="connsiteY34" fmla="*/ 5536 h 10000"/>
              <a:gd name="connsiteX35" fmla="*/ 371 w 10000"/>
              <a:gd name="connsiteY35" fmla="*/ 4999 h 10000"/>
              <a:gd name="connsiteX36" fmla="*/ 555 w 10000"/>
              <a:gd name="connsiteY36" fmla="*/ 4644 h 10000"/>
              <a:gd name="connsiteX37" fmla="*/ 1111 w 10000"/>
              <a:gd name="connsiteY37" fmla="*/ 3216 h 10000"/>
              <a:gd name="connsiteX38" fmla="*/ 4629 w 10000"/>
              <a:gd name="connsiteY38" fmla="*/ 3216 h 10000"/>
              <a:gd name="connsiteX39" fmla="*/ 5000 w 10000"/>
              <a:gd name="connsiteY39" fmla="*/ 3571 h 10000"/>
              <a:gd name="connsiteX0" fmla="*/ 5000 w 10000"/>
              <a:gd name="connsiteY0" fmla="*/ 3571 h 10000"/>
              <a:gd name="connsiteX1" fmla="*/ 5000 w 10000"/>
              <a:gd name="connsiteY1" fmla="*/ 537 h 10000"/>
              <a:gd name="connsiteX2" fmla="*/ 5185 w 10000"/>
              <a:gd name="connsiteY2" fmla="*/ 178 h 10000"/>
              <a:gd name="connsiteX3" fmla="*/ 5740 w 10000"/>
              <a:gd name="connsiteY3" fmla="*/ 0 h 10000"/>
              <a:gd name="connsiteX4" fmla="*/ 6482 w 10000"/>
              <a:gd name="connsiteY4" fmla="*/ 0 h 10000"/>
              <a:gd name="connsiteX5" fmla="*/ 7408 w 10000"/>
              <a:gd name="connsiteY5" fmla="*/ 0 h 10000"/>
              <a:gd name="connsiteX6" fmla="*/ 8334 w 10000"/>
              <a:gd name="connsiteY6" fmla="*/ 0 h 10000"/>
              <a:gd name="connsiteX7" fmla="*/ 8703 w 10000"/>
              <a:gd name="connsiteY7" fmla="*/ 0 h 10000"/>
              <a:gd name="connsiteX8" fmla="*/ 9260 w 10000"/>
              <a:gd name="connsiteY8" fmla="*/ 0 h 10000"/>
              <a:gd name="connsiteX9" fmla="*/ 9445 w 10000"/>
              <a:gd name="connsiteY9" fmla="*/ 0 h 10000"/>
              <a:gd name="connsiteX10" fmla="*/ 9815 w 10000"/>
              <a:gd name="connsiteY10" fmla="*/ 537 h 10000"/>
              <a:gd name="connsiteX11" fmla="*/ 10000 w 10000"/>
              <a:gd name="connsiteY11" fmla="*/ 714 h 10000"/>
              <a:gd name="connsiteX12" fmla="*/ 10000 w 10000"/>
              <a:gd name="connsiteY12" fmla="*/ 1072 h 10000"/>
              <a:gd name="connsiteX13" fmla="*/ 10000 w 10000"/>
              <a:gd name="connsiteY13" fmla="*/ 1607 h 10000"/>
              <a:gd name="connsiteX14" fmla="*/ 9815 w 10000"/>
              <a:gd name="connsiteY14" fmla="*/ 2144 h 10000"/>
              <a:gd name="connsiteX15" fmla="*/ 9260 w 10000"/>
              <a:gd name="connsiteY15" fmla="*/ 2679 h 10000"/>
              <a:gd name="connsiteX16" fmla="*/ 9074 w 10000"/>
              <a:gd name="connsiteY16" fmla="*/ 2858 h 10000"/>
              <a:gd name="connsiteX17" fmla="*/ 8334 w 10000"/>
              <a:gd name="connsiteY17" fmla="*/ 3216 h 10000"/>
              <a:gd name="connsiteX18" fmla="*/ 8148 w 10000"/>
              <a:gd name="connsiteY18" fmla="*/ 3750 h 10000"/>
              <a:gd name="connsiteX19" fmla="*/ 8148 w 10000"/>
              <a:gd name="connsiteY19" fmla="*/ 3930 h 10000"/>
              <a:gd name="connsiteX20" fmla="*/ 8148 w 10000"/>
              <a:gd name="connsiteY20" fmla="*/ 4465 h 10000"/>
              <a:gd name="connsiteX21" fmla="*/ 8334 w 10000"/>
              <a:gd name="connsiteY21" fmla="*/ 4822 h 10000"/>
              <a:gd name="connsiteX22" fmla="*/ 8519 w 10000"/>
              <a:gd name="connsiteY22" fmla="*/ 5178 h 10000"/>
              <a:gd name="connsiteX23" fmla="*/ 8703 w 10000"/>
              <a:gd name="connsiteY23" fmla="*/ 5358 h 10000"/>
              <a:gd name="connsiteX24" fmla="*/ 8703 w 10000"/>
              <a:gd name="connsiteY24" fmla="*/ 5536 h 10000"/>
              <a:gd name="connsiteX25" fmla="*/ 9074 w 10000"/>
              <a:gd name="connsiteY25" fmla="*/ 5715 h 10000"/>
              <a:gd name="connsiteX26" fmla="*/ 9260 w 10000"/>
              <a:gd name="connsiteY26" fmla="*/ 6074 h 10000"/>
              <a:gd name="connsiteX27" fmla="*/ 9260 w 10000"/>
              <a:gd name="connsiteY27" fmla="*/ 6607 h 10000"/>
              <a:gd name="connsiteX28" fmla="*/ 9260 w 10000"/>
              <a:gd name="connsiteY28" fmla="*/ 6965 h 10000"/>
              <a:gd name="connsiteX29" fmla="*/ 9074 w 10000"/>
              <a:gd name="connsiteY29" fmla="*/ 7143 h 10000"/>
              <a:gd name="connsiteX30" fmla="*/ 8703 w 10000"/>
              <a:gd name="connsiteY30" fmla="*/ 7857 h 10000"/>
              <a:gd name="connsiteX31" fmla="*/ 8334 w 10000"/>
              <a:gd name="connsiteY31" fmla="*/ 8393 h 10000"/>
              <a:gd name="connsiteX32" fmla="*/ 7408 w 10000"/>
              <a:gd name="connsiteY32" fmla="*/ 9108 h 10000"/>
              <a:gd name="connsiteX33" fmla="*/ 6482 w 10000"/>
              <a:gd name="connsiteY33" fmla="*/ 10000 h 10000"/>
              <a:gd name="connsiteX34" fmla="*/ 0 w 10000"/>
              <a:gd name="connsiteY34" fmla="*/ 5536 h 10000"/>
              <a:gd name="connsiteX35" fmla="*/ 555 w 10000"/>
              <a:gd name="connsiteY35" fmla="*/ 4644 h 10000"/>
              <a:gd name="connsiteX36" fmla="*/ 1111 w 10000"/>
              <a:gd name="connsiteY36" fmla="*/ 3216 h 10000"/>
              <a:gd name="connsiteX37" fmla="*/ 4629 w 10000"/>
              <a:gd name="connsiteY37" fmla="*/ 3216 h 10000"/>
              <a:gd name="connsiteX38" fmla="*/ 5000 w 10000"/>
              <a:gd name="connsiteY38" fmla="*/ 3571 h 10000"/>
              <a:gd name="connsiteX0" fmla="*/ 4445 w 9445"/>
              <a:gd name="connsiteY0" fmla="*/ 3571 h 10000"/>
              <a:gd name="connsiteX1" fmla="*/ 4445 w 9445"/>
              <a:gd name="connsiteY1" fmla="*/ 537 h 10000"/>
              <a:gd name="connsiteX2" fmla="*/ 4630 w 9445"/>
              <a:gd name="connsiteY2" fmla="*/ 178 h 10000"/>
              <a:gd name="connsiteX3" fmla="*/ 5185 w 9445"/>
              <a:gd name="connsiteY3" fmla="*/ 0 h 10000"/>
              <a:gd name="connsiteX4" fmla="*/ 5927 w 9445"/>
              <a:gd name="connsiteY4" fmla="*/ 0 h 10000"/>
              <a:gd name="connsiteX5" fmla="*/ 6853 w 9445"/>
              <a:gd name="connsiteY5" fmla="*/ 0 h 10000"/>
              <a:gd name="connsiteX6" fmla="*/ 7779 w 9445"/>
              <a:gd name="connsiteY6" fmla="*/ 0 h 10000"/>
              <a:gd name="connsiteX7" fmla="*/ 8148 w 9445"/>
              <a:gd name="connsiteY7" fmla="*/ 0 h 10000"/>
              <a:gd name="connsiteX8" fmla="*/ 8705 w 9445"/>
              <a:gd name="connsiteY8" fmla="*/ 0 h 10000"/>
              <a:gd name="connsiteX9" fmla="*/ 8890 w 9445"/>
              <a:gd name="connsiteY9" fmla="*/ 0 h 10000"/>
              <a:gd name="connsiteX10" fmla="*/ 9260 w 9445"/>
              <a:gd name="connsiteY10" fmla="*/ 537 h 10000"/>
              <a:gd name="connsiteX11" fmla="*/ 9445 w 9445"/>
              <a:gd name="connsiteY11" fmla="*/ 714 h 10000"/>
              <a:gd name="connsiteX12" fmla="*/ 9445 w 9445"/>
              <a:gd name="connsiteY12" fmla="*/ 1072 h 10000"/>
              <a:gd name="connsiteX13" fmla="*/ 9445 w 9445"/>
              <a:gd name="connsiteY13" fmla="*/ 1607 h 10000"/>
              <a:gd name="connsiteX14" fmla="*/ 9260 w 9445"/>
              <a:gd name="connsiteY14" fmla="*/ 2144 h 10000"/>
              <a:gd name="connsiteX15" fmla="*/ 8705 w 9445"/>
              <a:gd name="connsiteY15" fmla="*/ 2679 h 10000"/>
              <a:gd name="connsiteX16" fmla="*/ 8519 w 9445"/>
              <a:gd name="connsiteY16" fmla="*/ 2858 h 10000"/>
              <a:gd name="connsiteX17" fmla="*/ 7779 w 9445"/>
              <a:gd name="connsiteY17" fmla="*/ 3216 h 10000"/>
              <a:gd name="connsiteX18" fmla="*/ 7593 w 9445"/>
              <a:gd name="connsiteY18" fmla="*/ 3750 h 10000"/>
              <a:gd name="connsiteX19" fmla="*/ 7593 w 9445"/>
              <a:gd name="connsiteY19" fmla="*/ 3930 h 10000"/>
              <a:gd name="connsiteX20" fmla="*/ 7593 w 9445"/>
              <a:gd name="connsiteY20" fmla="*/ 4465 h 10000"/>
              <a:gd name="connsiteX21" fmla="*/ 7779 w 9445"/>
              <a:gd name="connsiteY21" fmla="*/ 4822 h 10000"/>
              <a:gd name="connsiteX22" fmla="*/ 7964 w 9445"/>
              <a:gd name="connsiteY22" fmla="*/ 5178 h 10000"/>
              <a:gd name="connsiteX23" fmla="*/ 8148 w 9445"/>
              <a:gd name="connsiteY23" fmla="*/ 5358 h 10000"/>
              <a:gd name="connsiteX24" fmla="*/ 8148 w 9445"/>
              <a:gd name="connsiteY24" fmla="*/ 5536 h 10000"/>
              <a:gd name="connsiteX25" fmla="*/ 8519 w 9445"/>
              <a:gd name="connsiteY25" fmla="*/ 5715 h 10000"/>
              <a:gd name="connsiteX26" fmla="*/ 8705 w 9445"/>
              <a:gd name="connsiteY26" fmla="*/ 6074 h 10000"/>
              <a:gd name="connsiteX27" fmla="*/ 8705 w 9445"/>
              <a:gd name="connsiteY27" fmla="*/ 6607 h 10000"/>
              <a:gd name="connsiteX28" fmla="*/ 8705 w 9445"/>
              <a:gd name="connsiteY28" fmla="*/ 6965 h 10000"/>
              <a:gd name="connsiteX29" fmla="*/ 8519 w 9445"/>
              <a:gd name="connsiteY29" fmla="*/ 7143 h 10000"/>
              <a:gd name="connsiteX30" fmla="*/ 8148 w 9445"/>
              <a:gd name="connsiteY30" fmla="*/ 7857 h 10000"/>
              <a:gd name="connsiteX31" fmla="*/ 7779 w 9445"/>
              <a:gd name="connsiteY31" fmla="*/ 8393 h 10000"/>
              <a:gd name="connsiteX32" fmla="*/ 6853 w 9445"/>
              <a:gd name="connsiteY32" fmla="*/ 9108 h 10000"/>
              <a:gd name="connsiteX33" fmla="*/ 5927 w 9445"/>
              <a:gd name="connsiteY33" fmla="*/ 10000 h 10000"/>
              <a:gd name="connsiteX34" fmla="*/ 0 w 9445"/>
              <a:gd name="connsiteY34" fmla="*/ 4644 h 10000"/>
              <a:gd name="connsiteX35" fmla="*/ 556 w 9445"/>
              <a:gd name="connsiteY35" fmla="*/ 3216 h 10000"/>
              <a:gd name="connsiteX36" fmla="*/ 4074 w 9445"/>
              <a:gd name="connsiteY36" fmla="*/ 3216 h 10000"/>
              <a:gd name="connsiteX37" fmla="*/ 4445 w 9445"/>
              <a:gd name="connsiteY37" fmla="*/ 3571 h 10000"/>
              <a:gd name="connsiteX0" fmla="*/ 4117 w 9411"/>
              <a:gd name="connsiteY0" fmla="*/ 3571 h 10000"/>
              <a:gd name="connsiteX1" fmla="*/ 4117 w 9411"/>
              <a:gd name="connsiteY1" fmla="*/ 537 h 10000"/>
              <a:gd name="connsiteX2" fmla="*/ 4313 w 9411"/>
              <a:gd name="connsiteY2" fmla="*/ 178 h 10000"/>
              <a:gd name="connsiteX3" fmla="*/ 4901 w 9411"/>
              <a:gd name="connsiteY3" fmla="*/ 0 h 10000"/>
              <a:gd name="connsiteX4" fmla="*/ 5686 w 9411"/>
              <a:gd name="connsiteY4" fmla="*/ 0 h 10000"/>
              <a:gd name="connsiteX5" fmla="*/ 6667 w 9411"/>
              <a:gd name="connsiteY5" fmla="*/ 0 h 10000"/>
              <a:gd name="connsiteX6" fmla="*/ 7647 w 9411"/>
              <a:gd name="connsiteY6" fmla="*/ 0 h 10000"/>
              <a:gd name="connsiteX7" fmla="*/ 8038 w 9411"/>
              <a:gd name="connsiteY7" fmla="*/ 0 h 10000"/>
              <a:gd name="connsiteX8" fmla="*/ 8628 w 9411"/>
              <a:gd name="connsiteY8" fmla="*/ 0 h 10000"/>
              <a:gd name="connsiteX9" fmla="*/ 8823 w 9411"/>
              <a:gd name="connsiteY9" fmla="*/ 0 h 10000"/>
              <a:gd name="connsiteX10" fmla="*/ 9215 w 9411"/>
              <a:gd name="connsiteY10" fmla="*/ 537 h 10000"/>
              <a:gd name="connsiteX11" fmla="*/ 9411 w 9411"/>
              <a:gd name="connsiteY11" fmla="*/ 714 h 10000"/>
              <a:gd name="connsiteX12" fmla="*/ 9411 w 9411"/>
              <a:gd name="connsiteY12" fmla="*/ 1072 h 10000"/>
              <a:gd name="connsiteX13" fmla="*/ 9411 w 9411"/>
              <a:gd name="connsiteY13" fmla="*/ 1607 h 10000"/>
              <a:gd name="connsiteX14" fmla="*/ 9215 w 9411"/>
              <a:gd name="connsiteY14" fmla="*/ 2144 h 10000"/>
              <a:gd name="connsiteX15" fmla="*/ 8628 w 9411"/>
              <a:gd name="connsiteY15" fmla="*/ 2679 h 10000"/>
              <a:gd name="connsiteX16" fmla="*/ 8431 w 9411"/>
              <a:gd name="connsiteY16" fmla="*/ 2858 h 10000"/>
              <a:gd name="connsiteX17" fmla="*/ 7647 w 9411"/>
              <a:gd name="connsiteY17" fmla="*/ 3216 h 10000"/>
              <a:gd name="connsiteX18" fmla="*/ 7450 w 9411"/>
              <a:gd name="connsiteY18" fmla="*/ 3750 h 10000"/>
              <a:gd name="connsiteX19" fmla="*/ 7450 w 9411"/>
              <a:gd name="connsiteY19" fmla="*/ 3930 h 10000"/>
              <a:gd name="connsiteX20" fmla="*/ 7450 w 9411"/>
              <a:gd name="connsiteY20" fmla="*/ 4465 h 10000"/>
              <a:gd name="connsiteX21" fmla="*/ 7647 w 9411"/>
              <a:gd name="connsiteY21" fmla="*/ 4822 h 10000"/>
              <a:gd name="connsiteX22" fmla="*/ 7843 w 9411"/>
              <a:gd name="connsiteY22" fmla="*/ 5178 h 10000"/>
              <a:gd name="connsiteX23" fmla="*/ 8038 w 9411"/>
              <a:gd name="connsiteY23" fmla="*/ 5358 h 10000"/>
              <a:gd name="connsiteX24" fmla="*/ 8038 w 9411"/>
              <a:gd name="connsiteY24" fmla="*/ 5536 h 10000"/>
              <a:gd name="connsiteX25" fmla="*/ 8431 w 9411"/>
              <a:gd name="connsiteY25" fmla="*/ 5715 h 10000"/>
              <a:gd name="connsiteX26" fmla="*/ 8628 w 9411"/>
              <a:gd name="connsiteY26" fmla="*/ 6074 h 10000"/>
              <a:gd name="connsiteX27" fmla="*/ 8628 w 9411"/>
              <a:gd name="connsiteY27" fmla="*/ 6607 h 10000"/>
              <a:gd name="connsiteX28" fmla="*/ 8628 w 9411"/>
              <a:gd name="connsiteY28" fmla="*/ 6965 h 10000"/>
              <a:gd name="connsiteX29" fmla="*/ 8431 w 9411"/>
              <a:gd name="connsiteY29" fmla="*/ 7143 h 10000"/>
              <a:gd name="connsiteX30" fmla="*/ 8038 w 9411"/>
              <a:gd name="connsiteY30" fmla="*/ 7857 h 10000"/>
              <a:gd name="connsiteX31" fmla="*/ 7647 w 9411"/>
              <a:gd name="connsiteY31" fmla="*/ 8393 h 10000"/>
              <a:gd name="connsiteX32" fmla="*/ 6667 w 9411"/>
              <a:gd name="connsiteY32" fmla="*/ 9108 h 10000"/>
              <a:gd name="connsiteX33" fmla="*/ 5686 w 9411"/>
              <a:gd name="connsiteY33" fmla="*/ 10000 h 10000"/>
              <a:gd name="connsiteX34" fmla="*/ 0 w 9411"/>
              <a:gd name="connsiteY34" fmla="*/ 3216 h 10000"/>
              <a:gd name="connsiteX35" fmla="*/ 3724 w 9411"/>
              <a:gd name="connsiteY35" fmla="*/ 3216 h 10000"/>
              <a:gd name="connsiteX36" fmla="*/ 4117 w 9411"/>
              <a:gd name="connsiteY36" fmla="*/ 3571 h 10000"/>
              <a:gd name="connsiteX0" fmla="*/ 418 w 6043"/>
              <a:gd name="connsiteY0" fmla="*/ 3571 h 10000"/>
              <a:gd name="connsiteX1" fmla="*/ 418 w 6043"/>
              <a:gd name="connsiteY1" fmla="*/ 537 h 10000"/>
              <a:gd name="connsiteX2" fmla="*/ 626 w 6043"/>
              <a:gd name="connsiteY2" fmla="*/ 178 h 10000"/>
              <a:gd name="connsiteX3" fmla="*/ 1251 w 6043"/>
              <a:gd name="connsiteY3" fmla="*/ 0 h 10000"/>
              <a:gd name="connsiteX4" fmla="*/ 2085 w 6043"/>
              <a:gd name="connsiteY4" fmla="*/ 0 h 10000"/>
              <a:gd name="connsiteX5" fmla="*/ 3127 w 6043"/>
              <a:gd name="connsiteY5" fmla="*/ 0 h 10000"/>
              <a:gd name="connsiteX6" fmla="*/ 4169 w 6043"/>
              <a:gd name="connsiteY6" fmla="*/ 0 h 10000"/>
              <a:gd name="connsiteX7" fmla="*/ 4584 w 6043"/>
              <a:gd name="connsiteY7" fmla="*/ 0 h 10000"/>
              <a:gd name="connsiteX8" fmla="*/ 5211 w 6043"/>
              <a:gd name="connsiteY8" fmla="*/ 0 h 10000"/>
              <a:gd name="connsiteX9" fmla="*/ 5418 w 6043"/>
              <a:gd name="connsiteY9" fmla="*/ 0 h 10000"/>
              <a:gd name="connsiteX10" fmla="*/ 5835 w 6043"/>
              <a:gd name="connsiteY10" fmla="*/ 537 h 10000"/>
              <a:gd name="connsiteX11" fmla="*/ 6043 w 6043"/>
              <a:gd name="connsiteY11" fmla="*/ 714 h 10000"/>
              <a:gd name="connsiteX12" fmla="*/ 6043 w 6043"/>
              <a:gd name="connsiteY12" fmla="*/ 1072 h 10000"/>
              <a:gd name="connsiteX13" fmla="*/ 6043 w 6043"/>
              <a:gd name="connsiteY13" fmla="*/ 1607 h 10000"/>
              <a:gd name="connsiteX14" fmla="*/ 5835 w 6043"/>
              <a:gd name="connsiteY14" fmla="*/ 2144 h 10000"/>
              <a:gd name="connsiteX15" fmla="*/ 5211 w 6043"/>
              <a:gd name="connsiteY15" fmla="*/ 2679 h 10000"/>
              <a:gd name="connsiteX16" fmla="*/ 5002 w 6043"/>
              <a:gd name="connsiteY16" fmla="*/ 2858 h 10000"/>
              <a:gd name="connsiteX17" fmla="*/ 4169 w 6043"/>
              <a:gd name="connsiteY17" fmla="*/ 3216 h 10000"/>
              <a:gd name="connsiteX18" fmla="*/ 3959 w 6043"/>
              <a:gd name="connsiteY18" fmla="*/ 3750 h 10000"/>
              <a:gd name="connsiteX19" fmla="*/ 3959 w 6043"/>
              <a:gd name="connsiteY19" fmla="*/ 3930 h 10000"/>
              <a:gd name="connsiteX20" fmla="*/ 3959 w 6043"/>
              <a:gd name="connsiteY20" fmla="*/ 4465 h 10000"/>
              <a:gd name="connsiteX21" fmla="*/ 4169 w 6043"/>
              <a:gd name="connsiteY21" fmla="*/ 4822 h 10000"/>
              <a:gd name="connsiteX22" fmla="*/ 4377 w 6043"/>
              <a:gd name="connsiteY22" fmla="*/ 5178 h 10000"/>
              <a:gd name="connsiteX23" fmla="*/ 4584 w 6043"/>
              <a:gd name="connsiteY23" fmla="*/ 5358 h 10000"/>
              <a:gd name="connsiteX24" fmla="*/ 4584 w 6043"/>
              <a:gd name="connsiteY24" fmla="*/ 5536 h 10000"/>
              <a:gd name="connsiteX25" fmla="*/ 5002 w 6043"/>
              <a:gd name="connsiteY25" fmla="*/ 5715 h 10000"/>
              <a:gd name="connsiteX26" fmla="*/ 5211 w 6043"/>
              <a:gd name="connsiteY26" fmla="*/ 6074 h 10000"/>
              <a:gd name="connsiteX27" fmla="*/ 5211 w 6043"/>
              <a:gd name="connsiteY27" fmla="*/ 6607 h 10000"/>
              <a:gd name="connsiteX28" fmla="*/ 5211 w 6043"/>
              <a:gd name="connsiteY28" fmla="*/ 6965 h 10000"/>
              <a:gd name="connsiteX29" fmla="*/ 5002 w 6043"/>
              <a:gd name="connsiteY29" fmla="*/ 7143 h 10000"/>
              <a:gd name="connsiteX30" fmla="*/ 4584 w 6043"/>
              <a:gd name="connsiteY30" fmla="*/ 7857 h 10000"/>
              <a:gd name="connsiteX31" fmla="*/ 4169 w 6043"/>
              <a:gd name="connsiteY31" fmla="*/ 8393 h 10000"/>
              <a:gd name="connsiteX32" fmla="*/ 3127 w 6043"/>
              <a:gd name="connsiteY32" fmla="*/ 9108 h 10000"/>
              <a:gd name="connsiteX33" fmla="*/ 2085 w 6043"/>
              <a:gd name="connsiteY33" fmla="*/ 10000 h 10000"/>
              <a:gd name="connsiteX34" fmla="*/ 0 w 6043"/>
              <a:gd name="connsiteY34" fmla="*/ 3216 h 10000"/>
              <a:gd name="connsiteX35" fmla="*/ 418 w 6043"/>
              <a:gd name="connsiteY35" fmla="*/ 3571 h 10000"/>
              <a:gd name="connsiteX0" fmla="*/ 0 w 9308"/>
              <a:gd name="connsiteY0" fmla="*/ 3571 h 10000"/>
              <a:gd name="connsiteX1" fmla="*/ 0 w 9308"/>
              <a:gd name="connsiteY1" fmla="*/ 537 h 10000"/>
              <a:gd name="connsiteX2" fmla="*/ 344 w 9308"/>
              <a:gd name="connsiteY2" fmla="*/ 178 h 10000"/>
              <a:gd name="connsiteX3" fmla="*/ 1378 w 9308"/>
              <a:gd name="connsiteY3" fmla="*/ 0 h 10000"/>
              <a:gd name="connsiteX4" fmla="*/ 2758 w 9308"/>
              <a:gd name="connsiteY4" fmla="*/ 0 h 10000"/>
              <a:gd name="connsiteX5" fmla="*/ 4483 w 9308"/>
              <a:gd name="connsiteY5" fmla="*/ 0 h 10000"/>
              <a:gd name="connsiteX6" fmla="*/ 6207 w 9308"/>
              <a:gd name="connsiteY6" fmla="*/ 0 h 10000"/>
              <a:gd name="connsiteX7" fmla="*/ 6894 w 9308"/>
              <a:gd name="connsiteY7" fmla="*/ 0 h 10000"/>
              <a:gd name="connsiteX8" fmla="*/ 7931 w 9308"/>
              <a:gd name="connsiteY8" fmla="*/ 0 h 10000"/>
              <a:gd name="connsiteX9" fmla="*/ 8274 w 9308"/>
              <a:gd name="connsiteY9" fmla="*/ 0 h 10000"/>
              <a:gd name="connsiteX10" fmla="*/ 8964 w 9308"/>
              <a:gd name="connsiteY10" fmla="*/ 537 h 10000"/>
              <a:gd name="connsiteX11" fmla="*/ 9308 w 9308"/>
              <a:gd name="connsiteY11" fmla="*/ 714 h 10000"/>
              <a:gd name="connsiteX12" fmla="*/ 9308 w 9308"/>
              <a:gd name="connsiteY12" fmla="*/ 1072 h 10000"/>
              <a:gd name="connsiteX13" fmla="*/ 9308 w 9308"/>
              <a:gd name="connsiteY13" fmla="*/ 1607 h 10000"/>
              <a:gd name="connsiteX14" fmla="*/ 8964 w 9308"/>
              <a:gd name="connsiteY14" fmla="*/ 2144 h 10000"/>
              <a:gd name="connsiteX15" fmla="*/ 7931 w 9308"/>
              <a:gd name="connsiteY15" fmla="*/ 2679 h 10000"/>
              <a:gd name="connsiteX16" fmla="*/ 7585 w 9308"/>
              <a:gd name="connsiteY16" fmla="*/ 2858 h 10000"/>
              <a:gd name="connsiteX17" fmla="*/ 6207 w 9308"/>
              <a:gd name="connsiteY17" fmla="*/ 3216 h 10000"/>
              <a:gd name="connsiteX18" fmla="*/ 5859 w 9308"/>
              <a:gd name="connsiteY18" fmla="*/ 3750 h 10000"/>
              <a:gd name="connsiteX19" fmla="*/ 5859 w 9308"/>
              <a:gd name="connsiteY19" fmla="*/ 3930 h 10000"/>
              <a:gd name="connsiteX20" fmla="*/ 5859 w 9308"/>
              <a:gd name="connsiteY20" fmla="*/ 4465 h 10000"/>
              <a:gd name="connsiteX21" fmla="*/ 6207 w 9308"/>
              <a:gd name="connsiteY21" fmla="*/ 4822 h 10000"/>
              <a:gd name="connsiteX22" fmla="*/ 6551 w 9308"/>
              <a:gd name="connsiteY22" fmla="*/ 5178 h 10000"/>
              <a:gd name="connsiteX23" fmla="*/ 6894 w 9308"/>
              <a:gd name="connsiteY23" fmla="*/ 5358 h 10000"/>
              <a:gd name="connsiteX24" fmla="*/ 6894 w 9308"/>
              <a:gd name="connsiteY24" fmla="*/ 5536 h 10000"/>
              <a:gd name="connsiteX25" fmla="*/ 7585 w 9308"/>
              <a:gd name="connsiteY25" fmla="*/ 5715 h 10000"/>
              <a:gd name="connsiteX26" fmla="*/ 7931 w 9308"/>
              <a:gd name="connsiteY26" fmla="*/ 6074 h 10000"/>
              <a:gd name="connsiteX27" fmla="*/ 7931 w 9308"/>
              <a:gd name="connsiteY27" fmla="*/ 6607 h 10000"/>
              <a:gd name="connsiteX28" fmla="*/ 7931 w 9308"/>
              <a:gd name="connsiteY28" fmla="*/ 6965 h 10000"/>
              <a:gd name="connsiteX29" fmla="*/ 7585 w 9308"/>
              <a:gd name="connsiteY29" fmla="*/ 7143 h 10000"/>
              <a:gd name="connsiteX30" fmla="*/ 6894 w 9308"/>
              <a:gd name="connsiteY30" fmla="*/ 7857 h 10000"/>
              <a:gd name="connsiteX31" fmla="*/ 6207 w 9308"/>
              <a:gd name="connsiteY31" fmla="*/ 8393 h 10000"/>
              <a:gd name="connsiteX32" fmla="*/ 4483 w 9308"/>
              <a:gd name="connsiteY32" fmla="*/ 9108 h 10000"/>
              <a:gd name="connsiteX33" fmla="*/ 2758 w 9308"/>
              <a:gd name="connsiteY33" fmla="*/ 10000 h 10000"/>
              <a:gd name="connsiteX34" fmla="*/ 0 w 9308"/>
              <a:gd name="connsiteY34" fmla="*/ 3571 h 10000"/>
              <a:gd name="connsiteX0" fmla="*/ 0 w 10000"/>
              <a:gd name="connsiteY0" fmla="*/ 3571 h 10000"/>
              <a:gd name="connsiteX1" fmla="*/ 0 w 10000"/>
              <a:gd name="connsiteY1" fmla="*/ 537 h 10000"/>
              <a:gd name="connsiteX2" fmla="*/ 370 w 10000"/>
              <a:gd name="connsiteY2" fmla="*/ 178 h 10000"/>
              <a:gd name="connsiteX3" fmla="*/ 1480 w 10000"/>
              <a:gd name="connsiteY3" fmla="*/ 0 h 10000"/>
              <a:gd name="connsiteX4" fmla="*/ 2963 w 10000"/>
              <a:gd name="connsiteY4" fmla="*/ 0 h 10000"/>
              <a:gd name="connsiteX5" fmla="*/ 4816 w 10000"/>
              <a:gd name="connsiteY5" fmla="*/ 0 h 10000"/>
              <a:gd name="connsiteX6" fmla="*/ 6668 w 10000"/>
              <a:gd name="connsiteY6" fmla="*/ 0 h 10000"/>
              <a:gd name="connsiteX7" fmla="*/ 7407 w 10000"/>
              <a:gd name="connsiteY7" fmla="*/ 0 h 10000"/>
              <a:gd name="connsiteX8" fmla="*/ 8521 w 10000"/>
              <a:gd name="connsiteY8" fmla="*/ 0 h 10000"/>
              <a:gd name="connsiteX9" fmla="*/ 8889 w 10000"/>
              <a:gd name="connsiteY9" fmla="*/ 0 h 10000"/>
              <a:gd name="connsiteX10" fmla="*/ 9630 w 10000"/>
              <a:gd name="connsiteY10" fmla="*/ 537 h 10000"/>
              <a:gd name="connsiteX11" fmla="*/ 10000 w 10000"/>
              <a:gd name="connsiteY11" fmla="*/ 714 h 10000"/>
              <a:gd name="connsiteX12" fmla="*/ 10000 w 10000"/>
              <a:gd name="connsiteY12" fmla="*/ 1072 h 10000"/>
              <a:gd name="connsiteX13" fmla="*/ 10000 w 10000"/>
              <a:gd name="connsiteY13" fmla="*/ 1607 h 10000"/>
              <a:gd name="connsiteX14" fmla="*/ 9630 w 10000"/>
              <a:gd name="connsiteY14" fmla="*/ 2144 h 10000"/>
              <a:gd name="connsiteX15" fmla="*/ 8521 w 10000"/>
              <a:gd name="connsiteY15" fmla="*/ 2679 h 10000"/>
              <a:gd name="connsiteX16" fmla="*/ 8149 w 10000"/>
              <a:gd name="connsiteY16" fmla="*/ 2858 h 10000"/>
              <a:gd name="connsiteX17" fmla="*/ 6668 w 10000"/>
              <a:gd name="connsiteY17" fmla="*/ 3216 h 10000"/>
              <a:gd name="connsiteX18" fmla="*/ 6295 w 10000"/>
              <a:gd name="connsiteY18" fmla="*/ 3750 h 10000"/>
              <a:gd name="connsiteX19" fmla="*/ 6295 w 10000"/>
              <a:gd name="connsiteY19" fmla="*/ 3930 h 10000"/>
              <a:gd name="connsiteX20" fmla="*/ 6295 w 10000"/>
              <a:gd name="connsiteY20" fmla="*/ 4465 h 10000"/>
              <a:gd name="connsiteX21" fmla="*/ 7038 w 10000"/>
              <a:gd name="connsiteY21" fmla="*/ 5178 h 10000"/>
              <a:gd name="connsiteX22" fmla="*/ 7407 w 10000"/>
              <a:gd name="connsiteY22" fmla="*/ 5358 h 10000"/>
              <a:gd name="connsiteX23" fmla="*/ 7407 w 10000"/>
              <a:gd name="connsiteY23" fmla="*/ 5536 h 10000"/>
              <a:gd name="connsiteX24" fmla="*/ 8149 w 10000"/>
              <a:gd name="connsiteY24" fmla="*/ 5715 h 10000"/>
              <a:gd name="connsiteX25" fmla="*/ 8521 w 10000"/>
              <a:gd name="connsiteY25" fmla="*/ 6074 h 10000"/>
              <a:gd name="connsiteX26" fmla="*/ 8521 w 10000"/>
              <a:gd name="connsiteY26" fmla="*/ 6607 h 10000"/>
              <a:gd name="connsiteX27" fmla="*/ 8521 w 10000"/>
              <a:gd name="connsiteY27" fmla="*/ 6965 h 10000"/>
              <a:gd name="connsiteX28" fmla="*/ 8149 w 10000"/>
              <a:gd name="connsiteY28" fmla="*/ 7143 h 10000"/>
              <a:gd name="connsiteX29" fmla="*/ 7407 w 10000"/>
              <a:gd name="connsiteY29" fmla="*/ 7857 h 10000"/>
              <a:gd name="connsiteX30" fmla="*/ 6668 w 10000"/>
              <a:gd name="connsiteY30" fmla="*/ 8393 h 10000"/>
              <a:gd name="connsiteX31" fmla="*/ 4816 w 10000"/>
              <a:gd name="connsiteY31" fmla="*/ 9108 h 10000"/>
              <a:gd name="connsiteX32" fmla="*/ 2963 w 10000"/>
              <a:gd name="connsiteY32" fmla="*/ 10000 h 10000"/>
              <a:gd name="connsiteX33" fmla="*/ 0 w 10000"/>
              <a:gd name="connsiteY33" fmla="*/ 3571 h 10000"/>
              <a:gd name="connsiteX0" fmla="*/ 0 w 10000"/>
              <a:gd name="connsiteY0" fmla="*/ 3571 h 10000"/>
              <a:gd name="connsiteX1" fmla="*/ 0 w 10000"/>
              <a:gd name="connsiteY1" fmla="*/ 537 h 10000"/>
              <a:gd name="connsiteX2" fmla="*/ 370 w 10000"/>
              <a:gd name="connsiteY2" fmla="*/ 178 h 10000"/>
              <a:gd name="connsiteX3" fmla="*/ 1480 w 10000"/>
              <a:gd name="connsiteY3" fmla="*/ 0 h 10000"/>
              <a:gd name="connsiteX4" fmla="*/ 2963 w 10000"/>
              <a:gd name="connsiteY4" fmla="*/ 0 h 10000"/>
              <a:gd name="connsiteX5" fmla="*/ 4816 w 10000"/>
              <a:gd name="connsiteY5" fmla="*/ 0 h 10000"/>
              <a:gd name="connsiteX6" fmla="*/ 6668 w 10000"/>
              <a:gd name="connsiteY6" fmla="*/ 0 h 10000"/>
              <a:gd name="connsiteX7" fmla="*/ 7407 w 10000"/>
              <a:gd name="connsiteY7" fmla="*/ 0 h 10000"/>
              <a:gd name="connsiteX8" fmla="*/ 8521 w 10000"/>
              <a:gd name="connsiteY8" fmla="*/ 0 h 10000"/>
              <a:gd name="connsiteX9" fmla="*/ 8889 w 10000"/>
              <a:gd name="connsiteY9" fmla="*/ 0 h 10000"/>
              <a:gd name="connsiteX10" fmla="*/ 9630 w 10000"/>
              <a:gd name="connsiteY10" fmla="*/ 537 h 10000"/>
              <a:gd name="connsiteX11" fmla="*/ 10000 w 10000"/>
              <a:gd name="connsiteY11" fmla="*/ 714 h 10000"/>
              <a:gd name="connsiteX12" fmla="*/ 10000 w 10000"/>
              <a:gd name="connsiteY12" fmla="*/ 1072 h 10000"/>
              <a:gd name="connsiteX13" fmla="*/ 10000 w 10000"/>
              <a:gd name="connsiteY13" fmla="*/ 1607 h 10000"/>
              <a:gd name="connsiteX14" fmla="*/ 9630 w 10000"/>
              <a:gd name="connsiteY14" fmla="*/ 2144 h 10000"/>
              <a:gd name="connsiteX15" fmla="*/ 8521 w 10000"/>
              <a:gd name="connsiteY15" fmla="*/ 2679 h 10000"/>
              <a:gd name="connsiteX16" fmla="*/ 8149 w 10000"/>
              <a:gd name="connsiteY16" fmla="*/ 2858 h 10000"/>
              <a:gd name="connsiteX17" fmla="*/ 6668 w 10000"/>
              <a:gd name="connsiteY17" fmla="*/ 3216 h 10000"/>
              <a:gd name="connsiteX18" fmla="*/ 6295 w 10000"/>
              <a:gd name="connsiteY18" fmla="*/ 3750 h 10000"/>
              <a:gd name="connsiteX19" fmla="*/ 6295 w 10000"/>
              <a:gd name="connsiteY19" fmla="*/ 3930 h 10000"/>
              <a:gd name="connsiteX20" fmla="*/ 6295 w 10000"/>
              <a:gd name="connsiteY20" fmla="*/ 4465 h 10000"/>
              <a:gd name="connsiteX21" fmla="*/ 7407 w 10000"/>
              <a:gd name="connsiteY21" fmla="*/ 5358 h 10000"/>
              <a:gd name="connsiteX22" fmla="*/ 7407 w 10000"/>
              <a:gd name="connsiteY22" fmla="*/ 5536 h 10000"/>
              <a:gd name="connsiteX23" fmla="*/ 8149 w 10000"/>
              <a:gd name="connsiteY23" fmla="*/ 5715 h 10000"/>
              <a:gd name="connsiteX24" fmla="*/ 8521 w 10000"/>
              <a:gd name="connsiteY24" fmla="*/ 6074 h 10000"/>
              <a:gd name="connsiteX25" fmla="*/ 8521 w 10000"/>
              <a:gd name="connsiteY25" fmla="*/ 6607 h 10000"/>
              <a:gd name="connsiteX26" fmla="*/ 8521 w 10000"/>
              <a:gd name="connsiteY26" fmla="*/ 6965 h 10000"/>
              <a:gd name="connsiteX27" fmla="*/ 8149 w 10000"/>
              <a:gd name="connsiteY27" fmla="*/ 7143 h 10000"/>
              <a:gd name="connsiteX28" fmla="*/ 7407 w 10000"/>
              <a:gd name="connsiteY28" fmla="*/ 7857 h 10000"/>
              <a:gd name="connsiteX29" fmla="*/ 6668 w 10000"/>
              <a:gd name="connsiteY29" fmla="*/ 8393 h 10000"/>
              <a:gd name="connsiteX30" fmla="*/ 4816 w 10000"/>
              <a:gd name="connsiteY30" fmla="*/ 9108 h 10000"/>
              <a:gd name="connsiteX31" fmla="*/ 2963 w 10000"/>
              <a:gd name="connsiteY31" fmla="*/ 10000 h 10000"/>
              <a:gd name="connsiteX32" fmla="*/ 0 w 10000"/>
              <a:gd name="connsiteY32" fmla="*/ 3571 h 10000"/>
              <a:gd name="connsiteX0" fmla="*/ 0 w 10000"/>
              <a:gd name="connsiteY0" fmla="*/ 3571 h 10000"/>
              <a:gd name="connsiteX1" fmla="*/ 0 w 10000"/>
              <a:gd name="connsiteY1" fmla="*/ 537 h 10000"/>
              <a:gd name="connsiteX2" fmla="*/ 370 w 10000"/>
              <a:gd name="connsiteY2" fmla="*/ 178 h 10000"/>
              <a:gd name="connsiteX3" fmla="*/ 1480 w 10000"/>
              <a:gd name="connsiteY3" fmla="*/ 0 h 10000"/>
              <a:gd name="connsiteX4" fmla="*/ 2963 w 10000"/>
              <a:gd name="connsiteY4" fmla="*/ 0 h 10000"/>
              <a:gd name="connsiteX5" fmla="*/ 4816 w 10000"/>
              <a:gd name="connsiteY5" fmla="*/ 0 h 10000"/>
              <a:gd name="connsiteX6" fmla="*/ 6668 w 10000"/>
              <a:gd name="connsiteY6" fmla="*/ 0 h 10000"/>
              <a:gd name="connsiteX7" fmla="*/ 7407 w 10000"/>
              <a:gd name="connsiteY7" fmla="*/ 0 h 10000"/>
              <a:gd name="connsiteX8" fmla="*/ 8521 w 10000"/>
              <a:gd name="connsiteY8" fmla="*/ 0 h 10000"/>
              <a:gd name="connsiteX9" fmla="*/ 8889 w 10000"/>
              <a:gd name="connsiteY9" fmla="*/ 0 h 10000"/>
              <a:gd name="connsiteX10" fmla="*/ 9630 w 10000"/>
              <a:gd name="connsiteY10" fmla="*/ 537 h 10000"/>
              <a:gd name="connsiteX11" fmla="*/ 10000 w 10000"/>
              <a:gd name="connsiteY11" fmla="*/ 714 h 10000"/>
              <a:gd name="connsiteX12" fmla="*/ 10000 w 10000"/>
              <a:gd name="connsiteY12" fmla="*/ 1072 h 10000"/>
              <a:gd name="connsiteX13" fmla="*/ 10000 w 10000"/>
              <a:gd name="connsiteY13" fmla="*/ 1607 h 10000"/>
              <a:gd name="connsiteX14" fmla="*/ 9630 w 10000"/>
              <a:gd name="connsiteY14" fmla="*/ 2144 h 10000"/>
              <a:gd name="connsiteX15" fmla="*/ 8521 w 10000"/>
              <a:gd name="connsiteY15" fmla="*/ 2679 h 10000"/>
              <a:gd name="connsiteX16" fmla="*/ 8149 w 10000"/>
              <a:gd name="connsiteY16" fmla="*/ 2858 h 10000"/>
              <a:gd name="connsiteX17" fmla="*/ 6668 w 10000"/>
              <a:gd name="connsiteY17" fmla="*/ 3216 h 10000"/>
              <a:gd name="connsiteX18" fmla="*/ 6295 w 10000"/>
              <a:gd name="connsiteY18" fmla="*/ 3750 h 10000"/>
              <a:gd name="connsiteX19" fmla="*/ 6295 w 10000"/>
              <a:gd name="connsiteY19" fmla="*/ 3930 h 10000"/>
              <a:gd name="connsiteX20" fmla="*/ 6295 w 10000"/>
              <a:gd name="connsiteY20" fmla="*/ 4465 h 10000"/>
              <a:gd name="connsiteX21" fmla="*/ 7407 w 10000"/>
              <a:gd name="connsiteY21" fmla="*/ 5536 h 10000"/>
              <a:gd name="connsiteX22" fmla="*/ 8149 w 10000"/>
              <a:gd name="connsiteY22" fmla="*/ 5715 h 10000"/>
              <a:gd name="connsiteX23" fmla="*/ 8521 w 10000"/>
              <a:gd name="connsiteY23" fmla="*/ 6074 h 10000"/>
              <a:gd name="connsiteX24" fmla="*/ 8521 w 10000"/>
              <a:gd name="connsiteY24" fmla="*/ 6607 h 10000"/>
              <a:gd name="connsiteX25" fmla="*/ 8521 w 10000"/>
              <a:gd name="connsiteY25" fmla="*/ 6965 h 10000"/>
              <a:gd name="connsiteX26" fmla="*/ 8149 w 10000"/>
              <a:gd name="connsiteY26" fmla="*/ 7143 h 10000"/>
              <a:gd name="connsiteX27" fmla="*/ 7407 w 10000"/>
              <a:gd name="connsiteY27" fmla="*/ 7857 h 10000"/>
              <a:gd name="connsiteX28" fmla="*/ 6668 w 10000"/>
              <a:gd name="connsiteY28" fmla="*/ 8393 h 10000"/>
              <a:gd name="connsiteX29" fmla="*/ 4816 w 10000"/>
              <a:gd name="connsiteY29" fmla="*/ 9108 h 10000"/>
              <a:gd name="connsiteX30" fmla="*/ 2963 w 10000"/>
              <a:gd name="connsiteY30" fmla="*/ 10000 h 10000"/>
              <a:gd name="connsiteX31" fmla="*/ 0 w 10000"/>
              <a:gd name="connsiteY31" fmla="*/ 3571 h 10000"/>
              <a:gd name="connsiteX0" fmla="*/ 0 w 10000"/>
              <a:gd name="connsiteY0" fmla="*/ 3571 h 10000"/>
              <a:gd name="connsiteX1" fmla="*/ 0 w 10000"/>
              <a:gd name="connsiteY1" fmla="*/ 537 h 10000"/>
              <a:gd name="connsiteX2" fmla="*/ 370 w 10000"/>
              <a:gd name="connsiteY2" fmla="*/ 178 h 10000"/>
              <a:gd name="connsiteX3" fmla="*/ 1480 w 10000"/>
              <a:gd name="connsiteY3" fmla="*/ 0 h 10000"/>
              <a:gd name="connsiteX4" fmla="*/ 2963 w 10000"/>
              <a:gd name="connsiteY4" fmla="*/ 0 h 10000"/>
              <a:gd name="connsiteX5" fmla="*/ 4816 w 10000"/>
              <a:gd name="connsiteY5" fmla="*/ 0 h 10000"/>
              <a:gd name="connsiteX6" fmla="*/ 6668 w 10000"/>
              <a:gd name="connsiteY6" fmla="*/ 0 h 10000"/>
              <a:gd name="connsiteX7" fmla="*/ 7407 w 10000"/>
              <a:gd name="connsiteY7" fmla="*/ 0 h 10000"/>
              <a:gd name="connsiteX8" fmla="*/ 8521 w 10000"/>
              <a:gd name="connsiteY8" fmla="*/ 0 h 10000"/>
              <a:gd name="connsiteX9" fmla="*/ 8889 w 10000"/>
              <a:gd name="connsiteY9" fmla="*/ 0 h 10000"/>
              <a:gd name="connsiteX10" fmla="*/ 9630 w 10000"/>
              <a:gd name="connsiteY10" fmla="*/ 537 h 10000"/>
              <a:gd name="connsiteX11" fmla="*/ 10000 w 10000"/>
              <a:gd name="connsiteY11" fmla="*/ 714 h 10000"/>
              <a:gd name="connsiteX12" fmla="*/ 10000 w 10000"/>
              <a:gd name="connsiteY12" fmla="*/ 1072 h 10000"/>
              <a:gd name="connsiteX13" fmla="*/ 10000 w 10000"/>
              <a:gd name="connsiteY13" fmla="*/ 1607 h 10000"/>
              <a:gd name="connsiteX14" fmla="*/ 9630 w 10000"/>
              <a:gd name="connsiteY14" fmla="*/ 2144 h 10000"/>
              <a:gd name="connsiteX15" fmla="*/ 8521 w 10000"/>
              <a:gd name="connsiteY15" fmla="*/ 2679 h 10000"/>
              <a:gd name="connsiteX16" fmla="*/ 8149 w 10000"/>
              <a:gd name="connsiteY16" fmla="*/ 2858 h 10000"/>
              <a:gd name="connsiteX17" fmla="*/ 6668 w 10000"/>
              <a:gd name="connsiteY17" fmla="*/ 3216 h 10000"/>
              <a:gd name="connsiteX18" fmla="*/ 6295 w 10000"/>
              <a:gd name="connsiteY18" fmla="*/ 3750 h 10000"/>
              <a:gd name="connsiteX19" fmla="*/ 6295 w 10000"/>
              <a:gd name="connsiteY19" fmla="*/ 3930 h 10000"/>
              <a:gd name="connsiteX20" fmla="*/ 6295 w 10000"/>
              <a:gd name="connsiteY20" fmla="*/ 4465 h 10000"/>
              <a:gd name="connsiteX21" fmla="*/ 8149 w 10000"/>
              <a:gd name="connsiteY21" fmla="*/ 5715 h 10000"/>
              <a:gd name="connsiteX22" fmla="*/ 8521 w 10000"/>
              <a:gd name="connsiteY22" fmla="*/ 6074 h 10000"/>
              <a:gd name="connsiteX23" fmla="*/ 8521 w 10000"/>
              <a:gd name="connsiteY23" fmla="*/ 6607 h 10000"/>
              <a:gd name="connsiteX24" fmla="*/ 8521 w 10000"/>
              <a:gd name="connsiteY24" fmla="*/ 6965 h 10000"/>
              <a:gd name="connsiteX25" fmla="*/ 8149 w 10000"/>
              <a:gd name="connsiteY25" fmla="*/ 7143 h 10000"/>
              <a:gd name="connsiteX26" fmla="*/ 7407 w 10000"/>
              <a:gd name="connsiteY26" fmla="*/ 7857 h 10000"/>
              <a:gd name="connsiteX27" fmla="*/ 6668 w 10000"/>
              <a:gd name="connsiteY27" fmla="*/ 8393 h 10000"/>
              <a:gd name="connsiteX28" fmla="*/ 4816 w 10000"/>
              <a:gd name="connsiteY28" fmla="*/ 9108 h 10000"/>
              <a:gd name="connsiteX29" fmla="*/ 2963 w 10000"/>
              <a:gd name="connsiteY29" fmla="*/ 10000 h 10000"/>
              <a:gd name="connsiteX30" fmla="*/ 0 w 10000"/>
              <a:gd name="connsiteY30" fmla="*/ 3571 h 10000"/>
              <a:gd name="connsiteX0" fmla="*/ 0 w 10000"/>
              <a:gd name="connsiteY0" fmla="*/ 3571 h 10000"/>
              <a:gd name="connsiteX1" fmla="*/ 0 w 10000"/>
              <a:gd name="connsiteY1" fmla="*/ 537 h 10000"/>
              <a:gd name="connsiteX2" fmla="*/ 370 w 10000"/>
              <a:gd name="connsiteY2" fmla="*/ 178 h 10000"/>
              <a:gd name="connsiteX3" fmla="*/ 1480 w 10000"/>
              <a:gd name="connsiteY3" fmla="*/ 0 h 10000"/>
              <a:gd name="connsiteX4" fmla="*/ 2963 w 10000"/>
              <a:gd name="connsiteY4" fmla="*/ 0 h 10000"/>
              <a:gd name="connsiteX5" fmla="*/ 4816 w 10000"/>
              <a:gd name="connsiteY5" fmla="*/ 0 h 10000"/>
              <a:gd name="connsiteX6" fmla="*/ 6668 w 10000"/>
              <a:gd name="connsiteY6" fmla="*/ 0 h 10000"/>
              <a:gd name="connsiteX7" fmla="*/ 7407 w 10000"/>
              <a:gd name="connsiteY7" fmla="*/ 0 h 10000"/>
              <a:gd name="connsiteX8" fmla="*/ 8521 w 10000"/>
              <a:gd name="connsiteY8" fmla="*/ 0 h 10000"/>
              <a:gd name="connsiteX9" fmla="*/ 8889 w 10000"/>
              <a:gd name="connsiteY9" fmla="*/ 0 h 10000"/>
              <a:gd name="connsiteX10" fmla="*/ 9630 w 10000"/>
              <a:gd name="connsiteY10" fmla="*/ 537 h 10000"/>
              <a:gd name="connsiteX11" fmla="*/ 10000 w 10000"/>
              <a:gd name="connsiteY11" fmla="*/ 714 h 10000"/>
              <a:gd name="connsiteX12" fmla="*/ 10000 w 10000"/>
              <a:gd name="connsiteY12" fmla="*/ 1072 h 10000"/>
              <a:gd name="connsiteX13" fmla="*/ 10000 w 10000"/>
              <a:gd name="connsiteY13" fmla="*/ 1607 h 10000"/>
              <a:gd name="connsiteX14" fmla="*/ 9630 w 10000"/>
              <a:gd name="connsiteY14" fmla="*/ 2144 h 10000"/>
              <a:gd name="connsiteX15" fmla="*/ 8521 w 10000"/>
              <a:gd name="connsiteY15" fmla="*/ 2679 h 10000"/>
              <a:gd name="connsiteX16" fmla="*/ 8149 w 10000"/>
              <a:gd name="connsiteY16" fmla="*/ 2858 h 10000"/>
              <a:gd name="connsiteX17" fmla="*/ 6668 w 10000"/>
              <a:gd name="connsiteY17" fmla="*/ 3216 h 10000"/>
              <a:gd name="connsiteX18" fmla="*/ 6295 w 10000"/>
              <a:gd name="connsiteY18" fmla="*/ 3750 h 10000"/>
              <a:gd name="connsiteX19" fmla="*/ 6295 w 10000"/>
              <a:gd name="connsiteY19" fmla="*/ 3930 h 10000"/>
              <a:gd name="connsiteX20" fmla="*/ 6295 w 10000"/>
              <a:gd name="connsiteY20" fmla="*/ 4465 h 10000"/>
              <a:gd name="connsiteX21" fmla="*/ 8149 w 10000"/>
              <a:gd name="connsiteY21" fmla="*/ 5715 h 10000"/>
              <a:gd name="connsiteX22" fmla="*/ 8521 w 10000"/>
              <a:gd name="connsiteY22" fmla="*/ 6074 h 10000"/>
              <a:gd name="connsiteX23" fmla="*/ 8521 w 10000"/>
              <a:gd name="connsiteY23" fmla="*/ 6965 h 10000"/>
              <a:gd name="connsiteX24" fmla="*/ 8149 w 10000"/>
              <a:gd name="connsiteY24" fmla="*/ 7143 h 10000"/>
              <a:gd name="connsiteX25" fmla="*/ 7407 w 10000"/>
              <a:gd name="connsiteY25" fmla="*/ 7857 h 10000"/>
              <a:gd name="connsiteX26" fmla="*/ 6668 w 10000"/>
              <a:gd name="connsiteY26" fmla="*/ 8393 h 10000"/>
              <a:gd name="connsiteX27" fmla="*/ 4816 w 10000"/>
              <a:gd name="connsiteY27" fmla="*/ 9108 h 10000"/>
              <a:gd name="connsiteX28" fmla="*/ 2963 w 10000"/>
              <a:gd name="connsiteY28" fmla="*/ 10000 h 10000"/>
              <a:gd name="connsiteX29" fmla="*/ 0 w 10000"/>
              <a:gd name="connsiteY29" fmla="*/ 3571 h 10000"/>
              <a:gd name="connsiteX0" fmla="*/ 0 w 10000"/>
              <a:gd name="connsiteY0" fmla="*/ 3571 h 10000"/>
              <a:gd name="connsiteX1" fmla="*/ 0 w 10000"/>
              <a:gd name="connsiteY1" fmla="*/ 537 h 10000"/>
              <a:gd name="connsiteX2" fmla="*/ 370 w 10000"/>
              <a:gd name="connsiteY2" fmla="*/ 178 h 10000"/>
              <a:gd name="connsiteX3" fmla="*/ 1480 w 10000"/>
              <a:gd name="connsiteY3" fmla="*/ 0 h 10000"/>
              <a:gd name="connsiteX4" fmla="*/ 2963 w 10000"/>
              <a:gd name="connsiteY4" fmla="*/ 0 h 10000"/>
              <a:gd name="connsiteX5" fmla="*/ 4816 w 10000"/>
              <a:gd name="connsiteY5" fmla="*/ 0 h 10000"/>
              <a:gd name="connsiteX6" fmla="*/ 6668 w 10000"/>
              <a:gd name="connsiteY6" fmla="*/ 0 h 10000"/>
              <a:gd name="connsiteX7" fmla="*/ 7407 w 10000"/>
              <a:gd name="connsiteY7" fmla="*/ 0 h 10000"/>
              <a:gd name="connsiteX8" fmla="*/ 8521 w 10000"/>
              <a:gd name="connsiteY8" fmla="*/ 0 h 10000"/>
              <a:gd name="connsiteX9" fmla="*/ 8889 w 10000"/>
              <a:gd name="connsiteY9" fmla="*/ 0 h 10000"/>
              <a:gd name="connsiteX10" fmla="*/ 9630 w 10000"/>
              <a:gd name="connsiteY10" fmla="*/ 537 h 10000"/>
              <a:gd name="connsiteX11" fmla="*/ 10000 w 10000"/>
              <a:gd name="connsiteY11" fmla="*/ 714 h 10000"/>
              <a:gd name="connsiteX12" fmla="*/ 10000 w 10000"/>
              <a:gd name="connsiteY12" fmla="*/ 1072 h 10000"/>
              <a:gd name="connsiteX13" fmla="*/ 10000 w 10000"/>
              <a:gd name="connsiteY13" fmla="*/ 1607 h 10000"/>
              <a:gd name="connsiteX14" fmla="*/ 9630 w 10000"/>
              <a:gd name="connsiteY14" fmla="*/ 2144 h 10000"/>
              <a:gd name="connsiteX15" fmla="*/ 8521 w 10000"/>
              <a:gd name="connsiteY15" fmla="*/ 2679 h 10000"/>
              <a:gd name="connsiteX16" fmla="*/ 8149 w 10000"/>
              <a:gd name="connsiteY16" fmla="*/ 2858 h 10000"/>
              <a:gd name="connsiteX17" fmla="*/ 6668 w 10000"/>
              <a:gd name="connsiteY17" fmla="*/ 3216 h 10000"/>
              <a:gd name="connsiteX18" fmla="*/ 6295 w 10000"/>
              <a:gd name="connsiteY18" fmla="*/ 3750 h 10000"/>
              <a:gd name="connsiteX19" fmla="*/ 6295 w 10000"/>
              <a:gd name="connsiteY19" fmla="*/ 3930 h 10000"/>
              <a:gd name="connsiteX20" fmla="*/ 6295 w 10000"/>
              <a:gd name="connsiteY20" fmla="*/ 4465 h 10000"/>
              <a:gd name="connsiteX21" fmla="*/ 8149 w 10000"/>
              <a:gd name="connsiteY21" fmla="*/ 5715 h 10000"/>
              <a:gd name="connsiteX22" fmla="*/ 8521 w 10000"/>
              <a:gd name="connsiteY22" fmla="*/ 6074 h 10000"/>
              <a:gd name="connsiteX23" fmla="*/ 8149 w 10000"/>
              <a:gd name="connsiteY23" fmla="*/ 7143 h 10000"/>
              <a:gd name="connsiteX24" fmla="*/ 7407 w 10000"/>
              <a:gd name="connsiteY24" fmla="*/ 7857 h 10000"/>
              <a:gd name="connsiteX25" fmla="*/ 6668 w 10000"/>
              <a:gd name="connsiteY25" fmla="*/ 8393 h 10000"/>
              <a:gd name="connsiteX26" fmla="*/ 4816 w 10000"/>
              <a:gd name="connsiteY26" fmla="*/ 9108 h 10000"/>
              <a:gd name="connsiteX27" fmla="*/ 2963 w 10000"/>
              <a:gd name="connsiteY27" fmla="*/ 10000 h 10000"/>
              <a:gd name="connsiteX28" fmla="*/ 0 w 10000"/>
              <a:gd name="connsiteY28" fmla="*/ 3571 h 10000"/>
              <a:gd name="connsiteX0" fmla="*/ 0 w 10000"/>
              <a:gd name="connsiteY0" fmla="*/ 3571 h 10000"/>
              <a:gd name="connsiteX1" fmla="*/ 0 w 10000"/>
              <a:gd name="connsiteY1" fmla="*/ 537 h 10000"/>
              <a:gd name="connsiteX2" fmla="*/ 370 w 10000"/>
              <a:gd name="connsiteY2" fmla="*/ 178 h 10000"/>
              <a:gd name="connsiteX3" fmla="*/ 1480 w 10000"/>
              <a:gd name="connsiteY3" fmla="*/ 0 h 10000"/>
              <a:gd name="connsiteX4" fmla="*/ 2963 w 10000"/>
              <a:gd name="connsiteY4" fmla="*/ 0 h 10000"/>
              <a:gd name="connsiteX5" fmla="*/ 4816 w 10000"/>
              <a:gd name="connsiteY5" fmla="*/ 0 h 10000"/>
              <a:gd name="connsiteX6" fmla="*/ 6668 w 10000"/>
              <a:gd name="connsiteY6" fmla="*/ 0 h 10000"/>
              <a:gd name="connsiteX7" fmla="*/ 7407 w 10000"/>
              <a:gd name="connsiteY7" fmla="*/ 0 h 10000"/>
              <a:gd name="connsiteX8" fmla="*/ 8521 w 10000"/>
              <a:gd name="connsiteY8" fmla="*/ 0 h 10000"/>
              <a:gd name="connsiteX9" fmla="*/ 8889 w 10000"/>
              <a:gd name="connsiteY9" fmla="*/ 0 h 10000"/>
              <a:gd name="connsiteX10" fmla="*/ 9630 w 10000"/>
              <a:gd name="connsiteY10" fmla="*/ 537 h 10000"/>
              <a:gd name="connsiteX11" fmla="*/ 10000 w 10000"/>
              <a:gd name="connsiteY11" fmla="*/ 714 h 10000"/>
              <a:gd name="connsiteX12" fmla="*/ 10000 w 10000"/>
              <a:gd name="connsiteY12" fmla="*/ 1072 h 10000"/>
              <a:gd name="connsiteX13" fmla="*/ 10000 w 10000"/>
              <a:gd name="connsiteY13" fmla="*/ 1607 h 10000"/>
              <a:gd name="connsiteX14" fmla="*/ 9630 w 10000"/>
              <a:gd name="connsiteY14" fmla="*/ 2144 h 10000"/>
              <a:gd name="connsiteX15" fmla="*/ 8521 w 10000"/>
              <a:gd name="connsiteY15" fmla="*/ 2679 h 10000"/>
              <a:gd name="connsiteX16" fmla="*/ 8149 w 10000"/>
              <a:gd name="connsiteY16" fmla="*/ 2858 h 10000"/>
              <a:gd name="connsiteX17" fmla="*/ 6668 w 10000"/>
              <a:gd name="connsiteY17" fmla="*/ 3216 h 10000"/>
              <a:gd name="connsiteX18" fmla="*/ 6295 w 10000"/>
              <a:gd name="connsiteY18" fmla="*/ 3750 h 10000"/>
              <a:gd name="connsiteX19" fmla="*/ 6295 w 10000"/>
              <a:gd name="connsiteY19" fmla="*/ 3930 h 10000"/>
              <a:gd name="connsiteX20" fmla="*/ 6295 w 10000"/>
              <a:gd name="connsiteY20" fmla="*/ 4465 h 10000"/>
              <a:gd name="connsiteX21" fmla="*/ 8149 w 10000"/>
              <a:gd name="connsiteY21" fmla="*/ 5715 h 10000"/>
              <a:gd name="connsiteX22" fmla="*/ 8521 w 10000"/>
              <a:gd name="connsiteY22" fmla="*/ 6074 h 10000"/>
              <a:gd name="connsiteX23" fmla="*/ 7407 w 10000"/>
              <a:gd name="connsiteY23" fmla="*/ 7857 h 10000"/>
              <a:gd name="connsiteX24" fmla="*/ 6668 w 10000"/>
              <a:gd name="connsiteY24" fmla="*/ 8393 h 10000"/>
              <a:gd name="connsiteX25" fmla="*/ 4816 w 10000"/>
              <a:gd name="connsiteY25" fmla="*/ 9108 h 10000"/>
              <a:gd name="connsiteX26" fmla="*/ 2963 w 10000"/>
              <a:gd name="connsiteY26" fmla="*/ 10000 h 10000"/>
              <a:gd name="connsiteX27" fmla="*/ 0 w 10000"/>
              <a:gd name="connsiteY27" fmla="*/ 3571 h 10000"/>
              <a:gd name="connsiteX0" fmla="*/ 0 w 10000"/>
              <a:gd name="connsiteY0" fmla="*/ 3571 h 10000"/>
              <a:gd name="connsiteX1" fmla="*/ 0 w 10000"/>
              <a:gd name="connsiteY1" fmla="*/ 537 h 10000"/>
              <a:gd name="connsiteX2" fmla="*/ 370 w 10000"/>
              <a:gd name="connsiteY2" fmla="*/ 178 h 10000"/>
              <a:gd name="connsiteX3" fmla="*/ 1480 w 10000"/>
              <a:gd name="connsiteY3" fmla="*/ 0 h 10000"/>
              <a:gd name="connsiteX4" fmla="*/ 2963 w 10000"/>
              <a:gd name="connsiteY4" fmla="*/ 0 h 10000"/>
              <a:gd name="connsiteX5" fmla="*/ 4816 w 10000"/>
              <a:gd name="connsiteY5" fmla="*/ 0 h 10000"/>
              <a:gd name="connsiteX6" fmla="*/ 6668 w 10000"/>
              <a:gd name="connsiteY6" fmla="*/ 0 h 10000"/>
              <a:gd name="connsiteX7" fmla="*/ 7407 w 10000"/>
              <a:gd name="connsiteY7" fmla="*/ 0 h 10000"/>
              <a:gd name="connsiteX8" fmla="*/ 8521 w 10000"/>
              <a:gd name="connsiteY8" fmla="*/ 0 h 10000"/>
              <a:gd name="connsiteX9" fmla="*/ 8889 w 10000"/>
              <a:gd name="connsiteY9" fmla="*/ 0 h 10000"/>
              <a:gd name="connsiteX10" fmla="*/ 9630 w 10000"/>
              <a:gd name="connsiteY10" fmla="*/ 537 h 10000"/>
              <a:gd name="connsiteX11" fmla="*/ 10000 w 10000"/>
              <a:gd name="connsiteY11" fmla="*/ 714 h 10000"/>
              <a:gd name="connsiteX12" fmla="*/ 10000 w 10000"/>
              <a:gd name="connsiteY12" fmla="*/ 1072 h 10000"/>
              <a:gd name="connsiteX13" fmla="*/ 10000 w 10000"/>
              <a:gd name="connsiteY13" fmla="*/ 1607 h 10000"/>
              <a:gd name="connsiteX14" fmla="*/ 9630 w 10000"/>
              <a:gd name="connsiteY14" fmla="*/ 2144 h 10000"/>
              <a:gd name="connsiteX15" fmla="*/ 8521 w 10000"/>
              <a:gd name="connsiteY15" fmla="*/ 2679 h 10000"/>
              <a:gd name="connsiteX16" fmla="*/ 8149 w 10000"/>
              <a:gd name="connsiteY16" fmla="*/ 2858 h 10000"/>
              <a:gd name="connsiteX17" fmla="*/ 6668 w 10000"/>
              <a:gd name="connsiteY17" fmla="*/ 3216 h 10000"/>
              <a:gd name="connsiteX18" fmla="*/ 6295 w 10000"/>
              <a:gd name="connsiteY18" fmla="*/ 3750 h 10000"/>
              <a:gd name="connsiteX19" fmla="*/ 6295 w 10000"/>
              <a:gd name="connsiteY19" fmla="*/ 3930 h 10000"/>
              <a:gd name="connsiteX20" fmla="*/ 6295 w 10000"/>
              <a:gd name="connsiteY20" fmla="*/ 4465 h 10000"/>
              <a:gd name="connsiteX21" fmla="*/ 8149 w 10000"/>
              <a:gd name="connsiteY21" fmla="*/ 5715 h 10000"/>
              <a:gd name="connsiteX22" fmla="*/ 8521 w 10000"/>
              <a:gd name="connsiteY22" fmla="*/ 6074 h 10000"/>
              <a:gd name="connsiteX23" fmla="*/ 6668 w 10000"/>
              <a:gd name="connsiteY23" fmla="*/ 8393 h 10000"/>
              <a:gd name="connsiteX24" fmla="*/ 4816 w 10000"/>
              <a:gd name="connsiteY24" fmla="*/ 9108 h 10000"/>
              <a:gd name="connsiteX25" fmla="*/ 2963 w 10000"/>
              <a:gd name="connsiteY25" fmla="*/ 10000 h 10000"/>
              <a:gd name="connsiteX26" fmla="*/ 0 w 10000"/>
              <a:gd name="connsiteY26" fmla="*/ 3571 h 10000"/>
              <a:gd name="connsiteX0" fmla="*/ 0 w 10000"/>
              <a:gd name="connsiteY0" fmla="*/ 3571 h 10000"/>
              <a:gd name="connsiteX1" fmla="*/ 0 w 10000"/>
              <a:gd name="connsiteY1" fmla="*/ 537 h 10000"/>
              <a:gd name="connsiteX2" fmla="*/ 370 w 10000"/>
              <a:gd name="connsiteY2" fmla="*/ 178 h 10000"/>
              <a:gd name="connsiteX3" fmla="*/ 1480 w 10000"/>
              <a:gd name="connsiteY3" fmla="*/ 0 h 10000"/>
              <a:gd name="connsiteX4" fmla="*/ 2963 w 10000"/>
              <a:gd name="connsiteY4" fmla="*/ 0 h 10000"/>
              <a:gd name="connsiteX5" fmla="*/ 4816 w 10000"/>
              <a:gd name="connsiteY5" fmla="*/ 0 h 10000"/>
              <a:gd name="connsiteX6" fmla="*/ 6668 w 10000"/>
              <a:gd name="connsiteY6" fmla="*/ 0 h 10000"/>
              <a:gd name="connsiteX7" fmla="*/ 7407 w 10000"/>
              <a:gd name="connsiteY7" fmla="*/ 0 h 10000"/>
              <a:gd name="connsiteX8" fmla="*/ 8521 w 10000"/>
              <a:gd name="connsiteY8" fmla="*/ 0 h 10000"/>
              <a:gd name="connsiteX9" fmla="*/ 8889 w 10000"/>
              <a:gd name="connsiteY9" fmla="*/ 0 h 10000"/>
              <a:gd name="connsiteX10" fmla="*/ 9630 w 10000"/>
              <a:gd name="connsiteY10" fmla="*/ 537 h 10000"/>
              <a:gd name="connsiteX11" fmla="*/ 10000 w 10000"/>
              <a:gd name="connsiteY11" fmla="*/ 714 h 10000"/>
              <a:gd name="connsiteX12" fmla="*/ 10000 w 10000"/>
              <a:gd name="connsiteY12" fmla="*/ 1072 h 10000"/>
              <a:gd name="connsiteX13" fmla="*/ 10000 w 10000"/>
              <a:gd name="connsiteY13" fmla="*/ 1607 h 10000"/>
              <a:gd name="connsiteX14" fmla="*/ 9630 w 10000"/>
              <a:gd name="connsiteY14" fmla="*/ 2144 h 10000"/>
              <a:gd name="connsiteX15" fmla="*/ 8521 w 10000"/>
              <a:gd name="connsiteY15" fmla="*/ 2679 h 10000"/>
              <a:gd name="connsiteX16" fmla="*/ 8149 w 10000"/>
              <a:gd name="connsiteY16" fmla="*/ 2858 h 10000"/>
              <a:gd name="connsiteX17" fmla="*/ 6668 w 10000"/>
              <a:gd name="connsiteY17" fmla="*/ 3216 h 10000"/>
              <a:gd name="connsiteX18" fmla="*/ 6295 w 10000"/>
              <a:gd name="connsiteY18" fmla="*/ 3750 h 10000"/>
              <a:gd name="connsiteX19" fmla="*/ 6295 w 10000"/>
              <a:gd name="connsiteY19" fmla="*/ 3930 h 10000"/>
              <a:gd name="connsiteX20" fmla="*/ 6295 w 10000"/>
              <a:gd name="connsiteY20" fmla="*/ 4465 h 10000"/>
              <a:gd name="connsiteX21" fmla="*/ 8149 w 10000"/>
              <a:gd name="connsiteY21" fmla="*/ 5715 h 10000"/>
              <a:gd name="connsiteX22" fmla="*/ 8521 w 10000"/>
              <a:gd name="connsiteY22" fmla="*/ 6074 h 10000"/>
              <a:gd name="connsiteX23" fmla="*/ 4816 w 10000"/>
              <a:gd name="connsiteY23" fmla="*/ 9108 h 10000"/>
              <a:gd name="connsiteX24" fmla="*/ 2963 w 10000"/>
              <a:gd name="connsiteY24" fmla="*/ 10000 h 10000"/>
              <a:gd name="connsiteX25" fmla="*/ 0 w 10000"/>
              <a:gd name="connsiteY25" fmla="*/ 3571 h 10000"/>
              <a:gd name="connsiteX0" fmla="*/ 0 w 10000"/>
              <a:gd name="connsiteY0" fmla="*/ 3571 h 10000"/>
              <a:gd name="connsiteX1" fmla="*/ 0 w 10000"/>
              <a:gd name="connsiteY1" fmla="*/ 537 h 10000"/>
              <a:gd name="connsiteX2" fmla="*/ 370 w 10000"/>
              <a:gd name="connsiteY2" fmla="*/ 178 h 10000"/>
              <a:gd name="connsiteX3" fmla="*/ 1480 w 10000"/>
              <a:gd name="connsiteY3" fmla="*/ 0 h 10000"/>
              <a:gd name="connsiteX4" fmla="*/ 2963 w 10000"/>
              <a:gd name="connsiteY4" fmla="*/ 0 h 10000"/>
              <a:gd name="connsiteX5" fmla="*/ 4816 w 10000"/>
              <a:gd name="connsiteY5" fmla="*/ 0 h 10000"/>
              <a:gd name="connsiteX6" fmla="*/ 6668 w 10000"/>
              <a:gd name="connsiteY6" fmla="*/ 0 h 10000"/>
              <a:gd name="connsiteX7" fmla="*/ 7407 w 10000"/>
              <a:gd name="connsiteY7" fmla="*/ 0 h 10000"/>
              <a:gd name="connsiteX8" fmla="*/ 8521 w 10000"/>
              <a:gd name="connsiteY8" fmla="*/ 0 h 10000"/>
              <a:gd name="connsiteX9" fmla="*/ 8889 w 10000"/>
              <a:gd name="connsiteY9" fmla="*/ 0 h 10000"/>
              <a:gd name="connsiteX10" fmla="*/ 9630 w 10000"/>
              <a:gd name="connsiteY10" fmla="*/ 537 h 10000"/>
              <a:gd name="connsiteX11" fmla="*/ 10000 w 10000"/>
              <a:gd name="connsiteY11" fmla="*/ 714 h 10000"/>
              <a:gd name="connsiteX12" fmla="*/ 10000 w 10000"/>
              <a:gd name="connsiteY12" fmla="*/ 1072 h 10000"/>
              <a:gd name="connsiteX13" fmla="*/ 10000 w 10000"/>
              <a:gd name="connsiteY13" fmla="*/ 1607 h 10000"/>
              <a:gd name="connsiteX14" fmla="*/ 9630 w 10000"/>
              <a:gd name="connsiteY14" fmla="*/ 2144 h 10000"/>
              <a:gd name="connsiteX15" fmla="*/ 8521 w 10000"/>
              <a:gd name="connsiteY15" fmla="*/ 2679 h 10000"/>
              <a:gd name="connsiteX16" fmla="*/ 8149 w 10000"/>
              <a:gd name="connsiteY16" fmla="*/ 2858 h 10000"/>
              <a:gd name="connsiteX17" fmla="*/ 6668 w 10000"/>
              <a:gd name="connsiteY17" fmla="*/ 3216 h 10000"/>
              <a:gd name="connsiteX18" fmla="*/ 6295 w 10000"/>
              <a:gd name="connsiteY18" fmla="*/ 3750 h 10000"/>
              <a:gd name="connsiteX19" fmla="*/ 6295 w 10000"/>
              <a:gd name="connsiteY19" fmla="*/ 3930 h 10000"/>
              <a:gd name="connsiteX20" fmla="*/ 6295 w 10000"/>
              <a:gd name="connsiteY20" fmla="*/ 4465 h 10000"/>
              <a:gd name="connsiteX21" fmla="*/ 8149 w 10000"/>
              <a:gd name="connsiteY21" fmla="*/ 5715 h 10000"/>
              <a:gd name="connsiteX22" fmla="*/ 4816 w 10000"/>
              <a:gd name="connsiteY22" fmla="*/ 9108 h 10000"/>
              <a:gd name="connsiteX23" fmla="*/ 2963 w 10000"/>
              <a:gd name="connsiteY23" fmla="*/ 10000 h 10000"/>
              <a:gd name="connsiteX24" fmla="*/ 0 w 10000"/>
              <a:gd name="connsiteY24" fmla="*/ 3571 h 10000"/>
              <a:gd name="connsiteX0" fmla="*/ 0 w 10000"/>
              <a:gd name="connsiteY0" fmla="*/ 3571 h 10000"/>
              <a:gd name="connsiteX1" fmla="*/ 0 w 10000"/>
              <a:gd name="connsiteY1" fmla="*/ 537 h 10000"/>
              <a:gd name="connsiteX2" fmla="*/ 370 w 10000"/>
              <a:gd name="connsiteY2" fmla="*/ 178 h 10000"/>
              <a:gd name="connsiteX3" fmla="*/ 1480 w 10000"/>
              <a:gd name="connsiteY3" fmla="*/ 0 h 10000"/>
              <a:gd name="connsiteX4" fmla="*/ 2963 w 10000"/>
              <a:gd name="connsiteY4" fmla="*/ 0 h 10000"/>
              <a:gd name="connsiteX5" fmla="*/ 4816 w 10000"/>
              <a:gd name="connsiteY5" fmla="*/ 0 h 10000"/>
              <a:gd name="connsiteX6" fmla="*/ 6668 w 10000"/>
              <a:gd name="connsiteY6" fmla="*/ 0 h 10000"/>
              <a:gd name="connsiteX7" fmla="*/ 7407 w 10000"/>
              <a:gd name="connsiteY7" fmla="*/ 0 h 10000"/>
              <a:gd name="connsiteX8" fmla="*/ 8521 w 10000"/>
              <a:gd name="connsiteY8" fmla="*/ 0 h 10000"/>
              <a:gd name="connsiteX9" fmla="*/ 8889 w 10000"/>
              <a:gd name="connsiteY9" fmla="*/ 0 h 10000"/>
              <a:gd name="connsiteX10" fmla="*/ 9630 w 10000"/>
              <a:gd name="connsiteY10" fmla="*/ 537 h 10000"/>
              <a:gd name="connsiteX11" fmla="*/ 10000 w 10000"/>
              <a:gd name="connsiteY11" fmla="*/ 714 h 10000"/>
              <a:gd name="connsiteX12" fmla="*/ 10000 w 10000"/>
              <a:gd name="connsiteY12" fmla="*/ 1072 h 10000"/>
              <a:gd name="connsiteX13" fmla="*/ 10000 w 10000"/>
              <a:gd name="connsiteY13" fmla="*/ 1607 h 10000"/>
              <a:gd name="connsiteX14" fmla="*/ 9630 w 10000"/>
              <a:gd name="connsiteY14" fmla="*/ 2144 h 10000"/>
              <a:gd name="connsiteX15" fmla="*/ 8521 w 10000"/>
              <a:gd name="connsiteY15" fmla="*/ 2679 h 10000"/>
              <a:gd name="connsiteX16" fmla="*/ 8149 w 10000"/>
              <a:gd name="connsiteY16" fmla="*/ 2858 h 10000"/>
              <a:gd name="connsiteX17" fmla="*/ 6668 w 10000"/>
              <a:gd name="connsiteY17" fmla="*/ 3216 h 10000"/>
              <a:gd name="connsiteX18" fmla="*/ 6295 w 10000"/>
              <a:gd name="connsiteY18" fmla="*/ 3750 h 10000"/>
              <a:gd name="connsiteX19" fmla="*/ 6295 w 10000"/>
              <a:gd name="connsiteY19" fmla="*/ 3930 h 10000"/>
              <a:gd name="connsiteX20" fmla="*/ 6295 w 10000"/>
              <a:gd name="connsiteY20" fmla="*/ 4465 h 10000"/>
              <a:gd name="connsiteX21" fmla="*/ 4816 w 10000"/>
              <a:gd name="connsiteY21" fmla="*/ 9108 h 10000"/>
              <a:gd name="connsiteX22" fmla="*/ 2963 w 10000"/>
              <a:gd name="connsiteY22" fmla="*/ 10000 h 10000"/>
              <a:gd name="connsiteX23" fmla="*/ 0 w 10000"/>
              <a:gd name="connsiteY23" fmla="*/ 3571 h 10000"/>
              <a:gd name="connsiteX0" fmla="*/ 0 w 10000"/>
              <a:gd name="connsiteY0" fmla="*/ 3571 h 10000"/>
              <a:gd name="connsiteX1" fmla="*/ 0 w 10000"/>
              <a:gd name="connsiteY1" fmla="*/ 537 h 10000"/>
              <a:gd name="connsiteX2" fmla="*/ 370 w 10000"/>
              <a:gd name="connsiteY2" fmla="*/ 178 h 10000"/>
              <a:gd name="connsiteX3" fmla="*/ 1480 w 10000"/>
              <a:gd name="connsiteY3" fmla="*/ 0 h 10000"/>
              <a:gd name="connsiteX4" fmla="*/ 2963 w 10000"/>
              <a:gd name="connsiteY4" fmla="*/ 0 h 10000"/>
              <a:gd name="connsiteX5" fmla="*/ 4816 w 10000"/>
              <a:gd name="connsiteY5" fmla="*/ 0 h 10000"/>
              <a:gd name="connsiteX6" fmla="*/ 6668 w 10000"/>
              <a:gd name="connsiteY6" fmla="*/ 0 h 10000"/>
              <a:gd name="connsiteX7" fmla="*/ 7407 w 10000"/>
              <a:gd name="connsiteY7" fmla="*/ 0 h 10000"/>
              <a:gd name="connsiteX8" fmla="*/ 8521 w 10000"/>
              <a:gd name="connsiteY8" fmla="*/ 0 h 10000"/>
              <a:gd name="connsiteX9" fmla="*/ 8889 w 10000"/>
              <a:gd name="connsiteY9" fmla="*/ 0 h 10000"/>
              <a:gd name="connsiteX10" fmla="*/ 9630 w 10000"/>
              <a:gd name="connsiteY10" fmla="*/ 537 h 10000"/>
              <a:gd name="connsiteX11" fmla="*/ 10000 w 10000"/>
              <a:gd name="connsiteY11" fmla="*/ 714 h 10000"/>
              <a:gd name="connsiteX12" fmla="*/ 10000 w 10000"/>
              <a:gd name="connsiteY12" fmla="*/ 1072 h 10000"/>
              <a:gd name="connsiteX13" fmla="*/ 10000 w 10000"/>
              <a:gd name="connsiteY13" fmla="*/ 1607 h 10000"/>
              <a:gd name="connsiteX14" fmla="*/ 9630 w 10000"/>
              <a:gd name="connsiteY14" fmla="*/ 2144 h 10000"/>
              <a:gd name="connsiteX15" fmla="*/ 8521 w 10000"/>
              <a:gd name="connsiteY15" fmla="*/ 2679 h 10000"/>
              <a:gd name="connsiteX16" fmla="*/ 8149 w 10000"/>
              <a:gd name="connsiteY16" fmla="*/ 2858 h 10000"/>
              <a:gd name="connsiteX17" fmla="*/ 6668 w 10000"/>
              <a:gd name="connsiteY17" fmla="*/ 3216 h 10000"/>
              <a:gd name="connsiteX18" fmla="*/ 6295 w 10000"/>
              <a:gd name="connsiteY18" fmla="*/ 3750 h 10000"/>
              <a:gd name="connsiteX19" fmla="*/ 6295 w 10000"/>
              <a:gd name="connsiteY19" fmla="*/ 3930 h 10000"/>
              <a:gd name="connsiteX20" fmla="*/ 6295 w 10000"/>
              <a:gd name="connsiteY20" fmla="*/ 4465 h 10000"/>
              <a:gd name="connsiteX21" fmla="*/ 2963 w 10000"/>
              <a:gd name="connsiteY21" fmla="*/ 10000 h 10000"/>
              <a:gd name="connsiteX22" fmla="*/ 0 w 10000"/>
              <a:gd name="connsiteY22" fmla="*/ 3571 h 10000"/>
              <a:gd name="connsiteX0" fmla="*/ 0 w 10000"/>
              <a:gd name="connsiteY0" fmla="*/ 3571 h 4465"/>
              <a:gd name="connsiteX1" fmla="*/ 0 w 10000"/>
              <a:gd name="connsiteY1" fmla="*/ 537 h 4465"/>
              <a:gd name="connsiteX2" fmla="*/ 370 w 10000"/>
              <a:gd name="connsiteY2" fmla="*/ 178 h 4465"/>
              <a:gd name="connsiteX3" fmla="*/ 1480 w 10000"/>
              <a:gd name="connsiteY3" fmla="*/ 0 h 4465"/>
              <a:gd name="connsiteX4" fmla="*/ 2963 w 10000"/>
              <a:gd name="connsiteY4" fmla="*/ 0 h 4465"/>
              <a:gd name="connsiteX5" fmla="*/ 4816 w 10000"/>
              <a:gd name="connsiteY5" fmla="*/ 0 h 4465"/>
              <a:gd name="connsiteX6" fmla="*/ 6668 w 10000"/>
              <a:gd name="connsiteY6" fmla="*/ 0 h 4465"/>
              <a:gd name="connsiteX7" fmla="*/ 7407 w 10000"/>
              <a:gd name="connsiteY7" fmla="*/ 0 h 4465"/>
              <a:gd name="connsiteX8" fmla="*/ 8521 w 10000"/>
              <a:gd name="connsiteY8" fmla="*/ 0 h 4465"/>
              <a:gd name="connsiteX9" fmla="*/ 8889 w 10000"/>
              <a:gd name="connsiteY9" fmla="*/ 0 h 4465"/>
              <a:gd name="connsiteX10" fmla="*/ 9630 w 10000"/>
              <a:gd name="connsiteY10" fmla="*/ 537 h 4465"/>
              <a:gd name="connsiteX11" fmla="*/ 10000 w 10000"/>
              <a:gd name="connsiteY11" fmla="*/ 714 h 4465"/>
              <a:gd name="connsiteX12" fmla="*/ 10000 w 10000"/>
              <a:gd name="connsiteY12" fmla="*/ 1072 h 4465"/>
              <a:gd name="connsiteX13" fmla="*/ 10000 w 10000"/>
              <a:gd name="connsiteY13" fmla="*/ 1607 h 4465"/>
              <a:gd name="connsiteX14" fmla="*/ 9630 w 10000"/>
              <a:gd name="connsiteY14" fmla="*/ 2144 h 4465"/>
              <a:gd name="connsiteX15" fmla="*/ 8521 w 10000"/>
              <a:gd name="connsiteY15" fmla="*/ 2679 h 4465"/>
              <a:gd name="connsiteX16" fmla="*/ 8149 w 10000"/>
              <a:gd name="connsiteY16" fmla="*/ 2858 h 4465"/>
              <a:gd name="connsiteX17" fmla="*/ 6668 w 10000"/>
              <a:gd name="connsiteY17" fmla="*/ 3216 h 4465"/>
              <a:gd name="connsiteX18" fmla="*/ 6295 w 10000"/>
              <a:gd name="connsiteY18" fmla="*/ 3750 h 4465"/>
              <a:gd name="connsiteX19" fmla="*/ 6295 w 10000"/>
              <a:gd name="connsiteY19" fmla="*/ 3930 h 4465"/>
              <a:gd name="connsiteX20" fmla="*/ 6295 w 10000"/>
              <a:gd name="connsiteY20" fmla="*/ 4465 h 4465"/>
              <a:gd name="connsiteX21" fmla="*/ 0 w 10000"/>
              <a:gd name="connsiteY21" fmla="*/ 3571 h 4465"/>
              <a:gd name="connsiteX0" fmla="*/ 0 w 10000"/>
              <a:gd name="connsiteY0" fmla="*/ 7998 h 8802"/>
              <a:gd name="connsiteX1" fmla="*/ 0 w 10000"/>
              <a:gd name="connsiteY1" fmla="*/ 1203 h 8802"/>
              <a:gd name="connsiteX2" fmla="*/ 370 w 10000"/>
              <a:gd name="connsiteY2" fmla="*/ 399 h 8802"/>
              <a:gd name="connsiteX3" fmla="*/ 1480 w 10000"/>
              <a:gd name="connsiteY3" fmla="*/ 0 h 8802"/>
              <a:gd name="connsiteX4" fmla="*/ 2963 w 10000"/>
              <a:gd name="connsiteY4" fmla="*/ 0 h 8802"/>
              <a:gd name="connsiteX5" fmla="*/ 4816 w 10000"/>
              <a:gd name="connsiteY5" fmla="*/ 0 h 8802"/>
              <a:gd name="connsiteX6" fmla="*/ 6668 w 10000"/>
              <a:gd name="connsiteY6" fmla="*/ 0 h 8802"/>
              <a:gd name="connsiteX7" fmla="*/ 7407 w 10000"/>
              <a:gd name="connsiteY7" fmla="*/ 0 h 8802"/>
              <a:gd name="connsiteX8" fmla="*/ 8521 w 10000"/>
              <a:gd name="connsiteY8" fmla="*/ 0 h 8802"/>
              <a:gd name="connsiteX9" fmla="*/ 8889 w 10000"/>
              <a:gd name="connsiteY9" fmla="*/ 0 h 8802"/>
              <a:gd name="connsiteX10" fmla="*/ 9630 w 10000"/>
              <a:gd name="connsiteY10" fmla="*/ 1203 h 8802"/>
              <a:gd name="connsiteX11" fmla="*/ 10000 w 10000"/>
              <a:gd name="connsiteY11" fmla="*/ 1599 h 8802"/>
              <a:gd name="connsiteX12" fmla="*/ 10000 w 10000"/>
              <a:gd name="connsiteY12" fmla="*/ 2401 h 8802"/>
              <a:gd name="connsiteX13" fmla="*/ 10000 w 10000"/>
              <a:gd name="connsiteY13" fmla="*/ 3599 h 8802"/>
              <a:gd name="connsiteX14" fmla="*/ 9630 w 10000"/>
              <a:gd name="connsiteY14" fmla="*/ 4802 h 8802"/>
              <a:gd name="connsiteX15" fmla="*/ 8521 w 10000"/>
              <a:gd name="connsiteY15" fmla="*/ 6000 h 8802"/>
              <a:gd name="connsiteX16" fmla="*/ 8149 w 10000"/>
              <a:gd name="connsiteY16" fmla="*/ 6401 h 8802"/>
              <a:gd name="connsiteX17" fmla="*/ 6668 w 10000"/>
              <a:gd name="connsiteY17" fmla="*/ 7203 h 8802"/>
              <a:gd name="connsiteX18" fmla="*/ 6295 w 10000"/>
              <a:gd name="connsiteY18" fmla="*/ 8399 h 8802"/>
              <a:gd name="connsiteX19" fmla="*/ 6295 w 10000"/>
              <a:gd name="connsiteY19" fmla="*/ 8802 h 8802"/>
              <a:gd name="connsiteX20" fmla="*/ 0 w 10000"/>
              <a:gd name="connsiteY20" fmla="*/ 7998 h 8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0000" h="8802">
                <a:moveTo>
                  <a:pt x="0" y="7998"/>
                </a:moveTo>
                <a:lnTo>
                  <a:pt x="0" y="1203"/>
                </a:lnTo>
                <a:lnTo>
                  <a:pt x="370" y="399"/>
                </a:lnTo>
                <a:lnTo>
                  <a:pt x="1480" y="0"/>
                </a:lnTo>
                <a:lnTo>
                  <a:pt x="2963" y="0"/>
                </a:lnTo>
                <a:lnTo>
                  <a:pt x="4816" y="0"/>
                </a:lnTo>
                <a:lnTo>
                  <a:pt x="6668" y="0"/>
                </a:lnTo>
                <a:lnTo>
                  <a:pt x="7407" y="0"/>
                </a:lnTo>
                <a:lnTo>
                  <a:pt x="8521" y="0"/>
                </a:lnTo>
                <a:lnTo>
                  <a:pt x="8889" y="0"/>
                </a:lnTo>
                <a:lnTo>
                  <a:pt x="9630" y="1203"/>
                </a:lnTo>
                <a:lnTo>
                  <a:pt x="10000" y="1599"/>
                </a:lnTo>
                <a:lnTo>
                  <a:pt x="10000" y="2401"/>
                </a:lnTo>
                <a:lnTo>
                  <a:pt x="10000" y="3599"/>
                </a:lnTo>
                <a:cubicBezTo>
                  <a:pt x="9875" y="3998"/>
                  <a:pt x="9755" y="4399"/>
                  <a:pt x="9630" y="4802"/>
                </a:cubicBezTo>
                <a:lnTo>
                  <a:pt x="8521" y="6000"/>
                </a:lnTo>
                <a:lnTo>
                  <a:pt x="8149" y="6401"/>
                </a:lnTo>
                <a:lnTo>
                  <a:pt x="6668" y="7203"/>
                </a:lnTo>
                <a:cubicBezTo>
                  <a:pt x="6542" y="7601"/>
                  <a:pt x="6419" y="8000"/>
                  <a:pt x="6295" y="8399"/>
                </a:cubicBezTo>
                <a:lnTo>
                  <a:pt x="6295" y="8802"/>
                </a:lnTo>
                <a:lnTo>
                  <a:pt x="0" y="7998"/>
                </a:lnTo>
              </a:path>
            </a:pathLst>
          </a:custGeom>
          <a:solidFill>
            <a:srgbClr val="2E2E38">
              <a:lumMod val="60000"/>
              <a:lumOff val="40000"/>
            </a:srgbClr>
          </a:solidFill>
          <a:ln w="6350" cap="rnd" cmpd="sng">
            <a:solidFill>
              <a:srgbClr val="2E2E38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71" name="Rectangular Callout 273">
            <a:extLst>
              <a:ext uri="{FF2B5EF4-FFF2-40B4-BE49-F238E27FC236}">
                <a16:creationId xmlns:a16="http://schemas.microsoft.com/office/drawing/2014/main" id="{01AA2791-61FD-20EE-FCEA-F3346EA2B4D5}"/>
              </a:ext>
            </a:extLst>
          </p:cNvPr>
          <p:cNvSpPr/>
          <p:nvPr/>
        </p:nvSpPr>
        <p:spPr>
          <a:xfrm>
            <a:off x="5573517" y="1243427"/>
            <a:ext cx="2159488" cy="817774"/>
          </a:xfrm>
          <a:prstGeom prst="rect">
            <a:avLst/>
          </a:prstGeom>
          <a:noFill/>
          <a:ln w="9525" cap="flat" cmpd="sng" algn="ctr">
            <a:solidFill>
              <a:srgbClr val="FFE600"/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Il Consiglio Europeo ha approvato il </a:t>
            </a:r>
            <a:r>
              <a:rPr kumimoji="0" lang="it-IT" sz="1000" b="1" i="0" u="none" strike="noStrike" kern="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disegno di legge sul mercato dei cripto-asset (</a:t>
            </a:r>
            <a:r>
              <a:rPr kumimoji="0" lang="it-IT" sz="1000" b="1" i="0" u="none" strike="noStrike" kern="0" cap="none" spc="0" normalizeH="0" baseline="0" noProof="0" err="1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MiCA</a:t>
            </a:r>
            <a:r>
              <a:rPr kumimoji="0" lang="it-IT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) nel 2023.</a:t>
            </a:r>
          </a:p>
        </p:txBody>
      </p:sp>
      <p:sp>
        <p:nvSpPr>
          <p:cNvPr id="272" name="Rectangular Callout 275">
            <a:extLst>
              <a:ext uri="{FF2B5EF4-FFF2-40B4-BE49-F238E27FC236}">
                <a16:creationId xmlns:a16="http://schemas.microsoft.com/office/drawing/2014/main" id="{D33E0882-A284-814C-57D7-799683E0060B}"/>
              </a:ext>
            </a:extLst>
          </p:cNvPr>
          <p:cNvSpPr/>
          <p:nvPr/>
        </p:nvSpPr>
        <p:spPr>
          <a:xfrm>
            <a:off x="618679" y="4065453"/>
            <a:ext cx="2204520" cy="2120278"/>
          </a:xfrm>
          <a:prstGeom prst="rect">
            <a:avLst/>
          </a:prstGeom>
          <a:noFill/>
          <a:ln w="9525" cap="flat" cmpd="sng" algn="ctr">
            <a:solidFill>
              <a:schemeClr val="bg2">
                <a:lumMod val="20000"/>
                <a:lumOff val="80000"/>
              </a:scheme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Le vendite e lo scambio di criptovalute sono generalmente legali</a:t>
            </a:r>
            <a:r>
              <a:rPr kumimoji="0" lang="it-IT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, anche se certi asset digitali possono essere considerati “securities” e quindi soggetti alla regolamentazione della SEC, mentre altri sono regolati da altri enti come la CFTC. Nel 2025 sono state approvate leggi federali che </a:t>
            </a:r>
            <a:r>
              <a:rPr kumimoji="0" lang="it-IT" sz="1000" b="1" i="0" u="none" strike="noStrike" kern="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aumentano la chiarezza sul tema degli </a:t>
            </a:r>
            <a:r>
              <a:rPr kumimoji="0" lang="it-IT" sz="1000" b="1" i="0" u="none" strike="noStrike" kern="0" cap="none" spc="0" normalizeH="0" baseline="0" noProof="0" err="1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stablecoin</a:t>
            </a:r>
            <a:r>
              <a:rPr kumimoji="0" lang="it-IT" sz="1000" b="1" i="0" u="none" strike="noStrike" kern="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 (GENIUS Act)</a:t>
            </a:r>
            <a:r>
              <a:rPr kumimoji="0" lang="it-IT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e sulla </a:t>
            </a:r>
            <a:r>
              <a:rPr kumimoji="0" lang="it-IT" sz="1000" b="1" i="0" u="none" strike="noStrike" kern="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distinzione fra commodity e security (CLARITY Act)</a:t>
            </a:r>
            <a:r>
              <a:rPr kumimoji="0" lang="it-IT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. </a:t>
            </a:r>
          </a:p>
        </p:txBody>
      </p:sp>
      <p:sp>
        <p:nvSpPr>
          <p:cNvPr id="273" name="Rectangular Callout 276">
            <a:extLst>
              <a:ext uri="{FF2B5EF4-FFF2-40B4-BE49-F238E27FC236}">
                <a16:creationId xmlns:a16="http://schemas.microsoft.com/office/drawing/2014/main" id="{211AF432-33FD-BFC2-3D19-829ACB3C6C03}"/>
              </a:ext>
            </a:extLst>
          </p:cNvPr>
          <p:cNvSpPr/>
          <p:nvPr/>
        </p:nvSpPr>
        <p:spPr>
          <a:xfrm>
            <a:off x="9975225" y="3422757"/>
            <a:ext cx="1807209" cy="1680641"/>
          </a:xfrm>
          <a:prstGeom prst="rect">
            <a:avLst/>
          </a:prstGeom>
          <a:noFill/>
          <a:ln w="9525" cap="flat" cmpd="sng" algn="ctr">
            <a:solidFill>
              <a:schemeClr val="bg2">
                <a:lumMod val="20000"/>
                <a:lumOff val="80000"/>
              </a:scheme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Sebbene la Cina abbia legalmente </a:t>
            </a:r>
            <a:r>
              <a:rPr kumimoji="0" lang="it-IT" sz="1000" b="1" i="0" u="none" strike="noStrike" kern="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vietato l'attività di cripto-asset all'interno dei suoi confini</a:t>
            </a:r>
            <a:r>
              <a:rPr kumimoji="0" lang="it-IT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, l'adozione non è stata frenata. Inoltre, nel dicembre 2022 è stata lanciata </a:t>
            </a:r>
            <a:r>
              <a:rPr kumimoji="0" lang="it-IT" sz="1000" b="1" i="0" u="none" strike="noStrike" kern="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una nuova piattaforma di trading di NFT</a:t>
            </a:r>
            <a:r>
              <a:rPr kumimoji="0" lang="it-IT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, con il sostegno dello Stato. </a:t>
            </a:r>
          </a:p>
        </p:txBody>
      </p:sp>
      <p:pic>
        <p:nvPicPr>
          <p:cNvPr id="274" name="Grafik 41" descr="800px-Flag_of_the_United_States.svg.png">
            <a:extLst>
              <a:ext uri="{FF2B5EF4-FFF2-40B4-BE49-F238E27FC236}">
                <a16:creationId xmlns:a16="http://schemas.microsoft.com/office/drawing/2014/main" id="{24E8A0E1-C7E6-BBA8-7FC0-179839DE47F6}"/>
              </a:ext>
            </a:extLst>
          </p:cNvPr>
          <p:cNvPicPr>
            <a:picLocks/>
          </p:cNvPicPr>
          <p:nvPr/>
        </p:nvPicPr>
        <p:blipFill>
          <a:blip r:embed="rId2" cstate="print"/>
          <a:srcRect r="21013"/>
          <a:stretch>
            <a:fillRect/>
          </a:stretch>
        </p:blipFill>
        <p:spPr>
          <a:xfrm rot="20299831">
            <a:off x="419117" y="3857736"/>
            <a:ext cx="464400" cy="309600"/>
          </a:xfrm>
          <a:prstGeom prst="rect">
            <a:avLst/>
          </a:prstGeom>
          <a:ln w="6350">
            <a:solidFill>
              <a:srgbClr val="3D108A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</p:pic>
      <p:sp>
        <p:nvSpPr>
          <p:cNvPr id="275" name="Rectangle 274">
            <a:extLst>
              <a:ext uri="{FF2B5EF4-FFF2-40B4-BE49-F238E27FC236}">
                <a16:creationId xmlns:a16="http://schemas.microsoft.com/office/drawing/2014/main" id="{416D07F2-BA5C-2AFE-6237-9ABC4D441871}"/>
              </a:ext>
            </a:extLst>
          </p:cNvPr>
          <p:cNvSpPr/>
          <p:nvPr/>
        </p:nvSpPr>
        <p:spPr>
          <a:xfrm>
            <a:off x="700605" y="3865901"/>
            <a:ext cx="1869823" cy="59040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76" name="Rectangular Callout 280">
            <a:extLst>
              <a:ext uri="{FF2B5EF4-FFF2-40B4-BE49-F238E27FC236}">
                <a16:creationId xmlns:a16="http://schemas.microsoft.com/office/drawing/2014/main" id="{7430322C-719A-E3C3-0906-4FD6A4C3D580}"/>
              </a:ext>
            </a:extLst>
          </p:cNvPr>
          <p:cNvSpPr/>
          <p:nvPr/>
        </p:nvSpPr>
        <p:spPr>
          <a:xfrm>
            <a:off x="754208" y="1243427"/>
            <a:ext cx="1944660" cy="1448566"/>
          </a:xfrm>
          <a:prstGeom prst="rect">
            <a:avLst/>
          </a:prstGeom>
          <a:noFill/>
          <a:ln w="9525" cap="flat" cmpd="sng" algn="ctr">
            <a:solidFill>
              <a:schemeClr val="bg2">
                <a:lumMod val="20000"/>
                <a:lumOff val="80000"/>
              </a:scheme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Il Canada è stato </a:t>
            </a:r>
            <a:r>
              <a:rPr kumimoji="0" lang="it-IT" sz="1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il </a:t>
            </a:r>
            <a:r>
              <a:rPr kumimoji="0" lang="it-IT" sz="1000" b="1" i="0" u="none" strike="noStrike" kern="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primo Paese al mondo a emanare una legislazione sui cripto-asset</a:t>
            </a:r>
            <a:r>
              <a:rPr kumimoji="0" lang="it-IT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. Dal 2017 ha sviluppato un meccanismo di autorizzazione, un quadro AML/CFT e regolamenti per la protezione dei consumatori.</a:t>
            </a:r>
          </a:p>
        </p:txBody>
      </p:sp>
      <p:pic>
        <p:nvPicPr>
          <p:cNvPr id="277" name="Picture 45" descr="Flagge Kanadas">
            <a:hlinkClick r:id="rId3" tooltip="Flagge Kanadas"/>
            <a:extLst>
              <a:ext uri="{FF2B5EF4-FFF2-40B4-BE49-F238E27FC236}">
                <a16:creationId xmlns:a16="http://schemas.microsoft.com/office/drawing/2014/main" id="{F2D59EC7-6650-5AAA-56B4-3F1E22F984E5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 rot="1285349">
            <a:off x="2391158" y="1015130"/>
            <a:ext cx="464400" cy="309600"/>
          </a:xfrm>
          <a:prstGeom prst="rect">
            <a:avLst/>
          </a:prstGeom>
          <a:ln w="6350">
            <a:solidFill>
              <a:srgbClr val="3D108A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</p:pic>
      <p:sp>
        <p:nvSpPr>
          <p:cNvPr id="278" name="Rectangle 277">
            <a:extLst>
              <a:ext uri="{FF2B5EF4-FFF2-40B4-BE49-F238E27FC236}">
                <a16:creationId xmlns:a16="http://schemas.microsoft.com/office/drawing/2014/main" id="{99B29277-E832-5A7A-2744-308454B417B9}"/>
              </a:ext>
            </a:extLst>
          </p:cNvPr>
          <p:cNvSpPr/>
          <p:nvPr/>
        </p:nvSpPr>
        <p:spPr>
          <a:xfrm>
            <a:off x="10260153" y="3501400"/>
            <a:ext cx="1438275" cy="59040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pic>
        <p:nvPicPr>
          <p:cNvPr id="279" name="Grafik 28" descr="800px-Flag_of_the_People's_Republic_of_China.svg.png">
            <a:extLst>
              <a:ext uri="{FF2B5EF4-FFF2-40B4-BE49-F238E27FC236}">
                <a16:creationId xmlns:a16="http://schemas.microsoft.com/office/drawing/2014/main" id="{0FAA0ACF-C8CB-9221-9702-B700C72D05E7}"/>
              </a:ext>
            </a:extLst>
          </p:cNvPr>
          <p:cNvPicPr>
            <a:picLocks/>
          </p:cNvPicPr>
          <p:nvPr/>
        </p:nvPicPr>
        <p:blipFill>
          <a:blip r:embed="rId5" cstate="print"/>
          <a:stretch>
            <a:fillRect/>
          </a:stretch>
        </p:blipFill>
        <p:spPr>
          <a:xfrm rot="1377032">
            <a:off x="11527830" y="3220837"/>
            <a:ext cx="464400" cy="309600"/>
          </a:xfrm>
          <a:prstGeom prst="rect">
            <a:avLst/>
          </a:prstGeom>
          <a:noFill/>
          <a:ln w="6350">
            <a:solidFill>
              <a:srgbClr val="3D108A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</p:pic>
      <p:sp>
        <p:nvSpPr>
          <p:cNvPr id="280" name="Rectangular Callout 286">
            <a:extLst>
              <a:ext uri="{FF2B5EF4-FFF2-40B4-BE49-F238E27FC236}">
                <a16:creationId xmlns:a16="http://schemas.microsoft.com/office/drawing/2014/main" id="{D3B47DE4-B194-5CB8-A0C2-63754DA351E5}"/>
              </a:ext>
            </a:extLst>
          </p:cNvPr>
          <p:cNvSpPr/>
          <p:nvPr/>
        </p:nvSpPr>
        <p:spPr>
          <a:xfrm>
            <a:off x="8810698" y="1243427"/>
            <a:ext cx="2417955" cy="1176551"/>
          </a:xfrm>
          <a:prstGeom prst="rect">
            <a:avLst/>
          </a:prstGeom>
          <a:noFill/>
          <a:ln w="9525" cap="flat" cmpd="sng" algn="ctr">
            <a:solidFill>
              <a:schemeClr val="bg2">
                <a:lumMod val="20000"/>
                <a:lumOff val="80000"/>
              </a:scheme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Le criptovalute sono legali ma non possono essere utilizzate per i pagamenti. Nonostante l'ambiguità giuridica, la Russia ha un mercato interno attivo di criptovalute, che si colloca al 13° posto nell'indice di adozione globale</a:t>
            </a:r>
          </a:p>
        </p:txBody>
      </p:sp>
      <p:pic>
        <p:nvPicPr>
          <p:cNvPr id="281" name="Grafik 87" descr="450px-Flag_of_Russia.svg.png">
            <a:extLst>
              <a:ext uri="{FF2B5EF4-FFF2-40B4-BE49-F238E27FC236}">
                <a16:creationId xmlns:a16="http://schemas.microsoft.com/office/drawing/2014/main" id="{CA279A2B-7316-AFD8-0A6D-BACA5E09C85D}"/>
              </a:ext>
            </a:extLst>
          </p:cNvPr>
          <p:cNvPicPr>
            <a:picLocks/>
          </p:cNvPicPr>
          <p:nvPr/>
        </p:nvPicPr>
        <p:blipFill>
          <a:blip r:embed="rId6" cstate="print"/>
          <a:stretch>
            <a:fillRect/>
          </a:stretch>
        </p:blipFill>
        <p:spPr>
          <a:xfrm rot="1037728">
            <a:off x="10902195" y="1003049"/>
            <a:ext cx="464400" cy="309600"/>
          </a:xfrm>
          <a:prstGeom prst="rect">
            <a:avLst/>
          </a:prstGeom>
          <a:ln w="6350">
            <a:solidFill>
              <a:srgbClr val="3D108A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</p:pic>
      <p:sp>
        <p:nvSpPr>
          <p:cNvPr id="282" name="Rectangle 281">
            <a:extLst>
              <a:ext uri="{FF2B5EF4-FFF2-40B4-BE49-F238E27FC236}">
                <a16:creationId xmlns:a16="http://schemas.microsoft.com/office/drawing/2014/main" id="{2E3F8291-70BF-8C7B-3BE1-58D5FB531642}"/>
              </a:ext>
            </a:extLst>
          </p:cNvPr>
          <p:cNvSpPr/>
          <p:nvPr/>
        </p:nvSpPr>
        <p:spPr>
          <a:xfrm>
            <a:off x="8903508" y="2048965"/>
            <a:ext cx="2326549" cy="59040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pic>
        <p:nvPicPr>
          <p:cNvPr id="283" name="Grafik 167" descr="150px-Flag_of_Europe.svg.png">
            <a:extLst>
              <a:ext uri="{FF2B5EF4-FFF2-40B4-BE49-F238E27FC236}">
                <a16:creationId xmlns:a16="http://schemas.microsoft.com/office/drawing/2014/main" id="{530D1843-C409-1C1F-44D6-1ADC3D280F2F}"/>
              </a:ext>
            </a:extLst>
          </p:cNvPr>
          <p:cNvPicPr>
            <a:picLocks/>
          </p:cNvPicPr>
          <p:nvPr/>
        </p:nvPicPr>
        <p:blipFill>
          <a:blip r:embed="rId7" cstate="print"/>
          <a:stretch>
            <a:fillRect/>
          </a:stretch>
        </p:blipFill>
        <p:spPr>
          <a:xfrm rot="1138034">
            <a:off x="7435911" y="1006755"/>
            <a:ext cx="456234" cy="309600"/>
          </a:xfrm>
          <a:prstGeom prst="rect">
            <a:avLst/>
          </a:prstGeom>
          <a:ln w="6350">
            <a:solidFill>
              <a:srgbClr val="3D108A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</p:pic>
      <p:sp>
        <p:nvSpPr>
          <p:cNvPr id="284" name="Rectangular Callout 291">
            <a:extLst>
              <a:ext uri="{FF2B5EF4-FFF2-40B4-BE49-F238E27FC236}">
                <a16:creationId xmlns:a16="http://schemas.microsoft.com/office/drawing/2014/main" id="{261D5489-C4AE-5BF7-6C21-04A661FDC8A1}"/>
              </a:ext>
            </a:extLst>
          </p:cNvPr>
          <p:cNvSpPr/>
          <p:nvPr/>
        </p:nvSpPr>
        <p:spPr>
          <a:xfrm>
            <a:off x="5916843" y="5362218"/>
            <a:ext cx="2746395" cy="1183384"/>
          </a:xfrm>
          <a:prstGeom prst="rect">
            <a:avLst/>
          </a:prstGeom>
          <a:noFill/>
          <a:ln w="9525" cap="flat" cmpd="sng" algn="ctr">
            <a:solidFill>
              <a:schemeClr val="bg2">
                <a:lumMod val="20000"/>
                <a:lumOff val="80000"/>
              </a:scheme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Il governo indiano ha indicato </a:t>
            </a:r>
            <a:r>
              <a:rPr kumimoji="0" lang="it-IT" sz="1000" b="1" i="0" u="none" strike="noStrike" kern="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l'intenzione di tassare le criptovalute</a:t>
            </a:r>
            <a:r>
              <a:rPr kumimoji="0" lang="it-IT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, senza però averne confermato la legalità. Il mercato attivo delle criptovalute in India si è </a:t>
            </a:r>
            <a:r>
              <a:rPr kumimoji="0" lang="it-IT" sz="1000" b="1" i="0" u="none" strike="noStrike" kern="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classificato al primo posto nell'indice globale di adozione delle criptovalute</a:t>
            </a:r>
            <a:r>
              <a:rPr kumimoji="0" lang="it-IT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.</a:t>
            </a:r>
          </a:p>
        </p:txBody>
      </p:sp>
      <p:pic>
        <p:nvPicPr>
          <p:cNvPr id="285" name="Grafik 144" descr="800px-Flag_of_India.svg.png">
            <a:extLst>
              <a:ext uri="{FF2B5EF4-FFF2-40B4-BE49-F238E27FC236}">
                <a16:creationId xmlns:a16="http://schemas.microsoft.com/office/drawing/2014/main" id="{1F834E51-7BAB-916F-0935-D42D4C409F0B}"/>
              </a:ext>
            </a:extLst>
          </p:cNvPr>
          <p:cNvPicPr>
            <a:picLocks/>
          </p:cNvPicPr>
          <p:nvPr/>
        </p:nvPicPr>
        <p:blipFill>
          <a:blip r:embed="rId8" cstate="print"/>
          <a:stretch>
            <a:fillRect/>
          </a:stretch>
        </p:blipFill>
        <p:spPr>
          <a:xfrm rot="19704901">
            <a:off x="5707082" y="5137792"/>
            <a:ext cx="464400" cy="309600"/>
          </a:xfrm>
          <a:prstGeom prst="rect">
            <a:avLst/>
          </a:prstGeom>
          <a:noFill/>
          <a:ln w="6350">
            <a:solidFill>
              <a:srgbClr val="2E2E38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</p:pic>
      <p:cxnSp>
        <p:nvCxnSpPr>
          <p:cNvPr id="286" name="Connector: Elbow 287">
            <a:extLst>
              <a:ext uri="{FF2B5EF4-FFF2-40B4-BE49-F238E27FC236}">
                <a16:creationId xmlns:a16="http://schemas.microsoft.com/office/drawing/2014/main" id="{A68C09B8-AD52-40C9-EF87-BE1DD49F42A2}"/>
              </a:ext>
            </a:extLst>
          </p:cNvPr>
          <p:cNvCxnSpPr>
            <a:cxnSpLocks/>
            <a:stCxn id="276" idx="3"/>
            <a:endCxn id="288" idx="0"/>
          </p:cNvCxnSpPr>
          <p:nvPr/>
        </p:nvCxnSpPr>
        <p:spPr>
          <a:xfrm>
            <a:off x="2698868" y="1967710"/>
            <a:ext cx="880218" cy="854865"/>
          </a:xfrm>
          <a:prstGeom prst="bentConnector2">
            <a:avLst/>
          </a:prstGeom>
          <a:noFill/>
          <a:ln w="3175" cap="flat" cmpd="sng" algn="ctr">
            <a:solidFill>
              <a:srgbClr val="FFE600"/>
            </a:solidFill>
            <a:prstDash val="solid"/>
            <a:tailEnd type="none"/>
          </a:ln>
          <a:effectLst/>
        </p:spPr>
      </p:cxnSp>
      <p:grpSp>
        <p:nvGrpSpPr>
          <p:cNvPr id="287" name="Group 286">
            <a:extLst>
              <a:ext uri="{FF2B5EF4-FFF2-40B4-BE49-F238E27FC236}">
                <a16:creationId xmlns:a16="http://schemas.microsoft.com/office/drawing/2014/main" id="{63C8850A-4189-6C6C-E9F1-92BEF53BC262}"/>
              </a:ext>
            </a:extLst>
          </p:cNvPr>
          <p:cNvGrpSpPr/>
          <p:nvPr/>
        </p:nvGrpSpPr>
        <p:grpSpPr>
          <a:xfrm>
            <a:off x="3489086" y="2822575"/>
            <a:ext cx="180000" cy="178825"/>
            <a:chOff x="3747992" y="998220"/>
            <a:chExt cx="289560" cy="288000"/>
          </a:xfrm>
        </p:grpSpPr>
        <p:sp>
          <p:nvSpPr>
            <p:cNvPr id="288" name="Oval 287">
              <a:extLst>
                <a:ext uri="{FF2B5EF4-FFF2-40B4-BE49-F238E27FC236}">
                  <a16:creationId xmlns:a16="http://schemas.microsoft.com/office/drawing/2014/main" id="{FC2792FB-946C-864F-3C4D-9BE668275CF2}"/>
                </a:ext>
              </a:extLst>
            </p:cNvPr>
            <p:cNvSpPr/>
            <p:nvPr/>
          </p:nvSpPr>
          <p:spPr>
            <a:xfrm>
              <a:off x="3747992" y="998220"/>
              <a:ext cx="289560" cy="288000"/>
            </a:xfrm>
            <a:prstGeom prst="ellipse">
              <a:avLst/>
            </a:prstGeom>
            <a:noFill/>
            <a:ln w="12700" cap="flat" cmpd="sng" algn="ctr">
              <a:solidFill>
                <a:srgbClr val="FFE600"/>
              </a:solidFill>
              <a:prstDash val="solid"/>
              <a:miter lim="800000"/>
            </a:ln>
            <a:effectLst/>
          </p:spPr>
          <p:txBody>
            <a:bodyPr lIns="108000" tIns="108000" rIns="108000" bIns="108000" rtlCol="0" anchor="t" anchorCtr="0"/>
            <a:lstStyle/>
            <a:p>
              <a:pPr marL="252000" marR="0" lvl="0" indent="-252000" defTabSz="91440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FFE600"/>
                </a:buClr>
                <a:buSzTx/>
                <a:buFont typeface="Wingdings" pitchFamily="2" charset="2"/>
                <a:buChar char="§"/>
                <a:tabLst/>
                <a:defRPr/>
              </a:pPr>
              <a:endParaRPr kumimoji="0" lang="en-US" sz="2000" b="0" i="0" u="none" strike="noStrike" kern="0" cap="none" spc="0" normalizeH="0" baseline="0" noProof="0" err="1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89" name="Oval 288">
              <a:extLst>
                <a:ext uri="{FF2B5EF4-FFF2-40B4-BE49-F238E27FC236}">
                  <a16:creationId xmlns:a16="http://schemas.microsoft.com/office/drawing/2014/main" id="{E40D3DA2-FED5-F0DD-CC04-5E9AE696E6E6}"/>
                </a:ext>
              </a:extLst>
            </p:cNvPr>
            <p:cNvSpPr/>
            <p:nvPr/>
          </p:nvSpPr>
          <p:spPr>
            <a:xfrm>
              <a:off x="3783997" y="1034031"/>
              <a:ext cx="217550" cy="216378"/>
            </a:xfrm>
            <a:prstGeom prst="ellipse">
              <a:avLst/>
            </a:prstGeom>
            <a:solidFill>
              <a:srgbClr val="FFE600">
                <a:lumMod val="20000"/>
                <a:lumOff val="80000"/>
              </a:srgbClr>
            </a:solidFill>
            <a:ln w="12700" cap="flat" cmpd="sng" algn="ctr">
              <a:solidFill>
                <a:srgbClr val="FFE600"/>
              </a:solidFill>
              <a:prstDash val="solid"/>
              <a:miter lim="800000"/>
            </a:ln>
            <a:effectLst/>
          </p:spPr>
          <p:txBody>
            <a:bodyPr lIns="108000" tIns="108000" rIns="108000" bIns="108000" rtlCol="0" anchor="t" anchorCtr="0"/>
            <a:lstStyle/>
            <a:p>
              <a:pPr marL="252000" marR="0" lvl="0" indent="-252000" defTabSz="91440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FFE600"/>
                </a:buClr>
                <a:buSzTx/>
                <a:buFont typeface="Wingdings" pitchFamily="2" charset="2"/>
                <a:buChar char="§"/>
                <a:tabLst/>
                <a:defRPr/>
              </a:pPr>
              <a:endParaRPr kumimoji="0" lang="en-US" sz="2000" b="0" i="0" u="none" strike="noStrike" kern="0" cap="none" spc="0" normalizeH="0" baseline="0" noProof="0" err="1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grpSp>
        <p:nvGrpSpPr>
          <p:cNvPr id="290" name="Group 289">
            <a:extLst>
              <a:ext uri="{FF2B5EF4-FFF2-40B4-BE49-F238E27FC236}">
                <a16:creationId xmlns:a16="http://schemas.microsoft.com/office/drawing/2014/main" id="{8B75AE74-D5E3-3A87-A7D5-12604572CDF9}"/>
              </a:ext>
            </a:extLst>
          </p:cNvPr>
          <p:cNvGrpSpPr/>
          <p:nvPr/>
        </p:nvGrpSpPr>
        <p:grpSpPr>
          <a:xfrm>
            <a:off x="3443366" y="3637371"/>
            <a:ext cx="180000" cy="178825"/>
            <a:chOff x="3747992" y="998220"/>
            <a:chExt cx="289560" cy="288000"/>
          </a:xfrm>
        </p:grpSpPr>
        <p:sp>
          <p:nvSpPr>
            <p:cNvPr id="291" name="Oval 290">
              <a:extLst>
                <a:ext uri="{FF2B5EF4-FFF2-40B4-BE49-F238E27FC236}">
                  <a16:creationId xmlns:a16="http://schemas.microsoft.com/office/drawing/2014/main" id="{1EECAD74-E114-A1F5-BBDE-33135E33F1F4}"/>
                </a:ext>
              </a:extLst>
            </p:cNvPr>
            <p:cNvSpPr/>
            <p:nvPr/>
          </p:nvSpPr>
          <p:spPr>
            <a:xfrm>
              <a:off x="3747992" y="998220"/>
              <a:ext cx="289560" cy="288000"/>
            </a:xfrm>
            <a:prstGeom prst="ellipse">
              <a:avLst/>
            </a:prstGeom>
            <a:noFill/>
            <a:ln w="12700" cap="flat" cmpd="sng" algn="ctr">
              <a:solidFill>
                <a:srgbClr val="FFE600"/>
              </a:solidFill>
              <a:prstDash val="solid"/>
              <a:miter lim="800000"/>
            </a:ln>
            <a:effectLst/>
          </p:spPr>
          <p:txBody>
            <a:bodyPr lIns="108000" tIns="108000" rIns="108000" bIns="108000" rtlCol="0" anchor="t" anchorCtr="0"/>
            <a:lstStyle/>
            <a:p>
              <a:pPr marL="252000" marR="0" lvl="0" indent="-252000" defTabSz="91440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FFE600"/>
                </a:buClr>
                <a:buSzTx/>
                <a:buFont typeface="Wingdings" pitchFamily="2" charset="2"/>
                <a:buChar char="§"/>
                <a:tabLst/>
                <a:defRPr/>
              </a:pPr>
              <a:endParaRPr kumimoji="0" lang="en-US" sz="2000" b="0" i="0" u="none" strike="noStrike" kern="0" cap="none" spc="0" normalizeH="0" baseline="0" noProof="0" err="1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92" name="Oval 291">
              <a:extLst>
                <a:ext uri="{FF2B5EF4-FFF2-40B4-BE49-F238E27FC236}">
                  <a16:creationId xmlns:a16="http://schemas.microsoft.com/office/drawing/2014/main" id="{C386B580-5A2F-8360-AB84-8AA58B89818D}"/>
                </a:ext>
              </a:extLst>
            </p:cNvPr>
            <p:cNvSpPr/>
            <p:nvPr/>
          </p:nvSpPr>
          <p:spPr>
            <a:xfrm>
              <a:off x="3783997" y="1034031"/>
              <a:ext cx="217550" cy="216378"/>
            </a:xfrm>
            <a:prstGeom prst="ellipse">
              <a:avLst/>
            </a:prstGeom>
            <a:solidFill>
              <a:srgbClr val="FFE600">
                <a:lumMod val="20000"/>
                <a:lumOff val="80000"/>
              </a:srgbClr>
            </a:solidFill>
            <a:ln w="12700" cap="flat" cmpd="sng" algn="ctr">
              <a:solidFill>
                <a:srgbClr val="FFE600"/>
              </a:solidFill>
              <a:prstDash val="solid"/>
              <a:miter lim="800000"/>
            </a:ln>
            <a:effectLst/>
          </p:spPr>
          <p:txBody>
            <a:bodyPr lIns="108000" tIns="108000" rIns="108000" bIns="108000" rtlCol="0" anchor="t" anchorCtr="0"/>
            <a:lstStyle/>
            <a:p>
              <a:pPr marL="252000" marR="0" lvl="0" indent="-252000" defTabSz="91440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FFE600"/>
                </a:buClr>
                <a:buSzTx/>
                <a:buFont typeface="Wingdings" pitchFamily="2" charset="2"/>
                <a:buChar char="§"/>
                <a:tabLst/>
                <a:defRPr/>
              </a:pPr>
              <a:endParaRPr kumimoji="0" lang="en-US" sz="2000" b="0" i="0" u="none" strike="noStrike" kern="0" cap="none" spc="0" normalizeH="0" baseline="0" noProof="0" err="1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cxnSp>
        <p:nvCxnSpPr>
          <p:cNvPr id="293" name="Connector: Elbow 294">
            <a:extLst>
              <a:ext uri="{FF2B5EF4-FFF2-40B4-BE49-F238E27FC236}">
                <a16:creationId xmlns:a16="http://schemas.microsoft.com/office/drawing/2014/main" id="{10E5D944-6F58-0B8C-DA2E-C593BA472DB2}"/>
              </a:ext>
            </a:extLst>
          </p:cNvPr>
          <p:cNvCxnSpPr>
            <a:cxnSpLocks/>
            <a:stCxn id="272" idx="3"/>
            <a:endCxn id="291" idx="4"/>
          </p:cNvCxnSpPr>
          <p:nvPr/>
        </p:nvCxnSpPr>
        <p:spPr>
          <a:xfrm flipV="1">
            <a:off x="2823199" y="3816196"/>
            <a:ext cx="710167" cy="1309396"/>
          </a:xfrm>
          <a:prstGeom prst="bentConnector2">
            <a:avLst/>
          </a:prstGeom>
          <a:noFill/>
          <a:ln w="3175" cap="flat" cmpd="sng" algn="ctr">
            <a:solidFill>
              <a:srgbClr val="FFE600"/>
            </a:solidFill>
            <a:prstDash val="solid"/>
            <a:tailEnd type="none"/>
          </a:ln>
          <a:effectLst/>
        </p:spPr>
      </p:cxnSp>
      <p:grpSp>
        <p:nvGrpSpPr>
          <p:cNvPr id="294" name="Group 293">
            <a:extLst>
              <a:ext uri="{FF2B5EF4-FFF2-40B4-BE49-F238E27FC236}">
                <a16:creationId xmlns:a16="http://schemas.microsoft.com/office/drawing/2014/main" id="{2B40F313-44F6-E31D-E9D7-FF72F2977E07}"/>
              </a:ext>
            </a:extLst>
          </p:cNvPr>
          <p:cNvGrpSpPr/>
          <p:nvPr/>
        </p:nvGrpSpPr>
        <p:grpSpPr>
          <a:xfrm>
            <a:off x="8269366" y="4136854"/>
            <a:ext cx="180000" cy="178825"/>
            <a:chOff x="3747992" y="998220"/>
            <a:chExt cx="289560" cy="288000"/>
          </a:xfrm>
        </p:grpSpPr>
        <p:sp>
          <p:nvSpPr>
            <p:cNvPr id="295" name="Oval 294">
              <a:extLst>
                <a:ext uri="{FF2B5EF4-FFF2-40B4-BE49-F238E27FC236}">
                  <a16:creationId xmlns:a16="http://schemas.microsoft.com/office/drawing/2014/main" id="{2D357492-CA73-7D60-233A-185C03D7A19A}"/>
                </a:ext>
              </a:extLst>
            </p:cNvPr>
            <p:cNvSpPr/>
            <p:nvPr/>
          </p:nvSpPr>
          <p:spPr>
            <a:xfrm>
              <a:off x="3747992" y="998220"/>
              <a:ext cx="289560" cy="288000"/>
            </a:xfrm>
            <a:prstGeom prst="ellipse">
              <a:avLst/>
            </a:prstGeom>
            <a:noFill/>
            <a:ln w="12700" cap="flat" cmpd="sng" algn="ctr">
              <a:solidFill>
                <a:srgbClr val="FFE600"/>
              </a:solidFill>
              <a:prstDash val="solid"/>
              <a:miter lim="800000"/>
            </a:ln>
            <a:effectLst/>
          </p:spPr>
          <p:txBody>
            <a:bodyPr lIns="108000" tIns="108000" rIns="108000" bIns="108000" rtlCol="0" anchor="t" anchorCtr="0"/>
            <a:lstStyle/>
            <a:p>
              <a:pPr marL="252000" marR="0" lvl="0" indent="-252000" defTabSz="91440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FFE600"/>
                </a:buClr>
                <a:buSzTx/>
                <a:buFont typeface="Wingdings" pitchFamily="2" charset="2"/>
                <a:buChar char="§"/>
                <a:tabLst/>
                <a:defRPr/>
              </a:pPr>
              <a:endParaRPr kumimoji="0" lang="en-US" sz="2000" b="0" i="0" u="none" strike="noStrike" kern="0" cap="none" spc="0" normalizeH="0" baseline="0" noProof="0" err="1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96" name="Oval 295">
              <a:extLst>
                <a:ext uri="{FF2B5EF4-FFF2-40B4-BE49-F238E27FC236}">
                  <a16:creationId xmlns:a16="http://schemas.microsoft.com/office/drawing/2014/main" id="{6BE869F4-85F9-FEB4-67AD-98371D1C76DC}"/>
                </a:ext>
              </a:extLst>
            </p:cNvPr>
            <p:cNvSpPr/>
            <p:nvPr/>
          </p:nvSpPr>
          <p:spPr>
            <a:xfrm>
              <a:off x="3783997" y="1034031"/>
              <a:ext cx="217550" cy="216378"/>
            </a:xfrm>
            <a:prstGeom prst="ellipse">
              <a:avLst/>
            </a:prstGeom>
            <a:solidFill>
              <a:srgbClr val="FFE600">
                <a:lumMod val="20000"/>
                <a:lumOff val="80000"/>
              </a:srgbClr>
            </a:solidFill>
            <a:ln w="12700" cap="flat" cmpd="sng" algn="ctr">
              <a:solidFill>
                <a:srgbClr val="FFE600"/>
              </a:solidFill>
              <a:prstDash val="solid"/>
              <a:miter lim="800000"/>
            </a:ln>
            <a:effectLst/>
          </p:spPr>
          <p:txBody>
            <a:bodyPr lIns="108000" tIns="108000" rIns="108000" bIns="108000" rtlCol="0" anchor="t" anchorCtr="0"/>
            <a:lstStyle/>
            <a:p>
              <a:pPr marL="252000" marR="0" lvl="0" indent="-252000" defTabSz="91440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FFE600"/>
                </a:buClr>
                <a:buSzTx/>
                <a:buFont typeface="Wingdings" pitchFamily="2" charset="2"/>
                <a:buChar char="§"/>
                <a:tabLst/>
                <a:defRPr/>
              </a:pPr>
              <a:endParaRPr kumimoji="0" lang="en-US" sz="2000" b="0" i="0" u="none" strike="noStrike" kern="0" cap="none" spc="0" normalizeH="0" baseline="0" noProof="0" err="1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cxnSp>
        <p:nvCxnSpPr>
          <p:cNvPr id="297" name="Connector: Elbow 298">
            <a:extLst>
              <a:ext uri="{FF2B5EF4-FFF2-40B4-BE49-F238E27FC236}">
                <a16:creationId xmlns:a16="http://schemas.microsoft.com/office/drawing/2014/main" id="{6AFC72C9-DFC8-D990-5248-F5CDD465A184}"/>
              </a:ext>
            </a:extLst>
          </p:cNvPr>
          <p:cNvCxnSpPr>
            <a:cxnSpLocks/>
            <a:stCxn id="284" idx="0"/>
            <a:endCxn id="295" idx="2"/>
          </p:cNvCxnSpPr>
          <p:nvPr/>
        </p:nvCxnSpPr>
        <p:spPr>
          <a:xfrm rot="5400000" flipH="1" flipV="1">
            <a:off x="7211728" y="4304581"/>
            <a:ext cx="1135951" cy="979325"/>
          </a:xfrm>
          <a:prstGeom prst="bentConnector2">
            <a:avLst/>
          </a:prstGeom>
          <a:noFill/>
          <a:ln w="3175" cap="flat" cmpd="sng" algn="ctr">
            <a:solidFill>
              <a:srgbClr val="FFE600"/>
            </a:solidFill>
            <a:prstDash val="solid"/>
            <a:tailEnd type="none"/>
          </a:ln>
          <a:effectLst/>
        </p:spPr>
      </p:cxnSp>
      <p:grpSp>
        <p:nvGrpSpPr>
          <p:cNvPr id="298" name="Group 297">
            <a:extLst>
              <a:ext uri="{FF2B5EF4-FFF2-40B4-BE49-F238E27FC236}">
                <a16:creationId xmlns:a16="http://schemas.microsoft.com/office/drawing/2014/main" id="{F28D16A5-0B55-5D43-D43C-F3EA33D1BAF3}"/>
              </a:ext>
            </a:extLst>
          </p:cNvPr>
          <p:cNvGrpSpPr/>
          <p:nvPr/>
        </p:nvGrpSpPr>
        <p:grpSpPr>
          <a:xfrm>
            <a:off x="6562100" y="3245314"/>
            <a:ext cx="180000" cy="178825"/>
            <a:chOff x="3747992" y="998220"/>
            <a:chExt cx="289560" cy="288000"/>
          </a:xfrm>
        </p:grpSpPr>
        <p:sp>
          <p:nvSpPr>
            <p:cNvPr id="299" name="Oval 298">
              <a:extLst>
                <a:ext uri="{FF2B5EF4-FFF2-40B4-BE49-F238E27FC236}">
                  <a16:creationId xmlns:a16="http://schemas.microsoft.com/office/drawing/2014/main" id="{5FE932F7-6174-3992-5CF9-70C477D0666D}"/>
                </a:ext>
              </a:extLst>
            </p:cNvPr>
            <p:cNvSpPr/>
            <p:nvPr/>
          </p:nvSpPr>
          <p:spPr>
            <a:xfrm>
              <a:off x="3747992" y="998220"/>
              <a:ext cx="289560" cy="288000"/>
            </a:xfrm>
            <a:prstGeom prst="ellipse">
              <a:avLst/>
            </a:prstGeom>
            <a:noFill/>
            <a:ln w="12700" cap="flat" cmpd="sng" algn="ctr">
              <a:solidFill>
                <a:srgbClr val="FFE600"/>
              </a:solidFill>
              <a:prstDash val="solid"/>
              <a:miter lim="800000"/>
            </a:ln>
            <a:effectLst/>
          </p:spPr>
          <p:txBody>
            <a:bodyPr lIns="108000" tIns="108000" rIns="108000" bIns="108000" rtlCol="0" anchor="t" anchorCtr="0"/>
            <a:lstStyle/>
            <a:p>
              <a:pPr marL="252000" marR="0" lvl="0" indent="-252000" defTabSz="91440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FFE600"/>
                </a:buClr>
                <a:buSzTx/>
                <a:buFont typeface="Wingdings" pitchFamily="2" charset="2"/>
                <a:buChar char="§"/>
                <a:tabLst/>
                <a:defRPr/>
              </a:pPr>
              <a:endParaRPr kumimoji="0" lang="en-US" sz="2000" b="0" i="0" u="none" strike="noStrike" kern="0" cap="none" spc="0" normalizeH="0" baseline="0" noProof="0" err="1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300" name="Oval 299">
              <a:extLst>
                <a:ext uri="{FF2B5EF4-FFF2-40B4-BE49-F238E27FC236}">
                  <a16:creationId xmlns:a16="http://schemas.microsoft.com/office/drawing/2014/main" id="{33F8959D-648D-DC66-10C5-D73F95DFE33E}"/>
                </a:ext>
              </a:extLst>
            </p:cNvPr>
            <p:cNvSpPr/>
            <p:nvPr/>
          </p:nvSpPr>
          <p:spPr>
            <a:xfrm>
              <a:off x="3783997" y="1034031"/>
              <a:ext cx="217550" cy="216378"/>
            </a:xfrm>
            <a:prstGeom prst="ellipse">
              <a:avLst/>
            </a:prstGeom>
            <a:solidFill>
              <a:srgbClr val="FFE600">
                <a:lumMod val="20000"/>
                <a:lumOff val="80000"/>
              </a:srgbClr>
            </a:solidFill>
            <a:ln w="12700" cap="flat" cmpd="sng" algn="ctr">
              <a:solidFill>
                <a:srgbClr val="FFE600"/>
              </a:solidFill>
              <a:prstDash val="solid"/>
              <a:miter lim="800000"/>
            </a:ln>
            <a:effectLst/>
          </p:spPr>
          <p:txBody>
            <a:bodyPr lIns="108000" tIns="108000" rIns="108000" bIns="108000" rtlCol="0" anchor="t" anchorCtr="0"/>
            <a:lstStyle/>
            <a:p>
              <a:pPr marL="252000" marR="0" lvl="0" indent="-252000" defTabSz="91440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FFE600"/>
                </a:buClr>
                <a:buSzTx/>
                <a:buFont typeface="Wingdings" pitchFamily="2" charset="2"/>
                <a:buChar char="§"/>
                <a:tabLst/>
                <a:defRPr/>
              </a:pPr>
              <a:endParaRPr kumimoji="0" lang="en-US" sz="2000" b="0" i="0" u="none" strike="noStrike" kern="0" cap="none" spc="0" normalizeH="0" baseline="0" noProof="0" err="1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cxnSp>
        <p:nvCxnSpPr>
          <p:cNvPr id="301" name="Connector: Elbow 302">
            <a:extLst>
              <a:ext uri="{FF2B5EF4-FFF2-40B4-BE49-F238E27FC236}">
                <a16:creationId xmlns:a16="http://schemas.microsoft.com/office/drawing/2014/main" id="{D94096BF-DCC8-2C4D-7464-8CA40AB7682F}"/>
              </a:ext>
            </a:extLst>
          </p:cNvPr>
          <p:cNvCxnSpPr>
            <a:cxnSpLocks/>
            <a:stCxn id="303" idx="0"/>
            <a:endCxn id="280" idx="1"/>
          </p:cNvCxnSpPr>
          <p:nvPr/>
        </p:nvCxnSpPr>
        <p:spPr>
          <a:xfrm rot="5400000" flipH="1" flipV="1">
            <a:off x="8175214" y="2137390"/>
            <a:ext cx="941171" cy="329798"/>
          </a:xfrm>
          <a:prstGeom prst="bentConnector2">
            <a:avLst/>
          </a:prstGeom>
          <a:noFill/>
          <a:ln w="3175" cap="flat" cmpd="sng" algn="ctr">
            <a:solidFill>
              <a:srgbClr val="FFE600"/>
            </a:solidFill>
            <a:prstDash val="solid"/>
            <a:tailEnd type="none"/>
          </a:ln>
          <a:effectLst/>
        </p:spPr>
      </p:cxnSp>
      <p:grpSp>
        <p:nvGrpSpPr>
          <p:cNvPr id="302" name="Group 301">
            <a:extLst>
              <a:ext uri="{FF2B5EF4-FFF2-40B4-BE49-F238E27FC236}">
                <a16:creationId xmlns:a16="http://schemas.microsoft.com/office/drawing/2014/main" id="{7C1230DE-2316-BF95-D5BF-292C59624929}"/>
              </a:ext>
            </a:extLst>
          </p:cNvPr>
          <p:cNvGrpSpPr/>
          <p:nvPr/>
        </p:nvGrpSpPr>
        <p:grpSpPr>
          <a:xfrm>
            <a:off x="8390900" y="2772874"/>
            <a:ext cx="180000" cy="178825"/>
            <a:chOff x="3747992" y="998220"/>
            <a:chExt cx="289560" cy="288000"/>
          </a:xfrm>
        </p:grpSpPr>
        <p:sp>
          <p:nvSpPr>
            <p:cNvPr id="303" name="Oval 302">
              <a:extLst>
                <a:ext uri="{FF2B5EF4-FFF2-40B4-BE49-F238E27FC236}">
                  <a16:creationId xmlns:a16="http://schemas.microsoft.com/office/drawing/2014/main" id="{782B5692-35A1-4CFC-35C4-39772D00A38C}"/>
                </a:ext>
              </a:extLst>
            </p:cNvPr>
            <p:cNvSpPr/>
            <p:nvPr/>
          </p:nvSpPr>
          <p:spPr>
            <a:xfrm>
              <a:off x="3747992" y="998220"/>
              <a:ext cx="289560" cy="288000"/>
            </a:xfrm>
            <a:prstGeom prst="ellipse">
              <a:avLst/>
            </a:prstGeom>
            <a:noFill/>
            <a:ln w="12700" cap="flat" cmpd="sng" algn="ctr">
              <a:solidFill>
                <a:srgbClr val="FFE600"/>
              </a:solidFill>
              <a:prstDash val="solid"/>
              <a:miter lim="800000"/>
            </a:ln>
            <a:effectLst/>
          </p:spPr>
          <p:txBody>
            <a:bodyPr lIns="108000" tIns="108000" rIns="108000" bIns="108000" rtlCol="0" anchor="t" anchorCtr="0"/>
            <a:lstStyle/>
            <a:p>
              <a:pPr marL="252000" marR="0" lvl="0" indent="-252000" defTabSz="91440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FFE600"/>
                </a:buClr>
                <a:buSzTx/>
                <a:buFont typeface="Wingdings" pitchFamily="2" charset="2"/>
                <a:buChar char="§"/>
                <a:tabLst/>
                <a:defRPr/>
              </a:pPr>
              <a:endParaRPr kumimoji="0" lang="en-US" sz="2000" b="0" i="0" u="none" strike="noStrike" kern="0" cap="none" spc="0" normalizeH="0" baseline="0" noProof="0" err="1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304" name="Oval 303">
              <a:extLst>
                <a:ext uri="{FF2B5EF4-FFF2-40B4-BE49-F238E27FC236}">
                  <a16:creationId xmlns:a16="http://schemas.microsoft.com/office/drawing/2014/main" id="{E55F9C36-B936-69A6-C0A8-F53A0D8483A5}"/>
                </a:ext>
              </a:extLst>
            </p:cNvPr>
            <p:cNvSpPr/>
            <p:nvPr/>
          </p:nvSpPr>
          <p:spPr>
            <a:xfrm>
              <a:off x="3783997" y="1034031"/>
              <a:ext cx="217550" cy="216378"/>
            </a:xfrm>
            <a:prstGeom prst="ellipse">
              <a:avLst/>
            </a:prstGeom>
            <a:solidFill>
              <a:srgbClr val="FFE600">
                <a:lumMod val="20000"/>
                <a:lumOff val="80000"/>
              </a:srgbClr>
            </a:solidFill>
            <a:ln w="12700" cap="flat" cmpd="sng" algn="ctr">
              <a:solidFill>
                <a:srgbClr val="FFE600"/>
              </a:solidFill>
              <a:prstDash val="solid"/>
              <a:miter lim="800000"/>
            </a:ln>
            <a:effectLst/>
          </p:spPr>
          <p:txBody>
            <a:bodyPr lIns="108000" tIns="108000" rIns="108000" bIns="108000" rtlCol="0" anchor="t" anchorCtr="0"/>
            <a:lstStyle/>
            <a:p>
              <a:pPr marL="252000" marR="0" lvl="0" indent="-252000" defTabSz="91440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FFE600"/>
                </a:buClr>
                <a:buSzTx/>
                <a:buFont typeface="Wingdings" pitchFamily="2" charset="2"/>
                <a:buChar char="§"/>
                <a:tabLst/>
                <a:defRPr/>
              </a:pPr>
              <a:endParaRPr kumimoji="0" lang="en-US" sz="2000" b="0" i="0" u="none" strike="noStrike" kern="0" cap="none" spc="0" normalizeH="0" baseline="0" noProof="0" err="1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cxnSp>
        <p:nvCxnSpPr>
          <p:cNvPr id="305" name="Straight Connector 304">
            <a:extLst>
              <a:ext uri="{FF2B5EF4-FFF2-40B4-BE49-F238E27FC236}">
                <a16:creationId xmlns:a16="http://schemas.microsoft.com/office/drawing/2014/main" id="{045BC26F-0AAB-1BF9-B535-4869D9A327EF}"/>
              </a:ext>
            </a:extLst>
          </p:cNvPr>
          <p:cNvCxnSpPr>
            <a:cxnSpLocks/>
            <a:stCxn id="271" idx="2"/>
            <a:endCxn id="300" idx="0"/>
          </p:cNvCxnSpPr>
          <p:nvPr/>
        </p:nvCxnSpPr>
        <p:spPr>
          <a:xfrm flipH="1">
            <a:off x="6652100" y="2061201"/>
            <a:ext cx="1161" cy="1206349"/>
          </a:xfrm>
          <a:prstGeom prst="line">
            <a:avLst/>
          </a:prstGeom>
          <a:noFill/>
          <a:ln w="3175" cap="flat" cmpd="sng" algn="ctr">
            <a:solidFill>
              <a:srgbClr val="FFE600"/>
            </a:solidFill>
            <a:prstDash val="solid"/>
            <a:tailEnd type="none"/>
          </a:ln>
          <a:effectLst/>
        </p:spPr>
      </p:cxnSp>
      <p:grpSp>
        <p:nvGrpSpPr>
          <p:cNvPr id="306" name="Group 305">
            <a:extLst>
              <a:ext uri="{FF2B5EF4-FFF2-40B4-BE49-F238E27FC236}">
                <a16:creationId xmlns:a16="http://schemas.microsoft.com/office/drawing/2014/main" id="{7F9B89A1-D5AF-17C2-16A0-AE5968ADF764}"/>
              </a:ext>
            </a:extLst>
          </p:cNvPr>
          <p:cNvGrpSpPr/>
          <p:nvPr/>
        </p:nvGrpSpPr>
        <p:grpSpPr>
          <a:xfrm>
            <a:off x="9153875" y="3726783"/>
            <a:ext cx="180000" cy="178825"/>
            <a:chOff x="3747992" y="998220"/>
            <a:chExt cx="289560" cy="288000"/>
          </a:xfrm>
        </p:grpSpPr>
        <p:sp>
          <p:nvSpPr>
            <p:cNvPr id="307" name="Oval 306">
              <a:extLst>
                <a:ext uri="{FF2B5EF4-FFF2-40B4-BE49-F238E27FC236}">
                  <a16:creationId xmlns:a16="http://schemas.microsoft.com/office/drawing/2014/main" id="{A07CB080-D656-660A-DAF7-4F1451592A73}"/>
                </a:ext>
              </a:extLst>
            </p:cNvPr>
            <p:cNvSpPr/>
            <p:nvPr/>
          </p:nvSpPr>
          <p:spPr>
            <a:xfrm>
              <a:off x="3747992" y="998220"/>
              <a:ext cx="289560" cy="288000"/>
            </a:xfrm>
            <a:prstGeom prst="ellipse">
              <a:avLst/>
            </a:prstGeom>
            <a:noFill/>
            <a:ln w="12700" cap="flat" cmpd="sng" algn="ctr">
              <a:solidFill>
                <a:srgbClr val="FFE600"/>
              </a:solidFill>
              <a:prstDash val="solid"/>
              <a:miter lim="800000"/>
            </a:ln>
            <a:effectLst/>
          </p:spPr>
          <p:txBody>
            <a:bodyPr lIns="108000" tIns="108000" rIns="108000" bIns="108000" rtlCol="0" anchor="t" anchorCtr="0"/>
            <a:lstStyle/>
            <a:p>
              <a:pPr marL="252000" marR="0" lvl="0" indent="-252000" defTabSz="91440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FFE600"/>
                </a:buClr>
                <a:buSzTx/>
                <a:buFont typeface="Wingdings" pitchFamily="2" charset="2"/>
                <a:buChar char="§"/>
                <a:tabLst/>
                <a:defRPr/>
              </a:pPr>
              <a:endParaRPr kumimoji="0" lang="en-US" sz="2000" b="0" i="0" u="none" strike="noStrike" kern="0" cap="none" spc="0" normalizeH="0" baseline="0" noProof="0" err="1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308" name="Oval 307">
              <a:extLst>
                <a:ext uri="{FF2B5EF4-FFF2-40B4-BE49-F238E27FC236}">
                  <a16:creationId xmlns:a16="http://schemas.microsoft.com/office/drawing/2014/main" id="{021E3EEE-CADA-00A0-E158-71184BE8F818}"/>
                </a:ext>
              </a:extLst>
            </p:cNvPr>
            <p:cNvSpPr/>
            <p:nvPr/>
          </p:nvSpPr>
          <p:spPr>
            <a:xfrm>
              <a:off x="3783997" y="1034031"/>
              <a:ext cx="217550" cy="216378"/>
            </a:xfrm>
            <a:prstGeom prst="ellipse">
              <a:avLst/>
            </a:prstGeom>
            <a:solidFill>
              <a:srgbClr val="FFE600">
                <a:lumMod val="20000"/>
                <a:lumOff val="80000"/>
              </a:srgbClr>
            </a:solidFill>
            <a:ln w="12700" cap="flat" cmpd="sng" algn="ctr">
              <a:solidFill>
                <a:srgbClr val="FFE600"/>
              </a:solidFill>
              <a:prstDash val="solid"/>
              <a:miter lim="800000"/>
            </a:ln>
            <a:effectLst/>
          </p:spPr>
          <p:txBody>
            <a:bodyPr lIns="108000" tIns="108000" rIns="108000" bIns="108000" rtlCol="0" anchor="t" anchorCtr="0"/>
            <a:lstStyle/>
            <a:p>
              <a:pPr marL="252000" marR="0" lvl="0" indent="-252000" defTabSz="91440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FFE600"/>
                </a:buClr>
                <a:buSzTx/>
                <a:buFont typeface="Wingdings" pitchFamily="2" charset="2"/>
                <a:buChar char="§"/>
                <a:tabLst/>
                <a:defRPr/>
              </a:pPr>
              <a:endParaRPr kumimoji="0" lang="en-US" sz="2000" b="0" i="0" u="none" strike="noStrike" kern="0" cap="none" spc="0" normalizeH="0" baseline="0" noProof="0" err="1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cxnSp>
        <p:nvCxnSpPr>
          <p:cNvPr id="309" name="Connector: Elbow 310">
            <a:extLst>
              <a:ext uri="{FF2B5EF4-FFF2-40B4-BE49-F238E27FC236}">
                <a16:creationId xmlns:a16="http://schemas.microsoft.com/office/drawing/2014/main" id="{0108E799-0368-EAEF-0D15-7851B9496FC5}"/>
              </a:ext>
            </a:extLst>
          </p:cNvPr>
          <p:cNvCxnSpPr>
            <a:cxnSpLocks/>
            <a:stCxn id="307" idx="0"/>
            <a:endCxn id="273" idx="0"/>
          </p:cNvCxnSpPr>
          <p:nvPr/>
        </p:nvCxnSpPr>
        <p:spPr>
          <a:xfrm rot="5400000" flipH="1" flipV="1">
            <a:off x="9909339" y="2757293"/>
            <a:ext cx="304026" cy="1634955"/>
          </a:xfrm>
          <a:prstGeom prst="bentConnector3">
            <a:avLst>
              <a:gd name="adj1" fmla="val 175191"/>
            </a:avLst>
          </a:prstGeom>
          <a:noFill/>
          <a:ln w="3175" cap="flat" cmpd="sng" algn="ctr">
            <a:solidFill>
              <a:srgbClr val="FFE600"/>
            </a:solidFill>
            <a:prstDash val="solid"/>
            <a:tailEnd type="none"/>
          </a:ln>
          <a:effectLst/>
        </p:spPr>
      </p:cxnSp>
      <p:sp>
        <p:nvSpPr>
          <p:cNvPr id="310" name="Title 5">
            <a:extLst>
              <a:ext uri="{FF2B5EF4-FFF2-40B4-BE49-F238E27FC236}">
                <a16:creationId xmlns:a16="http://schemas.microsoft.com/office/drawing/2014/main" id="{43FA6BFC-C1E6-A435-7CF5-93DF77A78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69888"/>
            <a:ext cx="11329106" cy="451470"/>
          </a:xfrm>
        </p:spPr>
        <p:txBody>
          <a:bodyPr vert="horz"/>
          <a:lstStyle/>
          <a:p>
            <a:r>
              <a:rPr lang="it-IT" sz="2400">
                <a:latin typeface="+mn-lt"/>
              </a:rPr>
              <a:t>A livello internazionale il quadro normativo sulle </a:t>
            </a:r>
            <a:r>
              <a:rPr lang="it-IT" sz="2400" err="1">
                <a:latin typeface="+mn-lt"/>
              </a:rPr>
              <a:t>stablecoin</a:t>
            </a:r>
            <a:r>
              <a:rPr lang="it-IT" sz="2400">
                <a:latin typeface="+mn-lt"/>
              </a:rPr>
              <a:t> sta accelerando rapidamente, e l’Europa si distingue con la </a:t>
            </a:r>
            <a:r>
              <a:rPr lang="it-IT" sz="2400" err="1">
                <a:latin typeface="+mn-lt"/>
              </a:rPr>
              <a:t>MiCAR</a:t>
            </a:r>
            <a:r>
              <a:rPr lang="it-IT" sz="2400">
                <a:latin typeface="+mn-lt"/>
              </a:rPr>
              <a:t> come pioniera a livello globale</a:t>
            </a:r>
          </a:p>
        </p:txBody>
      </p:sp>
    </p:spTree>
    <p:extLst>
      <p:ext uri="{BB962C8B-B14F-4D97-AF65-F5344CB8AC3E}">
        <p14:creationId xmlns:p14="http://schemas.microsoft.com/office/powerpoint/2010/main" val="30210031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7D6EA8-2C87-A557-F751-19BBA71C571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it-IT"/>
              <a:t>Le stablecoin e il futuro dei pagamenti digitali | Salone dei pagamenti | 30 ottobre 2025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49F88A-9909-6F16-804D-3A37CD7101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17</a:t>
            </a:fld>
            <a:endParaRPr lang="en-GB"/>
          </a:p>
        </p:txBody>
      </p:sp>
      <p:sp>
        <p:nvSpPr>
          <p:cNvPr id="10" name="Title 5">
            <a:extLst>
              <a:ext uri="{FF2B5EF4-FFF2-40B4-BE49-F238E27FC236}">
                <a16:creationId xmlns:a16="http://schemas.microsoft.com/office/drawing/2014/main" id="{8C3FEAE4-A65D-3599-32A4-A4BAD42ABC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69888"/>
            <a:ext cx="11329106" cy="451470"/>
          </a:xfrm>
        </p:spPr>
        <p:txBody>
          <a:bodyPr vert="horz"/>
          <a:lstStyle/>
          <a:p>
            <a:r>
              <a:rPr lang="it-IT" sz="2400">
                <a:latin typeface="+mn-lt"/>
              </a:rPr>
              <a:t>La </a:t>
            </a:r>
            <a:r>
              <a:rPr lang="it-IT" sz="2400" err="1">
                <a:latin typeface="+mn-lt"/>
              </a:rPr>
              <a:t>MiCAR</a:t>
            </a:r>
            <a:r>
              <a:rPr lang="it-IT" sz="2400">
                <a:latin typeface="+mn-lt"/>
              </a:rPr>
              <a:t> sta creando le condizioni normative per una adozione sicura e regolata delle </a:t>
            </a:r>
            <a:r>
              <a:rPr lang="it-IT" sz="2400" err="1">
                <a:latin typeface="+mn-lt"/>
              </a:rPr>
              <a:t>stablecoin</a:t>
            </a:r>
            <a:endParaRPr lang="it-IT" sz="2400">
              <a:latin typeface="+mn-lt"/>
            </a:endParaRPr>
          </a:p>
        </p:txBody>
      </p:sp>
      <p:sp>
        <p:nvSpPr>
          <p:cNvPr id="11" name="Arrow: Pentagon 2">
            <a:extLst>
              <a:ext uri="{FF2B5EF4-FFF2-40B4-BE49-F238E27FC236}">
                <a16:creationId xmlns:a16="http://schemas.microsoft.com/office/drawing/2014/main" id="{865572BF-59FD-5467-3684-7FC945D7D609}"/>
              </a:ext>
            </a:extLst>
          </p:cNvPr>
          <p:cNvSpPr/>
          <p:nvPr/>
        </p:nvSpPr>
        <p:spPr>
          <a:xfrm>
            <a:off x="6711050" y="1619685"/>
            <a:ext cx="5103579" cy="4196917"/>
          </a:xfrm>
          <a:prstGeom prst="homePlate">
            <a:avLst>
              <a:gd name="adj" fmla="val 0"/>
            </a:avLst>
          </a:prstGeom>
          <a:solidFill>
            <a:schemeClr val="tx2">
              <a:lumMod val="50000"/>
            </a:schemeClr>
          </a:solidFill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08000" rIns="72000" bIns="108000" rtlCol="0" anchor="t" anchorCtr="0"/>
          <a:lstStyle/>
          <a:p>
            <a:pPr algn="ctr">
              <a:lnSpc>
                <a:spcPct val="90000"/>
              </a:lnSpc>
              <a:buClr>
                <a:schemeClr val="tx2"/>
              </a:buClr>
            </a:pPr>
            <a:r>
              <a:rPr lang="it-IT" sz="1400" noProof="0">
                <a:solidFill>
                  <a:schemeClr val="tx1"/>
                </a:solidFill>
              </a:rPr>
              <a:t>Gli EMT sono riconosciuti come strumenti di pagamento affidabili la cui emissione è affidata a banche e IMEL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6F17322-E29B-9F47-8D8B-A355CF08E35A}"/>
              </a:ext>
            </a:extLst>
          </p:cNvPr>
          <p:cNvGrpSpPr/>
          <p:nvPr/>
        </p:nvGrpSpPr>
        <p:grpSpPr>
          <a:xfrm rot="10800000">
            <a:off x="870081" y="1928317"/>
            <a:ext cx="0" cy="344272"/>
            <a:chOff x="898910" y="6003493"/>
            <a:chExt cx="0" cy="458227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12AE0E5D-5091-7B6B-238E-8A64940F7D4C}"/>
                </a:ext>
              </a:extLst>
            </p:cNvPr>
            <p:cNvCxnSpPr>
              <a:cxnSpLocks/>
            </p:cNvCxnSpPr>
            <p:nvPr/>
          </p:nvCxnSpPr>
          <p:spPr>
            <a:xfrm>
              <a:off x="898910" y="6003493"/>
              <a:ext cx="0" cy="152400"/>
            </a:xfrm>
            <a:prstGeom prst="line">
              <a:avLst/>
            </a:prstGeom>
            <a:ln w="57150">
              <a:solidFill>
                <a:schemeClr val="tx1">
                  <a:lumMod val="75000"/>
                  <a:alpha val="40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8C8F681-E840-1743-CD6C-2CDE51A8A8FB}"/>
                </a:ext>
              </a:extLst>
            </p:cNvPr>
            <p:cNvCxnSpPr>
              <a:cxnSpLocks/>
            </p:cNvCxnSpPr>
            <p:nvPr/>
          </p:nvCxnSpPr>
          <p:spPr>
            <a:xfrm>
              <a:off x="898910" y="6422149"/>
              <a:ext cx="0" cy="39571"/>
            </a:xfrm>
            <a:prstGeom prst="line">
              <a:avLst/>
            </a:prstGeom>
            <a:ln w="57150">
              <a:solidFill>
                <a:schemeClr val="tx1">
                  <a:lumMod val="75000"/>
                  <a:alpha val="40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90A4EF16-3644-7191-0E67-E8315648E1CE}"/>
                </a:ext>
              </a:extLst>
            </p:cNvPr>
            <p:cNvCxnSpPr>
              <a:cxnSpLocks/>
            </p:cNvCxnSpPr>
            <p:nvPr/>
          </p:nvCxnSpPr>
          <p:spPr>
            <a:xfrm>
              <a:off x="898910" y="6232606"/>
              <a:ext cx="0" cy="112829"/>
            </a:xfrm>
            <a:prstGeom prst="line">
              <a:avLst/>
            </a:prstGeom>
            <a:ln w="57150">
              <a:solidFill>
                <a:schemeClr val="tx1">
                  <a:lumMod val="75000"/>
                  <a:alpha val="40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D1577AE-3AEF-B976-28EE-E9F729D13DBA}"/>
              </a:ext>
            </a:extLst>
          </p:cNvPr>
          <p:cNvCxnSpPr>
            <a:cxnSpLocks/>
          </p:cNvCxnSpPr>
          <p:nvPr/>
        </p:nvCxnSpPr>
        <p:spPr>
          <a:xfrm>
            <a:off x="870081" y="2267015"/>
            <a:ext cx="0" cy="3119002"/>
          </a:xfrm>
          <a:prstGeom prst="line">
            <a:avLst/>
          </a:prstGeom>
          <a:ln w="57150">
            <a:solidFill>
              <a:schemeClr val="tx1">
                <a:lumMod val="75000"/>
                <a:alpha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CFE0E09-CB69-F2DA-8F28-2791722CAE72}"/>
              </a:ext>
            </a:extLst>
          </p:cNvPr>
          <p:cNvCxnSpPr>
            <a:cxnSpLocks/>
          </p:cNvCxnSpPr>
          <p:nvPr/>
        </p:nvCxnSpPr>
        <p:spPr>
          <a:xfrm>
            <a:off x="870081" y="5440206"/>
            <a:ext cx="0" cy="114500"/>
          </a:xfrm>
          <a:prstGeom prst="line">
            <a:avLst/>
          </a:prstGeom>
          <a:ln w="57150">
            <a:solidFill>
              <a:schemeClr val="tx1">
                <a:lumMod val="75000"/>
                <a:alpha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3A5BD4D-5357-7F83-A36F-AB2F88CC9BD3}"/>
              </a:ext>
            </a:extLst>
          </p:cNvPr>
          <p:cNvCxnSpPr>
            <a:cxnSpLocks/>
          </p:cNvCxnSpPr>
          <p:nvPr/>
        </p:nvCxnSpPr>
        <p:spPr>
          <a:xfrm>
            <a:off x="870081" y="5754749"/>
            <a:ext cx="0" cy="29730"/>
          </a:xfrm>
          <a:prstGeom prst="line">
            <a:avLst/>
          </a:prstGeom>
          <a:ln w="57150">
            <a:solidFill>
              <a:schemeClr val="tx1">
                <a:lumMod val="75000"/>
                <a:alpha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750742B-1272-46B7-C077-1CD6A9677B7F}"/>
              </a:ext>
            </a:extLst>
          </p:cNvPr>
          <p:cNvCxnSpPr>
            <a:cxnSpLocks/>
          </p:cNvCxnSpPr>
          <p:nvPr/>
        </p:nvCxnSpPr>
        <p:spPr>
          <a:xfrm>
            <a:off x="870081" y="5612342"/>
            <a:ext cx="0" cy="84770"/>
          </a:xfrm>
          <a:prstGeom prst="line">
            <a:avLst/>
          </a:prstGeom>
          <a:ln w="57150">
            <a:solidFill>
              <a:schemeClr val="tx1">
                <a:lumMod val="75000"/>
                <a:alpha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val 19">
            <a:extLst>
              <a:ext uri="{FF2B5EF4-FFF2-40B4-BE49-F238E27FC236}">
                <a16:creationId xmlns:a16="http://schemas.microsoft.com/office/drawing/2014/main" id="{644AB497-F262-1DB4-3562-ADA00126BFC0}"/>
              </a:ext>
            </a:extLst>
          </p:cNvPr>
          <p:cNvSpPr/>
          <p:nvPr/>
        </p:nvSpPr>
        <p:spPr>
          <a:xfrm>
            <a:off x="756637" y="2375939"/>
            <a:ext cx="223532" cy="221811"/>
          </a:xfrm>
          <a:prstGeom prst="ellipse">
            <a:avLst/>
          </a:prstGeom>
          <a:solidFill>
            <a:schemeClr val="tx2"/>
          </a:solidFill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/>
          <a:lstStyle/>
          <a:p>
            <a:pPr marL="252000" indent="-2520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it-IT" sz="2000" noProof="0">
              <a:solidFill>
                <a:schemeClr val="tx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DC9FFDF-05A9-90D9-C05C-464F1BAEB5F5}"/>
              </a:ext>
            </a:extLst>
          </p:cNvPr>
          <p:cNvSpPr txBox="1"/>
          <p:nvPr/>
        </p:nvSpPr>
        <p:spPr>
          <a:xfrm>
            <a:off x="1093612" y="2299273"/>
            <a:ext cx="1653306" cy="648896"/>
          </a:xfrm>
          <a:prstGeom prst="rect">
            <a:avLst/>
          </a:prstGeom>
          <a:noFill/>
        </p:spPr>
        <p:txBody>
          <a:bodyPr wrap="square" lIns="72000" rIns="72000">
            <a:spAutoFit/>
          </a:bodyPr>
          <a:lstStyle/>
          <a:p>
            <a:pPr>
              <a:spcAft>
                <a:spcPts val="200"/>
              </a:spcAft>
            </a:pPr>
            <a:r>
              <a:rPr lang="it-IT" sz="1200" b="1">
                <a:solidFill>
                  <a:schemeClr val="tx2"/>
                </a:solidFill>
              </a:rPr>
              <a:t>Pubblicazione in Gazzetta Ufficiale UE</a:t>
            </a:r>
          </a:p>
          <a:p>
            <a:r>
              <a:rPr lang="it-IT" sz="1050" i="1">
                <a:solidFill>
                  <a:schemeClr val="tx1">
                    <a:lumMod val="75000"/>
                  </a:schemeClr>
                </a:solidFill>
              </a:rPr>
              <a:t>Giugno 2023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68471F0-8B99-F436-BDA9-72100B6C3BDF}"/>
              </a:ext>
            </a:extLst>
          </p:cNvPr>
          <p:cNvSpPr txBox="1"/>
          <p:nvPr/>
        </p:nvSpPr>
        <p:spPr>
          <a:xfrm>
            <a:off x="1093611" y="3145468"/>
            <a:ext cx="1799215" cy="648896"/>
          </a:xfrm>
          <a:prstGeom prst="rect">
            <a:avLst/>
          </a:prstGeom>
          <a:noFill/>
        </p:spPr>
        <p:txBody>
          <a:bodyPr wrap="square" lIns="72000" rIns="72000">
            <a:spAutoFit/>
          </a:bodyPr>
          <a:lstStyle/>
          <a:p>
            <a:pPr>
              <a:spcAft>
                <a:spcPts val="200"/>
              </a:spcAft>
            </a:pPr>
            <a:r>
              <a:rPr lang="it-IT" sz="1200" b="1">
                <a:solidFill>
                  <a:schemeClr val="tx2"/>
                </a:solidFill>
              </a:rPr>
              <a:t>Applicazione delle norme su </a:t>
            </a:r>
            <a:r>
              <a:rPr lang="it-IT" sz="1200" b="1" err="1">
                <a:solidFill>
                  <a:schemeClr val="tx2"/>
                </a:solidFill>
              </a:rPr>
              <a:t>ARTs</a:t>
            </a:r>
            <a:r>
              <a:rPr lang="it-IT" sz="1200" b="1">
                <a:solidFill>
                  <a:schemeClr val="tx2"/>
                </a:solidFill>
              </a:rPr>
              <a:t> e </a:t>
            </a:r>
            <a:r>
              <a:rPr lang="it-IT" sz="1200" b="1" err="1">
                <a:solidFill>
                  <a:schemeClr val="tx2"/>
                </a:solidFill>
              </a:rPr>
              <a:t>EMTs</a:t>
            </a:r>
            <a:endParaRPr lang="it-IT" sz="1200" b="1">
              <a:solidFill>
                <a:schemeClr val="tx2"/>
              </a:solidFill>
            </a:endParaRPr>
          </a:p>
          <a:p>
            <a:r>
              <a:rPr lang="it-IT" sz="1050" i="1">
                <a:solidFill>
                  <a:schemeClr val="tx1">
                    <a:lumMod val="75000"/>
                  </a:schemeClr>
                </a:solidFill>
              </a:rPr>
              <a:t>Giugno 2024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B43B88C-54F2-8E44-B328-5EE8E0A034C5}"/>
              </a:ext>
            </a:extLst>
          </p:cNvPr>
          <p:cNvSpPr txBox="1"/>
          <p:nvPr/>
        </p:nvSpPr>
        <p:spPr>
          <a:xfrm>
            <a:off x="1093612" y="3936677"/>
            <a:ext cx="1653306" cy="648896"/>
          </a:xfrm>
          <a:prstGeom prst="rect">
            <a:avLst/>
          </a:prstGeom>
          <a:noFill/>
        </p:spPr>
        <p:txBody>
          <a:bodyPr wrap="square" lIns="72000" rIns="72000">
            <a:spAutoFit/>
          </a:bodyPr>
          <a:lstStyle/>
          <a:p>
            <a:pPr>
              <a:spcAft>
                <a:spcPts val="200"/>
              </a:spcAft>
            </a:pPr>
            <a:r>
              <a:rPr lang="it-IT" sz="1200" b="1">
                <a:solidFill>
                  <a:schemeClr val="tx2"/>
                </a:solidFill>
              </a:rPr>
              <a:t>Applicazione generale della </a:t>
            </a:r>
            <a:r>
              <a:rPr lang="it-IT" sz="1200" b="1" err="1">
                <a:solidFill>
                  <a:schemeClr val="tx2"/>
                </a:solidFill>
              </a:rPr>
              <a:t>MiCAR</a:t>
            </a:r>
            <a:endParaRPr lang="it-IT" sz="1200" b="1">
              <a:solidFill>
                <a:schemeClr val="tx2"/>
              </a:solidFill>
            </a:endParaRPr>
          </a:p>
          <a:p>
            <a:r>
              <a:rPr lang="it-IT" sz="1050" i="1">
                <a:solidFill>
                  <a:schemeClr val="tx1">
                    <a:lumMod val="75000"/>
                  </a:schemeClr>
                </a:solidFill>
              </a:rPr>
              <a:t>Dicembre 2024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D870E78-53A9-4F07-0F86-716F652232D8}"/>
              </a:ext>
            </a:extLst>
          </p:cNvPr>
          <p:cNvSpPr txBox="1"/>
          <p:nvPr/>
        </p:nvSpPr>
        <p:spPr>
          <a:xfrm>
            <a:off x="1093611" y="4774509"/>
            <a:ext cx="1799209" cy="833562"/>
          </a:xfrm>
          <a:prstGeom prst="rect">
            <a:avLst/>
          </a:prstGeom>
          <a:noFill/>
        </p:spPr>
        <p:txBody>
          <a:bodyPr wrap="square" lIns="72000" rIns="72000">
            <a:spAutoFit/>
          </a:bodyPr>
          <a:lstStyle/>
          <a:p>
            <a:pPr>
              <a:spcAft>
                <a:spcPts val="200"/>
              </a:spcAft>
            </a:pPr>
            <a:r>
              <a:rPr lang="it-IT" sz="1200" b="1">
                <a:solidFill>
                  <a:schemeClr val="tx2"/>
                </a:solidFill>
              </a:rPr>
              <a:t>Fine periodo transitorio per operatori già attivi</a:t>
            </a:r>
          </a:p>
          <a:p>
            <a:r>
              <a:rPr lang="it-IT" sz="1050" i="1">
                <a:solidFill>
                  <a:schemeClr val="tx1">
                    <a:lumMod val="75000"/>
                  </a:schemeClr>
                </a:solidFill>
              </a:rPr>
              <a:t>Luglio 2026</a:t>
            </a:r>
          </a:p>
        </p:txBody>
      </p:sp>
      <p:sp>
        <p:nvSpPr>
          <p:cNvPr id="28" name="Rectangle 209">
            <a:extLst>
              <a:ext uri="{FF2B5EF4-FFF2-40B4-BE49-F238E27FC236}">
                <a16:creationId xmlns:a16="http://schemas.microsoft.com/office/drawing/2014/main" id="{754A1AEC-632F-429D-178E-5D9EA317FB7C}"/>
              </a:ext>
            </a:extLst>
          </p:cNvPr>
          <p:cNvSpPr/>
          <p:nvPr/>
        </p:nvSpPr>
        <p:spPr>
          <a:xfrm>
            <a:off x="3213418" y="1973414"/>
            <a:ext cx="2990262" cy="38164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it-IT" sz="1400" kern="0">
                <a:solidFill>
                  <a:srgbClr val="FFFFFF"/>
                </a:solidFill>
                <a:latin typeface="EYInterstate Light" panose="02000506000000020004" pitchFamily="2" charset="0"/>
              </a:rPr>
              <a:t>Il Regolamento (UE) 2023/1114 (“</a:t>
            </a:r>
            <a:r>
              <a:rPr lang="it-IT" sz="1400" kern="0" err="1">
                <a:solidFill>
                  <a:srgbClr val="FFFFFF"/>
                </a:solidFill>
                <a:latin typeface="EYInterstate Light" panose="02000506000000020004" pitchFamily="2" charset="0"/>
              </a:rPr>
              <a:t>MiCAR</a:t>
            </a:r>
            <a:r>
              <a:rPr lang="it-IT" sz="1400" kern="0">
                <a:solidFill>
                  <a:srgbClr val="FFFFFF"/>
                </a:solidFill>
                <a:latin typeface="EYInterstate Light" panose="02000506000000020004" pitchFamily="2" charset="0"/>
              </a:rPr>
              <a:t>”) </a:t>
            </a:r>
            <a:r>
              <a:rPr lang="it-IT" sz="1400" kern="0">
                <a:solidFill>
                  <a:schemeClr val="tx2"/>
                </a:solidFill>
                <a:latin typeface="EYInterstate Light" panose="02000506000000020004" pitchFamily="2" charset="0"/>
              </a:rPr>
              <a:t>non usa direttamente il termine </a:t>
            </a:r>
            <a:r>
              <a:rPr lang="it-IT" sz="1400" kern="0" err="1">
                <a:solidFill>
                  <a:schemeClr val="tx2"/>
                </a:solidFill>
                <a:latin typeface="EYInterstate Light" panose="02000506000000020004" pitchFamily="2" charset="0"/>
              </a:rPr>
              <a:t>stablecoin</a:t>
            </a:r>
            <a:r>
              <a:rPr lang="it-IT" sz="1400" kern="0">
                <a:solidFill>
                  <a:srgbClr val="FFFFFF"/>
                </a:solidFill>
                <a:latin typeface="EYInterstate Light" panose="02000506000000020004" pitchFamily="2" charset="0"/>
              </a:rPr>
              <a:t>, ma </a:t>
            </a:r>
            <a:r>
              <a:rPr lang="it-IT" sz="1400" kern="0">
                <a:solidFill>
                  <a:schemeClr val="tx2"/>
                </a:solidFill>
                <a:latin typeface="EYInterstate Light" panose="02000506000000020004" pitchFamily="2" charset="0"/>
              </a:rPr>
              <a:t>disciplina due categorie di cripto-attività </a:t>
            </a:r>
            <a:r>
              <a:rPr lang="it-IT" sz="1400" kern="0">
                <a:solidFill>
                  <a:srgbClr val="FFFFFF"/>
                </a:solidFill>
                <a:latin typeface="EYInterstate Light" panose="02000506000000020004" pitchFamily="2" charset="0"/>
              </a:rPr>
              <a:t>che rientrano nel concetto più ampio di </a:t>
            </a:r>
            <a:r>
              <a:rPr lang="it-IT" sz="1400" kern="0" err="1">
                <a:solidFill>
                  <a:srgbClr val="FFFFFF"/>
                </a:solidFill>
                <a:latin typeface="EYInterstate Light" panose="02000506000000020004" pitchFamily="2" charset="0"/>
              </a:rPr>
              <a:t>stablecoin</a:t>
            </a:r>
            <a:r>
              <a:rPr lang="it-IT" sz="1400" kern="0">
                <a:solidFill>
                  <a:srgbClr val="FFFFFF"/>
                </a:solidFill>
                <a:latin typeface="EYInterstate Light" panose="02000506000000020004" pitchFamily="2" charset="0"/>
              </a:rPr>
              <a:t>: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it-IT" sz="1400">
                <a:solidFill>
                  <a:schemeClr val="tx2"/>
                </a:solidFill>
              </a:rPr>
              <a:t>E-Money Tokens (EMT): </a:t>
            </a:r>
            <a:r>
              <a:rPr lang="it-IT" sz="1400"/>
              <a:t>Token che fanno riferimento al </a:t>
            </a:r>
            <a:r>
              <a:rPr lang="it-IT" sz="1400">
                <a:solidFill>
                  <a:schemeClr val="tx2"/>
                </a:solidFill>
              </a:rPr>
              <a:t>valore di una singola valuta ufficiale</a:t>
            </a:r>
            <a:r>
              <a:rPr lang="it-IT" sz="1400"/>
              <a:t> (es. euro, dollaro) e che sono </a:t>
            </a:r>
            <a:r>
              <a:rPr lang="it-IT" sz="1400">
                <a:solidFill>
                  <a:schemeClr val="tx2"/>
                </a:solidFill>
              </a:rPr>
              <a:t>considerati moneta elettronica </a:t>
            </a:r>
            <a:r>
              <a:rPr lang="it-IT" sz="1400"/>
              <a:t>ai sensi della Direttiva EMD2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it-IT" sz="1400">
                <a:solidFill>
                  <a:schemeClr val="tx2"/>
                </a:solidFill>
              </a:rPr>
              <a:t>Asset-</a:t>
            </a:r>
            <a:r>
              <a:rPr lang="it-IT" sz="1400" err="1">
                <a:solidFill>
                  <a:schemeClr val="tx2"/>
                </a:solidFill>
              </a:rPr>
              <a:t>Referenced</a:t>
            </a:r>
            <a:r>
              <a:rPr lang="it-IT" sz="1400">
                <a:solidFill>
                  <a:schemeClr val="tx2"/>
                </a:solidFill>
              </a:rPr>
              <a:t> Tokens (ART): </a:t>
            </a:r>
            <a:r>
              <a:rPr lang="it-IT" sz="1400"/>
              <a:t>Token che fanno </a:t>
            </a:r>
            <a:r>
              <a:rPr lang="it-IT" sz="1400">
                <a:solidFill>
                  <a:schemeClr val="tx2"/>
                </a:solidFill>
              </a:rPr>
              <a:t>riferimento a più attività o valori</a:t>
            </a:r>
            <a:r>
              <a:rPr lang="it-IT" sz="1400"/>
              <a:t>, come un paniere di valute, materie prime o altri asset</a:t>
            </a:r>
            <a:endParaRPr lang="it-IT" sz="1400" kern="0">
              <a:solidFill>
                <a:srgbClr val="FFFFFF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29" name="Rectangle 209">
            <a:extLst>
              <a:ext uri="{FF2B5EF4-FFF2-40B4-BE49-F238E27FC236}">
                <a16:creationId xmlns:a16="http://schemas.microsoft.com/office/drawing/2014/main" id="{C02242EA-DF7C-6FC4-89DC-B1EB4AEEF052}"/>
              </a:ext>
            </a:extLst>
          </p:cNvPr>
          <p:cNvSpPr/>
          <p:nvPr/>
        </p:nvSpPr>
        <p:spPr>
          <a:xfrm>
            <a:off x="485523" y="1295237"/>
            <a:ext cx="411750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en-GB" b="1" kern="0">
                <a:latin typeface="EYInterstate Light" panose="02000506000000020004" pitchFamily="2" charset="0"/>
              </a:rPr>
              <a:t>LE STABLECOIN NELLA </a:t>
            </a:r>
            <a:r>
              <a:rPr lang="en-GB" b="1" kern="0" err="1">
                <a:latin typeface="EYInterstate Light" panose="02000506000000020004" pitchFamily="2" charset="0"/>
              </a:rPr>
              <a:t>MiCAR</a:t>
            </a:r>
            <a:endParaRPr lang="en-GB" b="1" kern="0">
              <a:latin typeface="EYInterstate Light" panose="02000506000000020004" pitchFamily="2" charset="0"/>
            </a:endParaRPr>
          </a:p>
        </p:txBody>
      </p:sp>
      <p:sp>
        <p:nvSpPr>
          <p:cNvPr id="30" name="Arrow: Pentagon 85">
            <a:extLst>
              <a:ext uri="{FF2B5EF4-FFF2-40B4-BE49-F238E27FC236}">
                <a16:creationId xmlns:a16="http://schemas.microsoft.com/office/drawing/2014/main" id="{207ACE1C-4D73-CE1F-DB42-AF28B404EF62}"/>
              </a:ext>
            </a:extLst>
          </p:cNvPr>
          <p:cNvSpPr/>
          <p:nvPr/>
        </p:nvSpPr>
        <p:spPr>
          <a:xfrm>
            <a:off x="6909015" y="2358740"/>
            <a:ext cx="1035591" cy="1904341"/>
          </a:xfrm>
          <a:prstGeom prst="homePlate">
            <a:avLst>
              <a:gd name="adj" fmla="val 0"/>
            </a:avLst>
          </a:prstGeom>
          <a:solidFill>
            <a:schemeClr val="tx2">
              <a:alpha val="66336"/>
            </a:schemeClr>
          </a:solidFill>
          <a:ln w="3175" cap="flat" cmpd="sng" algn="ctr">
            <a:noFill/>
            <a:prstDash val="dash"/>
            <a:miter lim="800000"/>
          </a:ln>
          <a:effectLst/>
        </p:spPr>
        <p:txBody>
          <a:bodyPr lIns="72000" tIns="108000" rIns="72000" bIns="108000" rtlCol="0" anchor="ctr" anchorCtr="0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Tx/>
              <a:buFontTx/>
              <a:buNone/>
              <a:tabLst/>
              <a:defRPr/>
            </a:pPr>
            <a:r>
              <a:rPr kumimoji="0" lang="it-IT" sz="12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EYInterstate Light"/>
                <a:ea typeface="+mn-ea"/>
                <a:cs typeface="+mn-cs"/>
              </a:rPr>
              <a:t>TOTALE </a:t>
            </a:r>
            <a:r>
              <a:rPr lang="it-IT" sz="1200" b="1" kern="0">
                <a:latin typeface="EYInterstate Light"/>
              </a:rPr>
              <a:t>ISSUER </a:t>
            </a:r>
            <a:r>
              <a:rPr kumimoji="0" lang="it-IT" sz="12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EYInterstate Light"/>
                <a:ea typeface="+mn-ea"/>
                <a:cs typeface="+mn-cs"/>
              </a:rPr>
              <a:t>EMT</a:t>
            </a:r>
          </a:p>
        </p:txBody>
      </p:sp>
      <p:sp>
        <p:nvSpPr>
          <p:cNvPr id="31" name="Arrow: Pentagon 86">
            <a:extLst>
              <a:ext uri="{FF2B5EF4-FFF2-40B4-BE49-F238E27FC236}">
                <a16:creationId xmlns:a16="http://schemas.microsoft.com/office/drawing/2014/main" id="{C8E34526-390F-D335-603C-CB82D1B32FF0}"/>
              </a:ext>
            </a:extLst>
          </p:cNvPr>
          <p:cNvSpPr/>
          <p:nvPr/>
        </p:nvSpPr>
        <p:spPr>
          <a:xfrm>
            <a:off x="7944606" y="2358740"/>
            <a:ext cx="3709406" cy="1904341"/>
          </a:xfrm>
          <a:prstGeom prst="homePlate">
            <a:avLst>
              <a:gd name="adj" fmla="val 0"/>
            </a:avLst>
          </a:prstGeom>
          <a:solidFill>
            <a:schemeClr val="bg1">
              <a:lumMod val="90000"/>
              <a:lumOff val="10000"/>
            </a:schemeClr>
          </a:solidFill>
          <a:ln w="3175" cap="flat" cmpd="sng" algn="ctr">
            <a:noFill/>
            <a:prstDash val="dash"/>
            <a:miter lim="800000"/>
          </a:ln>
          <a:effectLst/>
        </p:spPr>
        <p:txBody>
          <a:bodyPr lIns="72000" tIns="108000" rIns="72000" bIns="108000" rtlCol="0" anchor="ctr" anchorCtr="0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Tx/>
              <a:buFontTx/>
              <a:buNone/>
              <a:tabLst/>
              <a:defRPr/>
            </a:pPr>
            <a:r>
              <a:rPr kumimoji="0" lang="it-IT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15</a:t>
            </a:r>
          </a:p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E600"/>
              </a:buClr>
              <a:buSzTx/>
              <a:buFontTx/>
              <a:buNone/>
              <a:tabLst/>
              <a:defRPr/>
            </a:pPr>
            <a:r>
              <a:rPr kumimoji="0" lang="it-IT" sz="1200" b="0" i="1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Provider </a:t>
            </a:r>
          </a:p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E600"/>
              </a:buClr>
              <a:buSzTx/>
              <a:buFontTx/>
              <a:buNone/>
              <a:tabLst/>
              <a:defRPr/>
            </a:pPr>
            <a:r>
              <a:rPr kumimoji="0" lang="it-IT" sz="1200" b="0" i="1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di EMT attivi</a:t>
            </a:r>
          </a:p>
        </p:txBody>
      </p:sp>
      <p:sp>
        <p:nvSpPr>
          <p:cNvPr id="32" name="Arrow: Pentagon 87">
            <a:extLst>
              <a:ext uri="{FF2B5EF4-FFF2-40B4-BE49-F238E27FC236}">
                <a16:creationId xmlns:a16="http://schemas.microsoft.com/office/drawing/2014/main" id="{08AE2D5E-7525-5D66-342D-32A3F9D5029A}"/>
              </a:ext>
            </a:extLst>
          </p:cNvPr>
          <p:cNvSpPr/>
          <p:nvPr/>
        </p:nvSpPr>
        <p:spPr>
          <a:xfrm>
            <a:off x="6909015" y="4441739"/>
            <a:ext cx="1035591" cy="1226631"/>
          </a:xfrm>
          <a:prstGeom prst="homePlate">
            <a:avLst>
              <a:gd name="adj" fmla="val 0"/>
            </a:avLst>
          </a:prstGeom>
          <a:solidFill>
            <a:schemeClr val="tx2">
              <a:alpha val="66336"/>
            </a:schemeClr>
          </a:solidFill>
          <a:ln w="3175" cap="flat" cmpd="sng" algn="ctr">
            <a:noFill/>
            <a:prstDash val="dash"/>
            <a:miter lim="800000"/>
          </a:ln>
          <a:effectLst/>
        </p:spPr>
        <p:txBody>
          <a:bodyPr lIns="72000" tIns="108000" rIns="72000" bIns="108000" rtlCol="0" anchor="ctr" anchorCtr="0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Tx/>
              <a:buFontTx/>
              <a:buNone/>
              <a:tabLst/>
              <a:defRPr/>
            </a:pPr>
            <a:r>
              <a:rPr kumimoji="0" lang="it-IT" sz="12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EYInterstate Light"/>
                <a:ea typeface="+mn-ea"/>
                <a:cs typeface="+mn-cs"/>
              </a:rPr>
              <a:t>TOTALE EMT IN USO</a:t>
            </a:r>
          </a:p>
        </p:txBody>
      </p:sp>
      <p:sp>
        <p:nvSpPr>
          <p:cNvPr id="33" name="Arrow: Pentagon 88">
            <a:extLst>
              <a:ext uri="{FF2B5EF4-FFF2-40B4-BE49-F238E27FC236}">
                <a16:creationId xmlns:a16="http://schemas.microsoft.com/office/drawing/2014/main" id="{BA18AC14-5623-169F-1E93-D4DE1B7D7286}"/>
              </a:ext>
            </a:extLst>
          </p:cNvPr>
          <p:cNvSpPr/>
          <p:nvPr/>
        </p:nvSpPr>
        <p:spPr>
          <a:xfrm>
            <a:off x="7944606" y="4441739"/>
            <a:ext cx="3709406" cy="1226631"/>
          </a:xfrm>
          <a:prstGeom prst="homePlate">
            <a:avLst>
              <a:gd name="adj" fmla="val 0"/>
            </a:avLst>
          </a:prstGeom>
          <a:solidFill>
            <a:schemeClr val="bg1">
              <a:lumMod val="90000"/>
              <a:lumOff val="10000"/>
            </a:schemeClr>
          </a:solidFill>
          <a:ln w="3175" cap="flat" cmpd="sng" algn="ctr">
            <a:noFill/>
            <a:prstDash val="dash"/>
            <a:miter lim="800000"/>
          </a:ln>
          <a:effectLst/>
        </p:spPr>
        <p:txBody>
          <a:bodyPr lIns="72000" tIns="108000" rIns="72000" bIns="108000" rtlCol="0" anchor="ctr" anchorCtr="0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Tx/>
              <a:buFontTx/>
              <a:buNone/>
              <a:tabLst/>
              <a:defRPr/>
            </a:pPr>
            <a:r>
              <a:rPr kumimoji="0" lang="it-IT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23</a:t>
            </a:r>
          </a:p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E600"/>
              </a:buClr>
              <a:buSzTx/>
              <a:buFontTx/>
              <a:buNone/>
              <a:tabLst/>
              <a:defRPr/>
            </a:pPr>
            <a:r>
              <a:rPr kumimoji="0" lang="it-IT" sz="1200" b="0" i="1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EMT </a:t>
            </a:r>
          </a:p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E600"/>
              </a:buClr>
              <a:buSzTx/>
              <a:buFontTx/>
              <a:buNone/>
              <a:tabLst/>
              <a:defRPr/>
            </a:pPr>
            <a:r>
              <a:rPr kumimoji="0" lang="it-IT" sz="1200" b="0" i="1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in circolazione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7ED1A14-90C1-3F41-A81E-892C8E9B1B2C}"/>
              </a:ext>
            </a:extLst>
          </p:cNvPr>
          <p:cNvSpPr/>
          <p:nvPr/>
        </p:nvSpPr>
        <p:spPr>
          <a:xfrm>
            <a:off x="9311428" y="4556580"/>
            <a:ext cx="1065098" cy="426623"/>
          </a:xfrm>
          <a:prstGeom prst="rect">
            <a:avLst/>
          </a:prstGeom>
          <a:noFill/>
          <a:ln w="3175" cap="flat" cmpd="sng" algn="ctr">
            <a:solidFill>
              <a:srgbClr val="FFFFFF"/>
            </a:solidFill>
            <a:prstDash val="solid"/>
          </a:ln>
          <a:effectLst/>
        </p:spPr>
        <p:txBody>
          <a:bodyPr lIns="72000" tIns="36000" rIns="72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13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1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Euro Token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F42F655-4E7C-4FC0-7FF7-CE8482E53CDA}"/>
              </a:ext>
            </a:extLst>
          </p:cNvPr>
          <p:cNvSpPr/>
          <p:nvPr/>
        </p:nvSpPr>
        <p:spPr>
          <a:xfrm>
            <a:off x="10550088" y="4556580"/>
            <a:ext cx="1065098" cy="426623"/>
          </a:xfrm>
          <a:prstGeom prst="rect">
            <a:avLst/>
          </a:prstGeom>
          <a:noFill/>
          <a:ln w="3175" cap="flat" cmpd="sng" algn="ctr">
            <a:solidFill>
              <a:srgbClr val="FFFFFF"/>
            </a:solidFill>
            <a:prstDash val="solid"/>
          </a:ln>
          <a:effectLst/>
        </p:spPr>
        <p:txBody>
          <a:bodyPr lIns="72000" tIns="36000" rIns="72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8 </a:t>
            </a:r>
          </a:p>
          <a:p>
            <a:pPr algn="ctr">
              <a:spcAft>
                <a:spcPts val="300"/>
              </a:spcAft>
              <a:defRPr/>
            </a:pPr>
            <a:r>
              <a:rPr lang="it-IT" sz="1200" b="1" i="1" kern="0">
                <a:solidFill>
                  <a:schemeClr val="tx1">
                    <a:lumMod val="75000"/>
                  </a:schemeClr>
                </a:solidFill>
                <a:latin typeface="EYInterstate Light"/>
              </a:rPr>
              <a:t>USD Token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C33F16C-AF53-72A1-B0D3-F1ED57AFAF6C}"/>
              </a:ext>
            </a:extLst>
          </p:cNvPr>
          <p:cNvSpPr/>
          <p:nvPr/>
        </p:nvSpPr>
        <p:spPr>
          <a:xfrm>
            <a:off x="9311428" y="5079593"/>
            <a:ext cx="1065098" cy="426623"/>
          </a:xfrm>
          <a:prstGeom prst="rect">
            <a:avLst/>
          </a:prstGeom>
          <a:noFill/>
          <a:ln w="3175" cap="flat" cmpd="sng" algn="ctr">
            <a:solidFill>
              <a:srgbClr val="FFFFFF"/>
            </a:solidFill>
            <a:prstDash val="solid"/>
          </a:ln>
          <a:effectLst/>
        </p:spPr>
        <p:txBody>
          <a:bodyPr lIns="72000" tIns="36000" rIns="72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1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1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GBP Token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6880B0B-F723-EFFF-738D-D32EBEBC3F64}"/>
              </a:ext>
            </a:extLst>
          </p:cNvPr>
          <p:cNvSpPr/>
          <p:nvPr/>
        </p:nvSpPr>
        <p:spPr>
          <a:xfrm>
            <a:off x="10550088" y="5079593"/>
            <a:ext cx="1065098" cy="426623"/>
          </a:xfrm>
          <a:prstGeom prst="rect">
            <a:avLst/>
          </a:prstGeom>
          <a:noFill/>
          <a:ln w="3175" cap="flat" cmpd="sng" algn="ctr">
            <a:solidFill>
              <a:srgbClr val="FFFFFF"/>
            </a:solidFill>
            <a:prstDash val="solid"/>
          </a:ln>
          <a:effectLst/>
        </p:spPr>
        <p:txBody>
          <a:bodyPr lIns="72000" tIns="36000" rIns="72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1</a:t>
            </a:r>
          </a:p>
          <a:p>
            <a:pPr algn="ctr">
              <a:spcAft>
                <a:spcPts val="300"/>
              </a:spcAft>
              <a:defRPr/>
            </a:pPr>
            <a:r>
              <a:rPr lang="it-IT" sz="1200" b="1" i="1" kern="0">
                <a:solidFill>
                  <a:schemeClr val="tx1">
                    <a:lumMod val="75000"/>
                  </a:schemeClr>
                </a:solidFill>
                <a:latin typeface="EYInterstate Light"/>
              </a:rPr>
              <a:t>CZK Token</a:t>
            </a:r>
          </a:p>
        </p:txBody>
      </p:sp>
      <p:sp>
        <p:nvSpPr>
          <p:cNvPr id="38" name="Trapezoid 13">
            <a:extLst>
              <a:ext uri="{FF2B5EF4-FFF2-40B4-BE49-F238E27FC236}">
                <a16:creationId xmlns:a16="http://schemas.microsoft.com/office/drawing/2014/main" id="{7DC60756-2380-5D99-A094-70930200624F}"/>
              </a:ext>
            </a:extLst>
          </p:cNvPr>
          <p:cNvSpPr/>
          <p:nvPr/>
        </p:nvSpPr>
        <p:spPr>
          <a:xfrm rot="16200000" flipH="1">
            <a:off x="5697682" y="3387318"/>
            <a:ext cx="1584118" cy="467670"/>
          </a:xfrm>
          <a:prstGeom prst="trapezoid">
            <a:avLst>
              <a:gd name="adj" fmla="val 169363"/>
            </a:avLst>
          </a:prstGeom>
          <a:solidFill>
            <a:schemeClr val="tx2">
              <a:lumMod val="50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t" anchorCtr="0"/>
          <a:lstStyle/>
          <a:p>
            <a:pPr marL="252000" marR="0" indent="-252000" algn="l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  <a:buSzTx/>
              <a:buFont typeface="Wingdings" pitchFamily="2" charset="2"/>
              <a:buChar char="§"/>
              <a:tabLst/>
            </a:pPr>
            <a:endParaRPr kumimoji="0" lang="it-IT" sz="2000" b="0" i="0" u="none" strike="noStrike" kern="0" cap="none" spc="0" normalizeH="0" baseline="0" noProof="0">
              <a:ln>
                <a:noFill/>
              </a:ln>
              <a:solidFill>
                <a:srgbClr val="1A1A24"/>
              </a:solidFill>
              <a:effectLst/>
              <a:uLnTx/>
              <a:uFillTx/>
            </a:endParaRPr>
          </a:p>
        </p:txBody>
      </p:sp>
      <p:sp>
        <p:nvSpPr>
          <p:cNvPr id="39" name="Rectangle 209">
            <a:extLst>
              <a:ext uri="{FF2B5EF4-FFF2-40B4-BE49-F238E27FC236}">
                <a16:creationId xmlns:a16="http://schemas.microsoft.com/office/drawing/2014/main" id="{703F2295-91EB-E917-9708-C801D585E408}"/>
              </a:ext>
            </a:extLst>
          </p:cNvPr>
          <p:cNvSpPr/>
          <p:nvPr/>
        </p:nvSpPr>
        <p:spPr>
          <a:xfrm rot="16200000">
            <a:off x="-118553" y="3741878"/>
            <a:ext cx="1192694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en-GB" sz="1100" i="1" kern="0">
                <a:latin typeface="EYInterstate Light" panose="02000506000000020004" pitchFamily="2" charset="0"/>
              </a:rPr>
              <a:t>ROADMAP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2E286CEA-11FE-191A-2603-77B9B39B4DDA}"/>
              </a:ext>
            </a:extLst>
          </p:cNvPr>
          <p:cNvSpPr/>
          <p:nvPr/>
        </p:nvSpPr>
        <p:spPr>
          <a:xfrm>
            <a:off x="9311428" y="2771394"/>
            <a:ext cx="621364" cy="352581"/>
          </a:xfrm>
          <a:prstGeom prst="rect">
            <a:avLst/>
          </a:prstGeom>
          <a:noFill/>
          <a:ln w="3175" cap="flat" cmpd="sng" algn="ctr">
            <a:solidFill>
              <a:srgbClr val="FFFFFF"/>
            </a:solidFill>
            <a:prstDash val="solid"/>
          </a:ln>
          <a:effectLst/>
        </p:spPr>
        <p:txBody>
          <a:bodyPr lIns="72000" tIns="36000" rIns="72000" rtlCol="0" anchor="ctr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3</a:t>
            </a: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770FA785-AEBB-F65B-B979-4BC7647FA58A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6FBFB"/>
              </a:clrFrom>
              <a:clrTo>
                <a:srgbClr val="F6FBFB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534136" y="2780173"/>
            <a:ext cx="349228" cy="279384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A1345E41-54D6-1D65-4BB6-49A635062052}"/>
              </a:ext>
            </a:extLst>
          </p:cNvPr>
          <p:cNvSpPr/>
          <p:nvPr/>
        </p:nvSpPr>
        <p:spPr>
          <a:xfrm>
            <a:off x="10153818" y="2771394"/>
            <a:ext cx="621364" cy="352581"/>
          </a:xfrm>
          <a:prstGeom prst="rect">
            <a:avLst/>
          </a:prstGeom>
          <a:noFill/>
          <a:ln w="3175" cap="flat" cmpd="sng" algn="ctr">
            <a:solidFill>
              <a:srgbClr val="FFFFFF"/>
            </a:solidFill>
            <a:prstDash val="solid"/>
          </a:ln>
          <a:effectLst/>
        </p:spPr>
        <p:txBody>
          <a:bodyPr lIns="72000" tIns="36000" rIns="72000" rtlCol="0" anchor="ctr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2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F230F0BA-F571-2300-FC8A-708925A01D6B}"/>
              </a:ext>
            </a:extLst>
          </p:cNvPr>
          <p:cNvSpPr/>
          <p:nvPr/>
        </p:nvSpPr>
        <p:spPr>
          <a:xfrm>
            <a:off x="10996207" y="2771394"/>
            <a:ext cx="621364" cy="352581"/>
          </a:xfrm>
          <a:prstGeom prst="rect">
            <a:avLst/>
          </a:prstGeom>
          <a:noFill/>
          <a:ln w="3175" cap="flat" cmpd="sng" algn="ctr">
            <a:solidFill>
              <a:srgbClr val="FFFFFF"/>
            </a:solidFill>
            <a:prstDash val="solid"/>
          </a:ln>
          <a:effectLst/>
        </p:spPr>
        <p:txBody>
          <a:bodyPr lIns="72000" tIns="36000" rIns="72000" rtlCol="0" anchor="ctr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2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3FB22682-281E-A0E7-4ECD-5DF7A08EC4AC}"/>
              </a:ext>
            </a:extLst>
          </p:cNvPr>
          <p:cNvSpPr/>
          <p:nvPr/>
        </p:nvSpPr>
        <p:spPr>
          <a:xfrm>
            <a:off x="9311428" y="3309037"/>
            <a:ext cx="621364" cy="352581"/>
          </a:xfrm>
          <a:prstGeom prst="rect">
            <a:avLst/>
          </a:prstGeom>
          <a:noFill/>
          <a:ln w="3175" cap="flat" cmpd="sng" algn="ctr">
            <a:solidFill>
              <a:srgbClr val="FFFFFF"/>
            </a:solidFill>
            <a:prstDash val="solid"/>
          </a:ln>
          <a:effectLst/>
        </p:spPr>
        <p:txBody>
          <a:bodyPr lIns="72000" tIns="36000" rIns="72000" rtlCol="0" anchor="ctr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2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95B00B0-1CA0-59FE-93AC-8D630074807C}"/>
              </a:ext>
            </a:extLst>
          </p:cNvPr>
          <p:cNvSpPr/>
          <p:nvPr/>
        </p:nvSpPr>
        <p:spPr>
          <a:xfrm>
            <a:off x="10153818" y="3309037"/>
            <a:ext cx="621364" cy="352581"/>
          </a:xfrm>
          <a:prstGeom prst="rect">
            <a:avLst/>
          </a:prstGeom>
          <a:noFill/>
          <a:ln w="3175" cap="flat" cmpd="sng" algn="ctr">
            <a:solidFill>
              <a:srgbClr val="FFFFFF"/>
            </a:solidFill>
            <a:prstDash val="solid"/>
          </a:ln>
          <a:effectLst/>
        </p:spPr>
        <p:txBody>
          <a:bodyPr lIns="72000" tIns="36000" rIns="72000" rtlCol="0" anchor="ctr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it-IT" sz="1400" b="1" kern="0">
                <a:solidFill>
                  <a:srgbClr val="FFFFFF"/>
                </a:solidFill>
                <a:latin typeface="EYInterstate Light"/>
              </a:rPr>
              <a:t>2</a:t>
            </a:r>
            <a:endParaRPr kumimoji="0" lang="it-IT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D6CD3721-01B6-2793-5D58-8B58E69E8060}"/>
              </a:ext>
            </a:extLst>
          </p:cNvPr>
          <p:cNvSpPr/>
          <p:nvPr/>
        </p:nvSpPr>
        <p:spPr>
          <a:xfrm>
            <a:off x="10996207" y="3309037"/>
            <a:ext cx="621364" cy="352581"/>
          </a:xfrm>
          <a:prstGeom prst="rect">
            <a:avLst/>
          </a:prstGeom>
          <a:noFill/>
          <a:ln w="3175" cap="flat" cmpd="sng" algn="ctr">
            <a:solidFill>
              <a:srgbClr val="FFFFFF"/>
            </a:solidFill>
            <a:prstDash val="solid"/>
          </a:ln>
          <a:effectLst/>
        </p:spPr>
        <p:txBody>
          <a:bodyPr lIns="72000" tIns="36000" rIns="72000" rtlCol="0" anchor="ctr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1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B1945915-2A4C-4175-5096-292ADFC11967}"/>
              </a:ext>
            </a:extLst>
          </p:cNvPr>
          <p:cNvSpPr/>
          <p:nvPr/>
        </p:nvSpPr>
        <p:spPr>
          <a:xfrm>
            <a:off x="9311428" y="3852339"/>
            <a:ext cx="621364" cy="352581"/>
          </a:xfrm>
          <a:prstGeom prst="rect">
            <a:avLst/>
          </a:prstGeom>
          <a:noFill/>
          <a:ln w="3175" cap="flat" cmpd="sng" algn="ctr">
            <a:solidFill>
              <a:srgbClr val="FFFFFF"/>
            </a:solidFill>
            <a:prstDash val="solid"/>
          </a:ln>
          <a:effectLst/>
        </p:spPr>
        <p:txBody>
          <a:bodyPr lIns="72000" tIns="36000" rIns="72000" rtlCol="0" anchor="ctr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1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49DA4FFA-1C49-61ED-AC8E-D5E6ABF1BCCE}"/>
              </a:ext>
            </a:extLst>
          </p:cNvPr>
          <p:cNvSpPr/>
          <p:nvPr/>
        </p:nvSpPr>
        <p:spPr>
          <a:xfrm>
            <a:off x="10153818" y="3852339"/>
            <a:ext cx="621364" cy="352581"/>
          </a:xfrm>
          <a:prstGeom prst="rect">
            <a:avLst/>
          </a:prstGeom>
          <a:noFill/>
          <a:ln w="3175" cap="flat" cmpd="sng" algn="ctr">
            <a:solidFill>
              <a:srgbClr val="FFFFFF"/>
            </a:solidFill>
            <a:prstDash val="solid"/>
          </a:ln>
          <a:effectLst/>
        </p:spPr>
        <p:txBody>
          <a:bodyPr lIns="72000" tIns="36000" rIns="72000" rtlCol="0" anchor="ctr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it-IT" sz="1400" b="1" kern="0">
                <a:solidFill>
                  <a:srgbClr val="FFFFFF"/>
                </a:solidFill>
                <a:latin typeface="EYInterstate Light"/>
              </a:rPr>
              <a:t>1</a:t>
            </a:r>
            <a:endParaRPr kumimoji="0" lang="it-IT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977C6E29-B992-EF09-0F81-159EF833AF70}"/>
              </a:ext>
            </a:extLst>
          </p:cNvPr>
          <p:cNvSpPr/>
          <p:nvPr/>
        </p:nvSpPr>
        <p:spPr>
          <a:xfrm>
            <a:off x="10996207" y="3852339"/>
            <a:ext cx="621364" cy="352581"/>
          </a:xfrm>
          <a:prstGeom prst="rect">
            <a:avLst/>
          </a:prstGeom>
          <a:noFill/>
          <a:ln w="3175" cap="flat" cmpd="sng" algn="ctr">
            <a:solidFill>
              <a:srgbClr val="FFFFFF"/>
            </a:solidFill>
            <a:prstDash val="solid"/>
          </a:ln>
          <a:effectLst/>
        </p:spPr>
        <p:txBody>
          <a:bodyPr lIns="72000" tIns="36000" rIns="72000" rtlCol="0" anchor="ctr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it-IT" sz="1400" b="1" kern="0">
                <a:solidFill>
                  <a:srgbClr val="FFFFFF"/>
                </a:solidFill>
                <a:latin typeface="EYInterstate Light"/>
              </a:rPr>
              <a:t>1</a:t>
            </a:r>
            <a:endParaRPr kumimoji="0" lang="it-IT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687913DF-6270-B062-19CE-D0868F4F4437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6FBFB"/>
              </a:clrFrom>
              <a:clrTo>
                <a:srgbClr val="F6FBFB">
                  <a:alpha val="0"/>
                </a:srgbClr>
              </a:clrTo>
            </a:clrChange>
          </a:blip>
          <a:srcRect b="94318"/>
          <a:stretch>
            <a:fillRect/>
          </a:stretch>
        </p:blipFill>
        <p:spPr>
          <a:xfrm>
            <a:off x="10440162" y="2826633"/>
            <a:ext cx="332634" cy="251817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03CC61D3-8B23-D612-0684-8BABBF5B224B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6FBFB"/>
              </a:clrFrom>
              <a:clrTo>
                <a:srgbClr val="F6FBFB">
                  <a:alpha val="0"/>
                </a:srgbClr>
              </a:clrTo>
            </a:clrChange>
          </a:blip>
          <a:srcRect l="5179" t="11601" r="-5180" b="80060"/>
          <a:stretch>
            <a:fillRect/>
          </a:stretch>
        </p:blipFill>
        <p:spPr>
          <a:xfrm>
            <a:off x="11284936" y="2743398"/>
            <a:ext cx="332635" cy="369552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EA7D69E4-7663-B646-D7C9-2E149B62B63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6FBFB"/>
              </a:clrFrom>
              <a:clrTo>
                <a:srgbClr val="F6FBFB">
                  <a:alpha val="0"/>
                </a:srgbClr>
              </a:clrTo>
            </a:clrChange>
          </a:blip>
          <a:srcRect t="26095" r="-9503" b="66312"/>
          <a:stretch>
            <a:fillRect/>
          </a:stretch>
        </p:blipFill>
        <p:spPr>
          <a:xfrm>
            <a:off x="9551462" y="3318959"/>
            <a:ext cx="364245" cy="336484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F4EF699D-9704-22A0-06CF-89C36C60E03A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6FBFB"/>
              </a:clrFrom>
              <a:clrTo>
                <a:srgbClr val="F6FBFB">
                  <a:alpha val="0"/>
                </a:srgbClr>
              </a:clrTo>
            </a:clrChange>
          </a:blip>
          <a:srcRect l="-18670" t="40615" r="-7251" b="52919"/>
          <a:stretch>
            <a:fillRect/>
          </a:stretch>
        </p:blipFill>
        <p:spPr>
          <a:xfrm>
            <a:off x="10376526" y="3396755"/>
            <a:ext cx="418855" cy="286556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4C8A40A1-7FB8-FA28-4BA1-0DB7135B4B49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6FBFB"/>
              </a:clrFrom>
              <a:clrTo>
                <a:srgbClr val="F6FBFB">
                  <a:alpha val="0"/>
                </a:srgbClr>
              </a:clrTo>
            </a:clrChange>
          </a:blip>
          <a:srcRect t="52369" b="40026"/>
          <a:stretch>
            <a:fillRect/>
          </a:stretch>
        </p:blipFill>
        <p:spPr>
          <a:xfrm>
            <a:off x="11282552" y="3307411"/>
            <a:ext cx="332634" cy="337008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5C513A71-EC66-15B0-6509-66707E7CCB1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6FBFB"/>
              </a:clrFrom>
              <a:clrTo>
                <a:srgbClr val="F6FBFB">
                  <a:alpha val="0"/>
                </a:srgbClr>
              </a:clrTo>
            </a:clrChange>
          </a:blip>
          <a:srcRect t="65430" b="25814"/>
          <a:stretch>
            <a:fillRect/>
          </a:stretch>
        </p:blipFill>
        <p:spPr>
          <a:xfrm>
            <a:off x="9567267" y="3834608"/>
            <a:ext cx="332634" cy="388042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0C1ECF65-FBF7-BA9D-7455-E69B2B761309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6FBFB"/>
              </a:clrFrom>
              <a:clrTo>
                <a:srgbClr val="F6FBFB">
                  <a:alpha val="0"/>
                </a:srgbClr>
              </a:clrTo>
            </a:clrChange>
          </a:blip>
          <a:srcRect t="79732" b="13887"/>
          <a:stretch>
            <a:fillRect/>
          </a:stretch>
        </p:blipFill>
        <p:spPr>
          <a:xfrm>
            <a:off x="10427582" y="3881909"/>
            <a:ext cx="332634" cy="282814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B6EFC539-3C40-7AD4-9375-C428766AF6BF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6FBFB"/>
              </a:clrFrom>
              <a:clrTo>
                <a:srgbClr val="F6FBFB">
                  <a:alpha val="0"/>
                </a:srgbClr>
              </a:clrTo>
            </a:clrChange>
          </a:blip>
          <a:srcRect t="92691"/>
          <a:stretch>
            <a:fillRect/>
          </a:stretch>
        </p:blipFill>
        <p:spPr>
          <a:xfrm>
            <a:off x="11267586" y="3862884"/>
            <a:ext cx="332634" cy="323898"/>
          </a:xfrm>
          <a:prstGeom prst="rect">
            <a:avLst/>
          </a:prstGeom>
        </p:spPr>
      </p:pic>
      <p:sp>
        <p:nvSpPr>
          <p:cNvPr id="58" name="Rectangle 209">
            <a:extLst>
              <a:ext uri="{FF2B5EF4-FFF2-40B4-BE49-F238E27FC236}">
                <a16:creationId xmlns:a16="http://schemas.microsoft.com/office/drawing/2014/main" id="{E8088431-BCA5-4632-F405-3C88C8D026D8}"/>
              </a:ext>
            </a:extLst>
          </p:cNvPr>
          <p:cNvSpPr/>
          <p:nvPr/>
        </p:nvSpPr>
        <p:spPr>
          <a:xfrm>
            <a:off x="9484665" y="2480429"/>
            <a:ext cx="1920845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en-GB" sz="1100" i="1" kern="0">
                <a:latin typeface="EYInterstate Light" panose="02000506000000020004" pitchFamily="2" charset="0"/>
              </a:rPr>
              <a:t>DISTRIBUZIONE GEOGRAFICA</a:t>
            </a: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0610B562-5BC1-9FE5-79C9-295140A2E21B}"/>
              </a:ext>
            </a:extLst>
          </p:cNvPr>
          <p:cNvSpPr/>
          <p:nvPr/>
        </p:nvSpPr>
        <p:spPr>
          <a:xfrm>
            <a:off x="756637" y="3201849"/>
            <a:ext cx="223532" cy="221811"/>
          </a:xfrm>
          <a:prstGeom prst="ellipse">
            <a:avLst/>
          </a:prstGeom>
          <a:solidFill>
            <a:schemeClr val="tx2"/>
          </a:solidFill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/>
          <a:lstStyle/>
          <a:p>
            <a:pPr marL="252000" indent="-2520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it-IT" sz="2000" noProof="0">
              <a:solidFill>
                <a:schemeClr val="tx1"/>
              </a:solidFill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C597066F-F3C1-0A7E-DFC4-31F92E21A1B6}"/>
              </a:ext>
            </a:extLst>
          </p:cNvPr>
          <p:cNvSpPr/>
          <p:nvPr/>
        </p:nvSpPr>
        <p:spPr>
          <a:xfrm>
            <a:off x="756637" y="3968765"/>
            <a:ext cx="223532" cy="221811"/>
          </a:xfrm>
          <a:prstGeom prst="ellipse">
            <a:avLst/>
          </a:prstGeom>
          <a:solidFill>
            <a:schemeClr val="tx2"/>
          </a:solidFill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/>
          <a:lstStyle/>
          <a:p>
            <a:pPr marL="252000" indent="-2520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it-IT" sz="2000" noProof="0">
              <a:solidFill>
                <a:schemeClr val="tx1"/>
              </a:solidFill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9F3EE308-7DE8-6E61-39EE-E18C161F3122}"/>
              </a:ext>
            </a:extLst>
          </p:cNvPr>
          <p:cNvSpPr/>
          <p:nvPr/>
        </p:nvSpPr>
        <p:spPr>
          <a:xfrm>
            <a:off x="756637" y="4834003"/>
            <a:ext cx="223532" cy="221811"/>
          </a:xfrm>
          <a:prstGeom prst="ellipse">
            <a:avLst/>
          </a:prstGeom>
          <a:solidFill>
            <a:schemeClr val="tx2"/>
          </a:solidFill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/>
          <a:lstStyle/>
          <a:p>
            <a:pPr marL="252000" indent="-2520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it-IT" sz="20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093731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62D724-C1B8-CA07-0FD8-683030F199E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it-IT"/>
              <a:t>Le stablecoin e il futuro dei pagamenti digitali | Salone dei pagamenti | 30 ottobre 2025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D72B8D6-43C2-BB81-B2D5-BBB101E0BAC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18</a:t>
            </a:fld>
            <a:endParaRPr lang="en-GB"/>
          </a:p>
        </p:txBody>
      </p:sp>
      <p:sp>
        <p:nvSpPr>
          <p:cNvPr id="7" name="Rectangle 4106">
            <a:extLst>
              <a:ext uri="{FF2B5EF4-FFF2-40B4-BE49-F238E27FC236}">
                <a16:creationId xmlns:a16="http://schemas.microsoft.com/office/drawing/2014/main" id="{D8012BCE-FB24-9093-9DC4-D9B080DF5F4F}"/>
              </a:ext>
            </a:extLst>
          </p:cNvPr>
          <p:cNvSpPr>
            <a:spLocks/>
          </p:cNvSpPr>
          <p:nvPr/>
        </p:nvSpPr>
        <p:spPr>
          <a:xfrm>
            <a:off x="6236173" y="1681390"/>
            <a:ext cx="5361014" cy="2136357"/>
          </a:xfrm>
          <a:prstGeom prst="rect">
            <a:avLst/>
          </a:prstGeom>
          <a:solidFill>
            <a:schemeClr val="tx2">
              <a:alpha val="10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softEdge rad="0"/>
          </a:effectLst>
        </p:spPr>
        <p:txBody>
          <a:bodyPr lIns="108000" tIns="108000" rIns="108000" bIns="108000" rtlCol="0" anchor="t" anchorCtr="0"/>
          <a:lstStyle/>
          <a:p>
            <a:pPr marL="252000" marR="0" indent="-252000" algn="l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  <a:buSzTx/>
              <a:buFont typeface="Wingdings" pitchFamily="2" charset="2"/>
              <a:buChar char="§"/>
              <a:tabLst/>
            </a:pPr>
            <a:endParaRPr kumimoji="0" lang="it-IT" sz="2000" b="0" i="0" u="none" strike="noStrike" kern="0" cap="none" spc="0" normalizeH="0" baseline="0" noProof="0">
              <a:ln>
                <a:noFill/>
              </a:ln>
              <a:solidFill>
                <a:srgbClr val="1A1A24"/>
              </a:solidFill>
              <a:effectLst/>
              <a:uLnTx/>
              <a:uFillTx/>
            </a:endParaRP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D12EDA41-03CB-A667-130E-48FBB0F9C792}"/>
              </a:ext>
            </a:extLst>
          </p:cNvPr>
          <p:cNvSpPr txBox="1">
            <a:spLocks/>
          </p:cNvSpPr>
          <p:nvPr/>
        </p:nvSpPr>
        <p:spPr>
          <a:xfrm>
            <a:off x="6231180" y="1671936"/>
            <a:ext cx="5361208" cy="4616937"/>
          </a:xfrm>
          <a:prstGeom prst="roundRect">
            <a:avLst>
              <a:gd name="adj" fmla="val 0"/>
            </a:avLst>
          </a:prstGeom>
          <a:noFill/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t" anchorCtr="0"/>
          <a:lstStyle>
            <a:defPPr>
              <a:defRPr lang="it-IT"/>
            </a:defPPr>
            <a:lvl1pPr marL="252000" marR="0" indent="-252000" algn="ctr" fontAlgn="auto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  <a:buSzTx/>
              <a:buFont typeface="Wingdings" pitchFamily="2" charset="2"/>
              <a:buChar char="§"/>
              <a:tabLst/>
              <a:defRPr kumimoji="0" sz="2000" b="0" i="0" u="none" strike="noStrike" kern="0" cap="none" spc="0" normalizeH="0" baseline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defRPr>
            </a:lvl1pPr>
            <a:lvl2pPr marL="271327" marR="0" indent="-271327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sz="1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510919" marR="0" indent="-233246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sz="1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745752" marR="0" indent="-231659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sz="14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44091" marR="0" indent="-201512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t-IT"/>
          </a:p>
        </p:txBody>
      </p:sp>
      <p:sp>
        <p:nvSpPr>
          <p:cNvPr id="9" name="Rounded Rectangle 42">
            <a:extLst>
              <a:ext uri="{FF2B5EF4-FFF2-40B4-BE49-F238E27FC236}">
                <a16:creationId xmlns:a16="http://schemas.microsoft.com/office/drawing/2014/main" id="{66B6C794-E622-98A6-C7CD-9E9276323173}"/>
              </a:ext>
            </a:extLst>
          </p:cNvPr>
          <p:cNvSpPr/>
          <p:nvPr/>
        </p:nvSpPr>
        <p:spPr>
          <a:xfrm>
            <a:off x="490556" y="1675726"/>
            <a:ext cx="5610478" cy="4609359"/>
          </a:xfrm>
          <a:prstGeom prst="roundRect">
            <a:avLst>
              <a:gd name="adj" fmla="val 0"/>
            </a:avLst>
          </a:prstGeom>
          <a:noFill/>
          <a:ln w="12700" cap="flat" cmpd="sng" algn="ctr">
            <a:solidFill>
              <a:schemeClr val="bg1">
                <a:lumMod val="10000"/>
                <a:lumOff val="9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t" anchorCtr="0"/>
          <a:lstStyle/>
          <a:p>
            <a:pPr marL="252000" marR="0" indent="-252000" algn="ctr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  <a:buSzTx/>
              <a:buFont typeface="Wingdings" pitchFamily="2" charset="2"/>
              <a:buChar char="§"/>
              <a:tabLst/>
            </a:pPr>
            <a:endParaRPr kumimoji="0" lang="it-IT" sz="2000" b="0" i="0" u="none" strike="noStrike" kern="0" cap="none" spc="0" normalizeH="0" baseline="0" noProof="0">
              <a:ln>
                <a:noFill/>
              </a:ln>
              <a:solidFill>
                <a:srgbClr val="1A1A24"/>
              </a:solidFill>
              <a:effectLst/>
              <a:uLnTx/>
              <a:uFillTx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2CCA043-6C6E-540C-A26C-4C982AAD647D}"/>
              </a:ext>
            </a:extLst>
          </p:cNvPr>
          <p:cNvSpPr txBox="1"/>
          <p:nvPr/>
        </p:nvSpPr>
        <p:spPr>
          <a:xfrm>
            <a:off x="425910" y="1253537"/>
            <a:ext cx="5670089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r>
              <a:rPr lang="it-IT"/>
              <a:t>Le euro </a:t>
            </a:r>
            <a:r>
              <a:rPr lang="it-IT" err="1"/>
              <a:t>stablecoin</a:t>
            </a:r>
            <a:r>
              <a:rPr lang="it-IT"/>
              <a:t> nel panorama globale</a:t>
            </a:r>
            <a:endParaRPr lang="it-IT" i="1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22F7830-F09A-5329-D0AE-F9DABC086D3C}"/>
              </a:ext>
            </a:extLst>
          </p:cNvPr>
          <p:cNvSpPr/>
          <p:nvPr/>
        </p:nvSpPr>
        <p:spPr>
          <a:xfrm>
            <a:off x="2563863" y="2445611"/>
            <a:ext cx="1177135" cy="1177135"/>
          </a:xfrm>
          <a:prstGeom prst="ellipse">
            <a:avLst/>
          </a:prstGeom>
          <a:solidFill>
            <a:schemeClr val="tx1">
              <a:alpha val="21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108000" rIns="36000" bIns="108000" rtlCol="0" anchor="ctr" anchorCtr="0"/>
          <a:lstStyle/>
          <a:p>
            <a:pPr algn="ctr">
              <a:lnSpc>
                <a:spcPct val="90000"/>
              </a:lnSpc>
              <a:spcAft>
                <a:spcPts val="200"/>
              </a:spcAft>
              <a:buClr>
                <a:srgbClr val="FFE600"/>
              </a:buClr>
            </a:pPr>
            <a:r>
              <a:rPr lang="en-US" b="1" kern="0">
                <a:solidFill>
                  <a:schemeClr val="tx2"/>
                </a:solidFill>
              </a:rPr>
              <a:t>+30%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9C52284-B32D-D673-4022-2EC4C6897F68}"/>
              </a:ext>
            </a:extLst>
          </p:cNvPr>
          <p:cNvSpPr/>
          <p:nvPr/>
        </p:nvSpPr>
        <p:spPr>
          <a:xfrm>
            <a:off x="4225261" y="2445611"/>
            <a:ext cx="1177135" cy="1177135"/>
          </a:xfrm>
          <a:prstGeom prst="ellipse">
            <a:avLst/>
          </a:prstGeom>
          <a:solidFill>
            <a:schemeClr val="tx1">
              <a:alpha val="21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108000" rIns="0" bIns="108000" rtlCol="0" anchor="ctr" anchorCtr="0"/>
          <a:lstStyle/>
          <a:p>
            <a:pPr algn="ctr">
              <a:lnSpc>
                <a:spcPct val="90000"/>
              </a:lnSpc>
              <a:spcAft>
                <a:spcPts val="200"/>
              </a:spcAft>
              <a:buClr>
                <a:srgbClr val="FFE600"/>
              </a:buClr>
            </a:pPr>
            <a:r>
              <a:rPr lang="en-US" b="1" kern="0">
                <a:solidFill>
                  <a:schemeClr val="tx2"/>
                </a:solidFill>
              </a:rPr>
              <a:t>300</a:t>
            </a:r>
            <a:r>
              <a:rPr lang="en-US" sz="1400" b="1" kern="0">
                <a:solidFill>
                  <a:schemeClr val="tx2"/>
                </a:solidFill>
              </a:rPr>
              <a:t>M$</a:t>
            </a:r>
            <a:endParaRPr lang="en-US" b="1" kern="0">
              <a:solidFill>
                <a:schemeClr val="tx2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8BE79BC4-8150-94A6-6C10-9DB254AA8493}"/>
              </a:ext>
            </a:extLst>
          </p:cNvPr>
          <p:cNvSpPr/>
          <p:nvPr/>
        </p:nvSpPr>
        <p:spPr>
          <a:xfrm>
            <a:off x="902465" y="2445611"/>
            <a:ext cx="1177135" cy="1177135"/>
          </a:xfrm>
          <a:prstGeom prst="ellipse">
            <a:avLst/>
          </a:prstGeom>
          <a:solidFill>
            <a:schemeClr val="tx1">
              <a:alpha val="21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108000" rIns="36000" bIns="108000" rtlCol="0" anchor="ctr" anchorCtr="0"/>
          <a:lstStyle/>
          <a:p>
            <a:pPr algn="ctr">
              <a:lnSpc>
                <a:spcPct val="90000"/>
              </a:lnSpc>
              <a:spcAft>
                <a:spcPts val="200"/>
              </a:spcAft>
              <a:buClr>
                <a:srgbClr val="FFE600"/>
              </a:buClr>
            </a:pPr>
            <a:r>
              <a:rPr lang="en-US" b="1" kern="0">
                <a:solidFill>
                  <a:schemeClr val="tx2"/>
                </a:solidFill>
              </a:rPr>
              <a:t>0,15%</a:t>
            </a:r>
          </a:p>
        </p:txBody>
      </p:sp>
      <p:sp>
        <p:nvSpPr>
          <p:cNvPr id="14" name="Textfeld 7">
            <a:extLst>
              <a:ext uri="{FF2B5EF4-FFF2-40B4-BE49-F238E27FC236}">
                <a16:creationId xmlns:a16="http://schemas.microsoft.com/office/drawing/2014/main" id="{19C8146C-F601-DE13-A10A-1CFAD38BFD24}"/>
              </a:ext>
            </a:extLst>
          </p:cNvPr>
          <p:cNvSpPr txBox="1"/>
          <p:nvPr/>
        </p:nvSpPr>
        <p:spPr>
          <a:xfrm>
            <a:off x="599612" y="1890165"/>
            <a:ext cx="1782839" cy="555446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wrap="square" lIns="144000" tIns="0" rIns="144000" bIns="0" rtlCol="0" anchor="ctr" anchorCtr="0">
            <a:noAutofit/>
          </a:bodyPr>
          <a:lstStyle/>
          <a:p>
            <a:pPr marL="0" marR="0" lvl="0" indent="0" algn="ctr" defTabSz="685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80000"/>
              <a:buFontTx/>
              <a:buNone/>
              <a:tabLst/>
              <a:defRPr/>
            </a:pPr>
            <a:r>
              <a:rPr kumimoji="0" lang="it-IT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QUOTA MERCATO EURO STABLECOIN</a:t>
            </a:r>
            <a:r>
              <a:rPr kumimoji="0" lang="it-IT" sz="1100" b="1" i="0" u="none" strike="noStrike" kern="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1</a:t>
            </a:r>
            <a:r>
              <a:rPr kumimoji="0" lang="it-IT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</a:t>
            </a:r>
          </a:p>
        </p:txBody>
      </p:sp>
      <p:sp>
        <p:nvSpPr>
          <p:cNvPr id="15" name="Textfeld 7">
            <a:extLst>
              <a:ext uri="{FF2B5EF4-FFF2-40B4-BE49-F238E27FC236}">
                <a16:creationId xmlns:a16="http://schemas.microsoft.com/office/drawing/2014/main" id="{9841BBCA-1742-CE41-7A7E-2982F5FB9D8C}"/>
              </a:ext>
            </a:extLst>
          </p:cNvPr>
          <p:cNvSpPr txBox="1"/>
          <p:nvPr/>
        </p:nvSpPr>
        <p:spPr>
          <a:xfrm>
            <a:off x="2342048" y="1890165"/>
            <a:ext cx="1620763" cy="555446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wrap="square" lIns="144000" tIns="0" rIns="144000" bIns="0" rtlCol="0" anchor="ctr" anchorCtr="0">
            <a:noAutofit/>
          </a:bodyPr>
          <a:lstStyle/>
          <a:p>
            <a:pPr marL="0" marR="0" lvl="0" indent="0" algn="ctr" defTabSz="685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80000"/>
              <a:buFontTx/>
              <a:buNone/>
              <a:tabLst/>
              <a:defRPr/>
            </a:pPr>
            <a:r>
              <a:rPr kumimoji="0" lang="it-IT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CRESCITA DEL MERCATO EURO STABLECOIN</a:t>
            </a:r>
            <a:r>
              <a:rPr kumimoji="0" lang="it-IT" sz="1100" b="1" i="0" u="none" strike="noStrike" kern="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2</a:t>
            </a:r>
          </a:p>
        </p:txBody>
      </p:sp>
      <p:sp>
        <p:nvSpPr>
          <p:cNvPr id="16" name="Textfeld 7">
            <a:extLst>
              <a:ext uri="{FF2B5EF4-FFF2-40B4-BE49-F238E27FC236}">
                <a16:creationId xmlns:a16="http://schemas.microsoft.com/office/drawing/2014/main" id="{09A75006-B793-50CC-2E50-B3E6CDABF03A}"/>
              </a:ext>
            </a:extLst>
          </p:cNvPr>
          <p:cNvSpPr txBox="1"/>
          <p:nvPr/>
        </p:nvSpPr>
        <p:spPr>
          <a:xfrm>
            <a:off x="4003446" y="1890165"/>
            <a:ext cx="1620763" cy="555446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wrap="square" lIns="144000" tIns="0" rIns="144000" bIns="0" rtlCol="0" anchor="ctr" anchorCtr="0">
            <a:noAutofit/>
          </a:bodyPr>
          <a:lstStyle/>
          <a:p>
            <a:pPr marL="0" marR="0" lvl="0" indent="0" algn="ctr" defTabSz="685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80000"/>
              <a:buFontTx/>
              <a:buNone/>
              <a:tabLst/>
              <a:defRPr/>
            </a:pPr>
            <a:r>
              <a:rPr kumimoji="0" lang="it-IT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VOLUMI MENSILI 2024</a:t>
            </a:r>
            <a:r>
              <a:rPr kumimoji="0" lang="it-IT" sz="1100" b="1" i="0" u="none" strike="noStrike" kern="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3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58803CBE-3431-B7A0-464D-890B2B2F55AA}"/>
              </a:ext>
            </a:extLst>
          </p:cNvPr>
          <p:cNvSpPr/>
          <p:nvPr/>
        </p:nvSpPr>
        <p:spPr>
          <a:xfrm>
            <a:off x="1525712" y="3180698"/>
            <a:ext cx="831188" cy="5654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108000" rIns="36000" bIns="108000" rtlCol="0" anchor="ctr" anchorCtr="0"/>
          <a:lstStyle/>
          <a:p>
            <a:pPr algn="ctr">
              <a:lnSpc>
                <a:spcPct val="90000"/>
              </a:lnSpc>
              <a:spcAft>
                <a:spcPts val="200"/>
              </a:spcAft>
              <a:buClr>
                <a:srgbClr val="FFE600"/>
              </a:buClr>
            </a:pPr>
            <a:r>
              <a:rPr lang="en-US" sz="900" i="1" kern="0">
                <a:solidFill>
                  <a:schemeClr val="bg1"/>
                </a:solidFill>
              </a:rPr>
              <a:t>Vs 99% </a:t>
            </a:r>
            <a:r>
              <a:rPr lang="en-US" sz="900" i="1" kern="0" err="1">
                <a:solidFill>
                  <a:schemeClr val="bg1"/>
                </a:solidFill>
              </a:rPr>
              <a:t>dollaro</a:t>
            </a:r>
            <a:r>
              <a:rPr lang="en-US" sz="900" i="1" kern="0">
                <a:solidFill>
                  <a:schemeClr val="bg1"/>
                </a:solidFill>
              </a:rPr>
              <a:t> stablecoin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304BFFCB-B9B6-DA00-9C3E-3BCAC34F3E12}"/>
              </a:ext>
            </a:extLst>
          </p:cNvPr>
          <p:cNvSpPr/>
          <p:nvPr/>
        </p:nvSpPr>
        <p:spPr>
          <a:xfrm>
            <a:off x="3255334" y="3180698"/>
            <a:ext cx="831188" cy="5654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108000" rIns="36000" bIns="108000" rtlCol="0" anchor="ctr" anchorCtr="0"/>
          <a:lstStyle/>
          <a:p>
            <a:pPr algn="ctr">
              <a:lnSpc>
                <a:spcPct val="90000"/>
              </a:lnSpc>
              <a:spcAft>
                <a:spcPts val="200"/>
              </a:spcAft>
              <a:buClr>
                <a:srgbClr val="FFE600"/>
              </a:buClr>
            </a:pPr>
            <a:r>
              <a:rPr lang="en-US" sz="900" i="1" kern="0">
                <a:solidFill>
                  <a:schemeClr val="bg1"/>
                </a:solidFill>
              </a:rPr>
              <a:t>Vs 13,5% </a:t>
            </a:r>
            <a:r>
              <a:rPr lang="en-US" sz="900" i="1" kern="0" err="1">
                <a:solidFill>
                  <a:schemeClr val="bg1"/>
                </a:solidFill>
              </a:rPr>
              <a:t>dollaro</a:t>
            </a:r>
            <a:r>
              <a:rPr lang="en-US" sz="900" i="1" kern="0">
                <a:solidFill>
                  <a:schemeClr val="bg1"/>
                </a:solidFill>
              </a:rPr>
              <a:t> stablecoin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C0E40FFB-A01F-05C3-B333-F0A1D9AAC756}"/>
              </a:ext>
            </a:extLst>
          </p:cNvPr>
          <p:cNvSpPr/>
          <p:nvPr/>
        </p:nvSpPr>
        <p:spPr>
          <a:xfrm>
            <a:off x="4880017" y="3180698"/>
            <a:ext cx="831188" cy="5654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108000" rIns="36000" bIns="108000" rtlCol="0" anchor="ctr" anchorCtr="0"/>
          <a:lstStyle/>
          <a:p>
            <a:pPr algn="ctr">
              <a:lnSpc>
                <a:spcPct val="90000"/>
              </a:lnSpc>
              <a:spcAft>
                <a:spcPts val="200"/>
              </a:spcAft>
              <a:buClr>
                <a:srgbClr val="FFE600"/>
              </a:buClr>
            </a:pPr>
            <a:r>
              <a:rPr lang="en-US" sz="900" i="1" kern="0">
                <a:solidFill>
                  <a:schemeClr val="bg1"/>
                </a:solidFill>
              </a:rPr>
              <a:t>Vs 13,4B$ </a:t>
            </a:r>
            <a:r>
              <a:rPr lang="en-US" sz="900" i="1" kern="0" err="1">
                <a:solidFill>
                  <a:schemeClr val="bg1"/>
                </a:solidFill>
              </a:rPr>
              <a:t>dollaro</a:t>
            </a:r>
            <a:r>
              <a:rPr lang="en-US" sz="900" i="1" kern="0">
                <a:solidFill>
                  <a:schemeClr val="bg1"/>
                </a:solidFill>
              </a:rPr>
              <a:t> stablecoin</a:t>
            </a:r>
          </a:p>
        </p:txBody>
      </p:sp>
      <p:sp>
        <p:nvSpPr>
          <p:cNvPr id="20" name="Arrow: Pentagon 25">
            <a:extLst>
              <a:ext uri="{FF2B5EF4-FFF2-40B4-BE49-F238E27FC236}">
                <a16:creationId xmlns:a16="http://schemas.microsoft.com/office/drawing/2014/main" id="{106E85C9-11FE-33E7-50C8-23597A0B78AA}"/>
              </a:ext>
            </a:extLst>
          </p:cNvPr>
          <p:cNvSpPr/>
          <p:nvPr/>
        </p:nvSpPr>
        <p:spPr>
          <a:xfrm>
            <a:off x="660988" y="4178192"/>
            <a:ext cx="327535" cy="1904341"/>
          </a:xfrm>
          <a:prstGeom prst="homePlate">
            <a:avLst>
              <a:gd name="adj" fmla="val 0"/>
            </a:avLst>
          </a:prstGeom>
          <a:solidFill>
            <a:srgbClr val="1A1A24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72000" tIns="72000" rIns="72000" rtlCol="0" anchor="ctr" anchorCtr="0"/>
          <a:lstStyle/>
          <a:p>
            <a:pPr algn="ctr"/>
            <a:r>
              <a:rPr lang="it-IT" sz="1200" b="1">
                <a:solidFill>
                  <a:schemeClr val="tx1"/>
                </a:solidFill>
                <a:latin typeface="EYInterstate Light"/>
              </a:rPr>
              <a:t>RISCHI DI MERCATO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2B82C29-FE49-DA3B-0B84-A5FB6E80F9C0}"/>
              </a:ext>
            </a:extLst>
          </p:cNvPr>
          <p:cNvSpPr txBox="1"/>
          <p:nvPr/>
        </p:nvSpPr>
        <p:spPr>
          <a:xfrm>
            <a:off x="6349184" y="1725677"/>
            <a:ext cx="524879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it-IT" sz="1400" b="1"/>
              <a:t>9 GRANDI BANCHE EUROPE </a:t>
            </a:r>
            <a:r>
              <a:rPr lang="it-IT" sz="1400"/>
              <a:t>HANNO</a:t>
            </a:r>
            <a:r>
              <a:rPr lang="it-IT" sz="1400" b="1"/>
              <a:t> UNITO LE FORZE</a:t>
            </a:r>
            <a:r>
              <a:rPr lang="it-IT" sz="1400"/>
              <a:t> PER LANCIARE UNA</a:t>
            </a:r>
            <a:r>
              <a:rPr lang="it-IT" sz="1400" b="1"/>
              <a:t> STABLECOIN IN EURO</a:t>
            </a:r>
            <a:endParaRPr kumimoji="0" lang="it-IT" sz="140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pic>
        <p:nvPicPr>
          <p:cNvPr id="22" name="Picture 2" descr="Banca Sella | AIPB">
            <a:extLst>
              <a:ext uri="{FF2B5EF4-FFF2-40B4-BE49-F238E27FC236}">
                <a16:creationId xmlns:a16="http://schemas.microsoft.com/office/drawing/2014/main" id="{5ADC25C8-3C41-CF30-B457-9D058944E7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97343" y="2383447"/>
            <a:ext cx="679006" cy="324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4">
            <a:extLst>
              <a:ext uri="{FF2B5EF4-FFF2-40B4-BE49-F238E27FC236}">
                <a16:creationId xmlns:a16="http://schemas.microsoft.com/office/drawing/2014/main" id="{58F49090-DC91-D6FF-1C67-1BCC389A4E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5733" y="2433885"/>
            <a:ext cx="1158185" cy="237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6">
            <a:extLst>
              <a:ext uri="{FF2B5EF4-FFF2-40B4-BE49-F238E27FC236}">
                <a16:creationId xmlns:a16="http://schemas.microsoft.com/office/drawing/2014/main" id="{B174CB66-F945-29D6-5B5A-4A70A21871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9311" y="2274011"/>
            <a:ext cx="643372" cy="421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8">
            <a:extLst>
              <a:ext uri="{FF2B5EF4-FFF2-40B4-BE49-F238E27FC236}">
                <a16:creationId xmlns:a16="http://schemas.microsoft.com/office/drawing/2014/main" id="{2A1FA889-C2B6-5B7B-618F-068B1E0D11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5996" y="3528898"/>
            <a:ext cx="1235398" cy="153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B63E55D1-C6C7-C7DA-1A09-E92BC6C4B8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70190" y="2981195"/>
            <a:ext cx="1087150" cy="239999"/>
          </a:xfrm>
          <a:prstGeom prst="rect">
            <a:avLst/>
          </a:prstGeom>
        </p:spPr>
      </p:pic>
      <p:pic>
        <p:nvPicPr>
          <p:cNvPr id="27" name="Picture 12">
            <a:extLst>
              <a:ext uri="{FF2B5EF4-FFF2-40B4-BE49-F238E27FC236}">
                <a16:creationId xmlns:a16="http://schemas.microsoft.com/office/drawing/2014/main" id="{C4D1A277-48E7-1414-08CF-B4627C7B5D7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3760"/>
          <a:stretch>
            <a:fillRect/>
          </a:stretch>
        </p:blipFill>
        <p:spPr bwMode="auto">
          <a:xfrm>
            <a:off x="10076833" y="3045431"/>
            <a:ext cx="1235398" cy="210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6B0B8E7E-94AB-5417-1168-EE351B96F040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rgbClr val="2DB757">
                <a:shade val="45000"/>
                <a:satMod val="135000"/>
              </a:srgbClr>
              <a:prstClr val="white"/>
            </a:duotone>
          </a:blip>
          <a:stretch>
            <a:fillRect/>
          </a:stretch>
        </p:blipFill>
        <p:spPr>
          <a:xfrm>
            <a:off x="10181233" y="3417495"/>
            <a:ext cx="911223" cy="331667"/>
          </a:xfrm>
          <a:prstGeom prst="rect">
            <a:avLst/>
          </a:prstGeom>
        </p:spPr>
      </p:pic>
      <p:pic>
        <p:nvPicPr>
          <p:cNvPr id="29" name="Picture 18" descr="Caixa Economica Federal Logo PNG Transparent &amp; SVG Vector ...">
            <a:extLst>
              <a:ext uri="{FF2B5EF4-FFF2-40B4-BE49-F238E27FC236}">
                <a16:creationId xmlns:a16="http://schemas.microsoft.com/office/drawing/2014/main" id="{D110EC61-A021-3B65-A8D9-C3A1C3B0D96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367" b="32646"/>
          <a:stretch>
            <a:fillRect/>
          </a:stretch>
        </p:blipFill>
        <p:spPr bwMode="auto">
          <a:xfrm>
            <a:off x="8522435" y="3444904"/>
            <a:ext cx="924926" cy="28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0" descr="Raiffeisen Bank International Logo, symbol, meaning, history ...">
            <a:extLst>
              <a:ext uri="{FF2B5EF4-FFF2-40B4-BE49-F238E27FC236}">
                <a16:creationId xmlns:a16="http://schemas.microsoft.com/office/drawing/2014/main" id="{CDB179F0-D9E6-44B0-56EF-33704EB8845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125" t="18528" b="28059"/>
          <a:stretch>
            <a:fillRect/>
          </a:stretch>
        </p:blipFill>
        <p:spPr bwMode="auto">
          <a:xfrm>
            <a:off x="8499339" y="2968976"/>
            <a:ext cx="1158185" cy="2794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290AF526-D747-1B40-B7C7-76DC67D6F7D9}"/>
              </a:ext>
            </a:extLst>
          </p:cNvPr>
          <p:cNvSpPr/>
          <p:nvPr/>
        </p:nvSpPr>
        <p:spPr>
          <a:xfrm>
            <a:off x="6589127" y="4031929"/>
            <a:ext cx="2026616" cy="706439"/>
          </a:xfrm>
          <a:prstGeom prst="rect">
            <a:avLst/>
          </a:prstGeom>
          <a:solidFill>
            <a:srgbClr val="1A1A24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EMISSIONE PREVIST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it-IT" sz="1000" i="1">
                <a:solidFill>
                  <a:schemeClr val="tx1"/>
                </a:solidFill>
                <a:latin typeface="EYInterstate Light"/>
              </a:rPr>
              <a:t>H2 2026</a:t>
            </a:r>
            <a:endParaRPr kumimoji="0" lang="it-IT" sz="1000" b="0" i="1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A0355E1F-7958-7688-1DAA-3588D63046E0}"/>
              </a:ext>
            </a:extLst>
          </p:cNvPr>
          <p:cNvSpPr/>
          <p:nvPr/>
        </p:nvSpPr>
        <p:spPr>
          <a:xfrm>
            <a:off x="8752911" y="4031929"/>
            <a:ext cx="2559194" cy="706439"/>
          </a:xfrm>
          <a:prstGeom prst="rect">
            <a:avLst/>
          </a:prstGeom>
          <a:solidFill>
            <a:srgbClr val="1A1A2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200" b="1">
                <a:solidFill>
                  <a:schemeClr val="tx1"/>
                </a:solidFill>
                <a:latin typeface="EYInterstate Light"/>
              </a:rPr>
              <a:t>FINALITÀ</a:t>
            </a:r>
            <a:endParaRPr kumimoji="0" lang="it-IT" sz="12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1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Rispondere ad un mercato dominato dagli USA, supportare l’autonomia strategica e colmare il gap temporale del Digital Euro. 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56E98FEE-BA67-BC0C-84CD-7194570B5CE7}"/>
              </a:ext>
            </a:extLst>
          </p:cNvPr>
          <p:cNvGrpSpPr/>
          <p:nvPr/>
        </p:nvGrpSpPr>
        <p:grpSpPr>
          <a:xfrm>
            <a:off x="6717536" y="5085266"/>
            <a:ext cx="4398095" cy="999184"/>
            <a:chOff x="5194755" y="2421238"/>
            <a:chExt cx="6518967" cy="1549149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8544AB8F-7C09-EE81-C837-4D6773258471}"/>
                </a:ext>
              </a:extLst>
            </p:cNvPr>
            <p:cNvSpPr txBox="1"/>
            <p:nvPr/>
          </p:nvSpPr>
          <p:spPr>
            <a:xfrm>
              <a:off x="5194755" y="3153503"/>
              <a:ext cx="1508935" cy="66302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marL="0" marR="57785" lvl="0" indent="0" algn="ctr" defTabSz="1170432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50000"/>
                <a:buFontTx/>
                <a:buNone/>
                <a:tabLst>
                  <a:tab pos="449263" algn="l"/>
                </a:tabLst>
                <a:defRPr/>
              </a:pPr>
              <a:r>
                <a:rPr lang="it-IT" sz="1000" kern="0">
                  <a:latin typeface="Montserrat Medium"/>
                </a:rPr>
                <a:t>Pagamenti internazionali 24/7</a:t>
              </a:r>
              <a:endParaRPr kumimoji="0" lang="it-IT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 Medium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5BBB2646-9AAF-2D24-C323-E40E044B0D0E}"/>
                </a:ext>
              </a:extLst>
            </p:cNvPr>
            <p:cNvSpPr txBox="1"/>
            <p:nvPr/>
          </p:nvSpPr>
          <p:spPr>
            <a:xfrm>
              <a:off x="6917274" y="3258589"/>
              <a:ext cx="1247054" cy="452857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R="57785" lvl="0" algn="ctr" defTabSz="1170432" fontAlgn="base">
                <a:buClr>
                  <a:srgbClr val="FFD200"/>
                </a:buClr>
                <a:buSzPct val="150000"/>
                <a:tabLst>
                  <a:tab pos="449263" algn="l"/>
                </a:tabLst>
                <a:defRPr sz="1100" b="1"/>
              </a:lvl1pPr>
            </a:lstStyle>
            <a:p>
              <a:pPr marL="0" marR="57785" lvl="0" indent="0" algn="ctr" defTabSz="1170432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50000"/>
                <a:buFontTx/>
                <a:buNone/>
                <a:tabLst>
                  <a:tab pos="449263" algn="l"/>
                </a:tabLst>
                <a:defRPr/>
              </a:pPr>
              <a:r>
                <a:rPr kumimoji="0" lang="it-IT" sz="10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Basata su </a:t>
              </a:r>
              <a:r>
                <a:rPr kumimoji="0" lang="it-IT" sz="10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tecnologia blockchain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6A382427-580F-0A99-FF07-97715CB71799}"/>
                </a:ext>
              </a:extLst>
            </p:cNvPr>
            <p:cNvSpPr txBox="1"/>
            <p:nvPr/>
          </p:nvSpPr>
          <p:spPr>
            <a:xfrm>
              <a:off x="8377912" y="3258589"/>
              <a:ext cx="1508935" cy="452857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R="57785" lvl="0" algn="ctr" defTabSz="1170432" fontAlgn="base">
                <a:buClr>
                  <a:srgbClr val="FFD200"/>
                </a:buClr>
                <a:buSzPct val="150000"/>
                <a:tabLst>
                  <a:tab pos="449263" algn="l"/>
                </a:tabLst>
                <a:defRPr sz="1100" b="1"/>
              </a:lvl1pPr>
            </a:lstStyle>
            <a:p>
              <a:pPr marL="0" marR="57785" lvl="0" indent="0" algn="ctr" defTabSz="1170432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50000"/>
                <a:buFontTx/>
                <a:buNone/>
                <a:tabLst>
                  <a:tab pos="449263" algn="l"/>
                </a:tabLst>
                <a:defRPr/>
              </a:pPr>
              <a:r>
                <a:rPr kumimoji="0" lang="it-IT" sz="10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Conforme alla </a:t>
              </a:r>
              <a:r>
                <a:rPr kumimoji="0" lang="it-IT" sz="10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normativa </a:t>
              </a:r>
              <a:r>
                <a:rPr kumimoji="0" lang="it-IT" sz="1000" b="1" i="0" u="none" strike="noStrike" kern="0" cap="none" spc="0" normalizeH="0" baseline="0" noProof="0" err="1">
                  <a:ln>
                    <a:noFill/>
                  </a:ln>
                  <a:effectLst/>
                  <a:uLnTx/>
                  <a:uFillTx/>
                </a:rPr>
                <a:t>MiCAR</a:t>
              </a:r>
              <a:endParaRPr kumimoji="0" lang="it-IT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F2EE3C15-3239-2929-0FB9-78A4D07FF4BB}"/>
                </a:ext>
              </a:extLst>
            </p:cNvPr>
            <p:cNvSpPr txBox="1"/>
            <p:nvPr/>
          </p:nvSpPr>
          <p:spPr>
            <a:xfrm>
              <a:off x="10100430" y="2999648"/>
              <a:ext cx="1613292" cy="970739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R="57785" lvl="0" algn="ctr" defTabSz="1170432" fontAlgn="base">
                <a:buClr>
                  <a:srgbClr val="FFD200"/>
                </a:buClr>
                <a:buSzPct val="150000"/>
                <a:tabLst>
                  <a:tab pos="449263" algn="l"/>
                </a:tabLst>
                <a:defRPr sz="1100" b="1"/>
              </a:lvl1pPr>
            </a:lstStyle>
            <a:p>
              <a:pPr marL="0" marR="57785" lvl="0" indent="0" algn="ctr" defTabSz="1170432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50000"/>
                <a:buFontTx/>
                <a:buNone/>
                <a:tabLst>
                  <a:tab pos="449263" algn="l"/>
                </a:tabLst>
                <a:defRPr/>
              </a:pPr>
              <a:r>
                <a:rPr kumimoji="0" lang="it-IT" sz="10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Abilitante di </a:t>
              </a:r>
              <a:r>
                <a:rPr kumimoji="0" lang="it-IT" sz="10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nuovi servizi </a:t>
              </a:r>
              <a:r>
                <a:rPr kumimoji="0" lang="it-IT" sz="10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(es. </a:t>
              </a:r>
              <a:r>
                <a:rPr kumimoji="0" lang="it-IT" sz="1000" b="0" i="0" u="none" strike="noStrike" kern="0" cap="none" spc="0" normalizeH="0" baseline="0" noProof="0" err="1">
                  <a:ln>
                    <a:noFill/>
                  </a:ln>
                  <a:effectLst/>
                  <a:uLnTx/>
                  <a:uFillTx/>
                </a:rPr>
                <a:t>wallet</a:t>
              </a:r>
              <a:r>
                <a:rPr kumimoji="0" lang="it-IT" sz="10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)</a:t>
              </a:r>
            </a:p>
          </p:txBody>
        </p: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6937F62D-EC79-EDE8-26D4-62911A96A4A6}"/>
                </a:ext>
              </a:extLst>
            </p:cNvPr>
            <p:cNvCxnSpPr>
              <a:cxnSpLocks/>
            </p:cNvCxnSpPr>
            <p:nvPr/>
          </p:nvCxnSpPr>
          <p:spPr>
            <a:xfrm>
              <a:off x="6810482" y="3115646"/>
              <a:ext cx="0" cy="738743"/>
            </a:xfrm>
            <a:prstGeom prst="line">
              <a:avLst/>
            </a:prstGeom>
            <a:noFill/>
            <a:ln w="9525" cap="flat" cmpd="sng" algn="ctr">
              <a:solidFill>
                <a:schemeClr val="bg1"/>
              </a:solidFill>
              <a:prstDash val="sysDash"/>
            </a:ln>
            <a:effectLst/>
          </p:spPr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71859FED-BA64-E13C-0B87-B43BAC30290B}"/>
                </a:ext>
              </a:extLst>
            </p:cNvPr>
            <p:cNvCxnSpPr>
              <a:cxnSpLocks/>
            </p:cNvCxnSpPr>
            <p:nvPr/>
          </p:nvCxnSpPr>
          <p:spPr>
            <a:xfrm>
              <a:off x="8271120" y="3115646"/>
              <a:ext cx="0" cy="738743"/>
            </a:xfrm>
            <a:prstGeom prst="line">
              <a:avLst/>
            </a:prstGeom>
            <a:noFill/>
            <a:ln w="9525" cap="flat" cmpd="sng" algn="ctr">
              <a:solidFill>
                <a:schemeClr val="bg1"/>
              </a:solidFill>
              <a:prstDash val="sysDash"/>
            </a:ln>
            <a:effectLst/>
          </p:spPr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E6234EBE-A9F1-8965-4E61-BE49FC8AD610}"/>
                </a:ext>
              </a:extLst>
            </p:cNvPr>
            <p:cNvCxnSpPr>
              <a:cxnSpLocks/>
            </p:cNvCxnSpPr>
            <p:nvPr/>
          </p:nvCxnSpPr>
          <p:spPr>
            <a:xfrm>
              <a:off x="9993639" y="3115646"/>
              <a:ext cx="0" cy="738743"/>
            </a:xfrm>
            <a:prstGeom prst="line">
              <a:avLst/>
            </a:prstGeom>
            <a:noFill/>
            <a:ln w="9525" cap="flat" cmpd="sng" algn="ctr">
              <a:solidFill>
                <a:schemeClr val="bg1"/>
              </a:solidFill>
              <a:prstDash val="sysDash"/>
            </a:ln>
            <a:effectLst/>
          </p:spPr>
        </p:cxnSp>
        <p:pic>
          <p:nvPicPr>
            <p:cNvPr id="41" name="Picture 2" descr="24 hours support ">
              <a:extLst>
                <a:ext uri="{FF2B5EF4-FFF2-40B4-BE49-F238E27FC236}">
                  <a16:creationId xmlns:a16="http://schemas.microsoft.com/office/drawing/2014/main" id="{AC6DD0E4-84CE-807B-DB51-295F6DDDB94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90691" y="2421238"/>
              <a:ext cx="517061" cy="5170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4" descr="Blockchain ">
              <a:extLst>
                <a:ext uri="{FF2B5EF4-FFF2-40B4-BE49-F238E27FC236}">
                  <a16:creationId xmlns:a16="http://schemas.microsoft.com/office/drawing/2014/main" id="{2ABD20B9-D2A8-1285-69AA-9C48FEF3B9F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82269" y="2421238"/>
              <a:ext cx="517061" cy="5170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6" descr="Regulatory compliance ">
              <a:extLst>
                <a:ext uri="{FF2B5EF4-FFF2-40B4-BE49-F238E27FC236}">
                  <a16:creationId xmlns:a16="http://schemas.microsoft.com/office/drawing/2014/main" id="{81552A93-961E-9D2E-D110-3E37F992EF6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73848" y="2421238"/>
              <a:ext cx="517061" cy="5170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0" descr="Mobile banking ">
              <a:extLst>
                <a:ext uri="{FF2B5EF4-FFF2-40B4-BE49-F238E27FC236}">
                  <a16:creationId xmlns:a16="http://schemas.microsoft.com/office/drawing/2014/main" id="{A7646615-C8D8-ADC3-9872-D4A2AEC5DD4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96365" y="2421238"/>
              <a:ext cx="517061" cy="5170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5" name="TextBox 44">
            <a:extLst>
              <a:ext uri="{FF2B5EF4-FFF2-40B4-BE49-F238E27FC236}">
                <a16:creationId xmlns:a16="http://schemas.microsoft.com/office/drawing/2014/main" id="{F7A48579-8B18-E7D4-54C4-7EBB73F2B137}"/>
              </a:ext>
            </a:extLst>
          </p:cNvPr>
          <p:cNvSpPr txBox="1"/>
          <p:nvPr/>
        </p:nvSpPr>
        <p:spPr>
          <a:xfrm>
            <a:off x="6149670" y="1266777"/>
            <a:ext cx="5286742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r>
              <a:rPr lang="it-IT">
                <a:solidFill>
                  <a:schemeClr val="tx2"/>
                </a:solidFill>
              </a:rPr>
              <a:t>La principale </a:t>
            </a:r>
            <a:r>
              <a:rPr lang="it-IT" err="1">
                <a:solidFill>
                  <a:schemeClr val="tx2"/>
                </a:solidFill>
              </a:rPr>
              <a:t>inziativa</a:t>
            </a:r>
            <a:r>
              <a:rPr lang="it-IT">
                <a:solidFill>
                  <a:schemeClr val="tx2"/>
                </a:solidFill>
              </a:rPr>
              <a:t> in euro </a:t>
            </a:r>
            <a:r>
              <a:rPr lang="it-IT" err="1">
                <a:solidFill>
                  <a:schemeClr val="tx2"/>
                </a:solidFill>
              </a:rPr>
              <a:t>stablecoin</a:t>
            </a:r>
            <a:endParaRPr lang="it-IT" i="1">
              <a:solidFill>
                <a:schemeClr val="tx2"/>
              </a:solidFill>
            </a:endParaRPr>
          </a:p>
        </p:txBody>
      </p:sp>
      <p:sp>
        <p:nvSpPr>
          <p:cNvPr id="46" name="Arrow: Pentagon 98">
            <a:extLst>
              <a:ext uri="{FF2B5EF4-FFF2-40B4-BE49-F238E27FC236}">
                <a16:creationId xmlns:a16="http://schemas.microsoft.com/office/drawing/2014/main" id="{DC430457-F30E-031C-775E-252D8B021780}"/>
              </a:ext>
            </a:extLst>
          </p:cNvPr>
          <p:cNvSpPr/>
          <p:nvPr/>
        </p:nvSpPr>
        <p:spPr>
          <a:xfrm>
            <a:off x="1187483" y="4208591"/>
            <a:ext cx="2227860" cy="782001"/>
          </a:xfrm>
          <a:prstGeom prst="homePlate">
            <a:avLst>
              <a:gd name="adj" fmla="val 0"/>
            </a:avLst>
          </a:prstGeom>
          <a:noFill/>
          <a:ln w="3175" cap="flat" cmpd="sng" algn="ctr">
            <a:solidFill>
              <a:srgbClr val="FFFFFF"/>
            </a:solidFill>
            <a:prstDash val="dash"/>
            <a:miter lim="800000"/>
          </a:ln>
          <a:effectLst/>
        </p:spPr>
        <p:txBody>
          <a:bodyPr lIns="72000" tIns="108000" rIns="72000" bIns="108000" rtlCol="0" anchor="ctr" anchorCtr="0"/>
          <a:lstStyle/>
          <a:p>
            <a:pPr lvl="0" algn="ctr" defTabSz="685434">
              <a:spcAft>
                <a:spcPts val="600"/>
              </a:spcAft>
              <a:buClr>
                <a:srgbClr val="FFE600"/>
              </a:buClr>
              <a:buSzPct val="80000"/>
              <a:defRPr/>
            </a:pPr>
            <a:r>
              <a:rPr lang="it-IT" sz="1200"/>
              <a:t>RISCHIO DOLLARIZZAZIONE DIGITALE</a:t>
            </a:r>
          </a:p>
        </p:txBody>
      </p:sp>
      <p:sp>
        <p:nvSpPr>
          <p:cNvPr id="47" name="Arrow: Pentagon 99">
            <a:extLst>
              <a:ext uri="{FF2B5EF4-FFF2-40B4-BE49-F238E27FC236}">
                <a16:creationId xmlns:a16="http://schemas.microsoft.com/office/drawing/2014/main" id="{CB4D1E9B-AC7B-BE61-588B-4B86BFCF1096}"/>
              </a:ext>
            </a:extLst>
          </p:cNvPr>
          <p:cNvSpPr/>
          <p:nvPr/>
        </p:nvSpPr>
        <p:spPr>
          <a:xfrm>
            <a:off x="3629177" y="4208591"/>
            <a:ext cx="2227860" cy="782001"/>
          </a:xfrm>
          <a:prstGeom prst="homePlate">
            <a:avLst>
              <a:gd name="adj" fmla="val 0"/>
            </a:avLst>
          </a:prstGeom>
          <a:noFill/>
          <a:ln w="3175" cap="flat" cmpd="sng" algn="ctr">
            <a:solidFill>
              <a:srgbClr val="FFFFFF"/>
            </a:solidFill>
            <a:prstDash val="dash"/>
            <a:miter lim="800000"/>
          </a:ln>
          <a:effectLst/>
        </p:spPr>
        <p:txBody>
          <a:bodyPr lIns="72000" tIns="108000" rIns="72000" bIns="108000" rtlCol="0" anchor="ctr" anchorCtr="0"/>
          <a:lstStyle/>
          <a:p>
            <a:pPr lvl="0" algn="ctr" defTabSz="685434">
              <a:spcAft>
                <a:spcPts val="600"/>
              </a:spcAft>
              <a:buClr>
                <a:srgbClr val="FFE600"/>
              </a:buClr>
              <a:buSzPct val="80000"/>
              <a:defRPr/>
            </a:pPr>
            <a:r>
              <a:rPr lang="it-IT" sz="1200"/>
              <a:t>PERDITA SOVRANITÀ MONETARIA E DI INFLUENZA GEOPOLITICA</a:t>
            </a:r>
          </a:p>
        </p:txBody>
      </p:sp>
      <p:sp>
        <p:nvSpPr>
          <p:cNvPr id="48" name="Arrow: Pentagon 100">
            <a:extLst>
              <a:ext uri="{FF2B5EF4-FFF2-40B4-BE49-F238E27FC236}">
                <a16:creationId xmlns:a16="http://schemas.microsoft.com/office/drawing/2014/main" id="{385B4429-D795-1D63-9383-9AC4B71E49B7}"/>
              </a:ext>
            </a:extLst>
          </p:cNvPr>
          <p:cNvSpPr/>
          <p:nvPr/>
        </p:nvSpPr>
        <p:spPr>
          <a:xfrm>
            <a:off x="1195762" y="5300532"/>
            <a:ext cx="2227860" cy="782001"/>
          </a:xfrm>
          <a:prstGeom prst="homePlate">
            <a:avLst>
              <a:gd name="adj" fmla="val 0"/>
            </a:avLst>
          </a:prstGeom>
          <a:noFill/>
          <a:ln w="3175" cap="flat" cmpd="sng" algn="ctr">
            <a:solidFill>
              <a:srgbClr val="FFFFFF"/>
            </a:solidFill>
            <a:prstDash val="dash"/>
            <a:miter lim="800000"/>
          </a:ln>
          <a:effectLst/>
        </p:spPr>
        <p:txBody>
          <a:bodyPr lIns="72000" tIns="108000" rIns="72000" bIns="108000" rtlCol="0" anchor="ctr" anchorCtr="0"/>
          <a:lstStyle/>
          <a:p>
            <a:pPr lvl="0" algn="ctr" defTabSz="685434">
              <a:spcAft>
                <a:spcPts val="600"/>
              </a:spcAft>
              <a:buClr>
                <a:srgbClr val="FFE600"/>
              </a:buClr>
              <a:buSzPct val="80000"/>
              <a:defRPr/>
            </a:pPr>
            <a:r>
              <a:rPr lang="it-IT" sz="1200"/>
              <a:t>EFFETTO SOSTITUTIVO SUL SISTEMA DEI PAGAMENTI EUROPEO</a:t>
            </a:r>
          </a:p>
        </p:txBody>
      </p:sp>
      <p:sp>
        <p:nvSpPr>
          <p:cNvPr id="49" name="Arrow: Pentagon 101">
            <a:extLst>
              <a:ext uri="{FF2B5EF4-FFF2-40B4-BE49-F238E27FC236}">
                <a16:creationId xmlns:a16="http://schemas.microsoft.com/office/drawing/2014/main" id="{35D86D44-8FD1-E611-229F-0EB1CB321A26}"/>
              </a:ext>
            </a:extLst>
          </p:cNvPr>
          <p:cNvSpPr/>
          <p:nvPr/>
        </p:nvSpPr>
        <p:spPr>
          <a:xfrm>
            <a:off x="3629177" y="5300532"/>
            <a:ext cx="2227860" cy="782001"/>
          </a:xfrm>
          <a:prstGeom prst="homePlate">
            <a:avLst>
              <a:gd name="adj" fmla="val 0"/>
            </a:avLst>
          </a:prstGeom>
          <a:noFill/>
          <a:ln w="3175" cap="flat" cmpd="sng" algn="ctr">
            <a:solidFill>
              <a:srgbClr val="FFFFFF"/>
            </a:solidFill>
            <a:prstDash val="dash"/>
            <a:miter lim="800000"/>
          </a:ln>
          <a:effectLst/>
        </p:spPr>
        <p:txBody>
          <a:bodyPr lIns="72000" tIns="108000" rIns="72000" bIns="108000" rtlCol="0" anchor="ctr" anchorCtr="0"/>
          <a:lstStyle/>
          <a:p>
            <a:pPr lvl="0" algn="ctr" defTabSz="685434">
              <a:spcAft>
                <a:spcPts val="600"/>
              </a:spcAft>
              <a:buClr>
                <a:srgbClr val="FFE600"/>
              </a:buClr>
              <a:buSzPct val="80000"/>
              <a:defRPr/>
            </a:pPr>
            <a:r>
              <a:rPr lang="it-IT" sz="1200"/>
              <a:t>FRAMMENTAZIONE DEI CONTROLLI AML</a:t>
            </a:r>
          </a:p>
        </p:txBody>
      </p:sp>
      <p:sp>
        <p:nvSpPr>
          <p:cNvPr id="50" name="Title 5">
            <a:extLst>
              <a:ext uri="{FF2B5EF4-FFF2-40B4-BE49-F238E27FC236}">
                <a16:creationId xmlns:a16="http://schemas.microsoft.com/office/drawing/2014/main" id="{C11AE5E6-431E-A4B0-6B52-30355F455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69888"/>
            <a:ext cx="11329106" cy="451470"/>
          </a:xfrm>
        </p:spPr>
        <p:txBody>
          <a:bodyPr vert="horz"/>
          <a:lstStyle/>
          <a:p>
            <a:r>
              <a:rPr lang="it-IT" sz="2400">
                <a:latin typeface="+mn-lt"/>
              </a:rPr>
              <a:t>Nonostante un quadro normativo ormai definito, le </a:t>
            </a:r>
            <a:r>
              <a:rPr lang="it-IT" sz="2400" err="1">
                <a:latin typeface="+mn-lt"/>
              </a:rPr>
              <a:t>stablecoin</a:t>
            </a:r>
            <a:r>
              <a:rPr lang="it-IT" sz="2400">
                <a:latin typeface="+mn-lt"/>
              </a:rPr>
              <a:t> in dollari continuano a dominare il mercato globale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033926E5-AA23-F71D-9EEB-708277346B2B}"/>
              </a:ext>
            </a:extLst>
          </p:cNvPr>
          <p:cNvSpPr txBox="1">
            <a:spLocks/>
          </p:cNvSpPr>
          <p:nvPr/>
        </p:nvSpPr>
        <p:spPr>
          <a:xfrm>
            <a:off x="6671472" y="6520888"/>
            <a:ext cx="4709869" cy="24622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lang="en-IN"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/>
              <a:t>Fonte: </a:t>
            </a:r>
            <a:r>
              <a:rPr lang="it-IT"/>
              <a:t>1. </a:t>
            </a:r>
            <a:r>
              <a:rPr lang="it-IT" err="1"/>
              <a:t>Coingecko</a:t>
            </a:r>
            <a:r>
              <a:rPr lang="it-IT"/>
              <a:t>; 2. </a:t>
            </a:r>
            <a:r>
              <a:rPr lang="it-IT" err="1"/>
              <a:t>Ainvest</a:t>
            </a:r>
            <a:r>
              <a:rPr lang="it-IT"/>
              <a:t>; 3. </a:t>
            </a:r>
            <a:r>
              <a:rPr lang="it-IT" err="1"/>
              <a:t>Cointelegraph</a:t>
            </a:r>
            <a:r>
              <a:rPr lang="it-IT"/>
              <a:t>; </a:t>
            </a:r>
          </a:p>
          <a:p>
            <a:pPr algn="r"/>
            <a:r>
              <a:rPr lang="it-IT"/>
              <a:t>4-</a:t>
            </a:r>
            <a:r>
              <a:rPr lang="en-US"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ablecoin surge: Reserve-backed cryptocurrencies are on the rise | World Economic Forum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7009667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4524D6-C559-FC3A-C512-8BABD8DF28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8" name="think-cell data - do not delete" hidden="1">
            <a:extLst>
              <a:ext uri="{FF2B5EF4-FFF2-40B4-BE49-F238E27FC236}">
                <a16:creationId xmlns:a16="http://schemas.microsoft.com/office/drawing/2014/main" id="{61A7F980-68D9-6C53-7379-E75085B9E8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8816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A7F980-68D9-6C53-7379-E75085B9E8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5740C1-26C2-F05F-AF13-76D838C4B59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it-IT"/>
              <a:t>Le stablecoin e il futuro dei pagamenti digitali | Salone dei pagamenti | 30 ottobre 2025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830592-8F2B-56E9-AA9C-B2C9AC7D2E7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19</a:t>
            </a:fld>
            <a:endParaRPr lang="en-GB"/>
          </a:p>
        </p:txBody>
      </p:sp>
      <p:sp>
        <p:nvSpPr>
          <p:cNvPr id="69" name="Title 5">
            <a:extLst>
              <a:ext uri="{FF2B5EF4-FFF2-40B4-BE49-F238E27FC236}">
                <a16:creationId xmlns:a16="http://schemas.microsoft.com/office/drawing/2014/main" id="{169BCCE9-B847-4FC8-1DFD-70BED4812F3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63600" y="369888"/>
            <a:ext cx="11328400" cy="450850"/>
          </a:xfrm>
        </p:spPr>
        <p:txBody>
          <a:bodyPr vert="horz"/>
          <a:lstStyle/>
          <a:p>
            <a:r>
              <a:rPr lang="it-IT" sz="2400">
                <a:solidFill>
                  <a:schemeClr val="tx2"/>
                </a:solidFill>
                <a:latin typeface="+mn-lt"/>
              </a:rPr>
              <a:t>La nascita di una </a:t>
            </a:r>
            <a:r>
              <a:rPr lang="it-IT" sz="2400" err="1">
                <a:solidFill>
                  <a:schemeClr val="tx2"/>
                </a:solidFill>
                <a:latin typeface="+mn-lt"/>
              </a:rPr>
              <a:t>stablecoin</a:t>
            </a:r>
            <a:r>
              <a:rPr lang="it-IT" sz="2400">
                <a:solidFill>
                  <a:schemeClr val="tx2"/>
                </a:solidFill>
                <a:latin typeface="+mn-lt"/>
              </a:rPr>
              <a:t> europea pone un interrogativo inevitabile: rappresenta una minaccia o un complemento per l’euro digitale?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B99F658-2519-88D2-2D0A-B8C33BF38941}"/>
              </a:ext>
            </a:extLst>
          </p:cNvPr>
          <p:cNvGrpSpPr/>
          <p:nvPr/>
        </p:nvGrpSpPr>
        <p:grpSpPr>
          <a:xfrm>
            <a:off x="503340" y="1488087"/>
            <a:ext cx="5303520" cy="3130263"/>
            <a:chOff x="-125052" y="2607847"/>
            <a:chExt cx="6148626" cy="3799531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9B3A120-2540-453E-DDCD-F660476B215E}"/>
                </a:ext>
              </a:extLst>
            </p:cNvPr>
            <p:cNvGrpSpPr/>
            <p:nvPr/>
          </p:nvGrpSpPr>
          <p:grpSpPr>
            <a:xfrm>
              <a:off x="1994446" y="4038555"/>
              <a:ext cx="4022085" cy="2368823"/>
              <a:chOff x="1982089" y="4186839"/>
              <a:chExt cx="4022085" cy="2368823"/>
            </a:xfrm>
          </p:grpSpPr>
          <p:sp>
            <p:nvSpPr>
              <p:cNvPr id="42" name="Textfeld 7">
                <a:extLst>
                  <a:ext uri="{FF2B5EF4-FFF2-40B4-BE49-F238E27FC236}">
                    <a16:creationId xmlns:a16="http://schemas.microsoft.com/office/drawing/2014/main" id="{7BF58B0F-7CF7-C473-AA78-8AE3DDB06761}"/>
                  </a:ext>
                </a:extLst>
              </p:cNvPr>
              <p:cNvSpPr txBox="1"/>
              <p:nvPr/>
            </p:nvSpPr>
            <p:spPr>
              <a:xfrm>
                <a:off x="3937243" y="4186839"/>
                <a:ext cx="2066931" cy="674204"/>
              </a:xfrm>
              <a:prstGeom prst="rect">
                <a:avLst/>
              </a:prstGeom>
              <a:noFill/>
              <a:ln w="12700" cap="sq">
                <a:noFill/>
                <a:miter lim="800000"/>
              </a:ln>
            </p:spPr>
            <p:txBody>
              <a:bodyPr wrap="square" lIns="144000" tIns="0" rIns="144000" bIns="0" rtlCol="0" anchor="ctr" anchorCtr="0">
                <a:noAutofit/>
              </a:bodyPr>
              <a:lstStyle/>
              <a:p>
                <a:pPr marL="0" marR="0" lvl="0" indent="0" algn="ctr" defTabSz="6854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FFE6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EYInterstate Light"/>
                    <a:ea typeface="+mn-ea"/>
                    <a:cs typeface="+mn-cs"/>
                  </a:rPr>
                  <a:t>INCLUSIONE FINANZIARIA</a:t>
                </a:r>
                <a:endPara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endParaRPr>
              </a:p>
            </p:txBody>
          </p:sp>
          <p:sp>
            <p:nvSpPr>
              <p:cNvPr id="43" name="Textfeld 7">
                <a:extLst>
                  <a:ext uri="{FF2B5EF4-FFF2-40B4-BE49-F238E27FC236}">
                    <a16:creationId xmlns:a16="http://schemas.microsoft.com/office/drawing/2014/main" id="{BB33EE9F-53B6-C389-AB47-36BAA3B44B78}"/>
                  </a:ext>
                </a:extLst>
              </p:cNvPr>
              <p:cNvSpPr txBox="1"/>
              <p:nvPr/>
            </p:nvSpPr>
            <p:spPr>
              <a:xfrm>
                <a:off x="1982089" y="5881458"/>
                <a:ext cx="2066931" cy="674204"/>
              </a:xfrm>
              <a:prstGeom prst="rect">
                <a:avLst/>
              </a:prstGeom>
              <a:noFill/>
              <a:ln w="12700" cap="sq">
                <a:noFill/>
                <a:miter lim="800000"/>
              </a:ln>
            </p:spPr>
            <p:txBody>
              <a:bodyPr wrap="square" lIns="144000" tIns="0" rIns="144000" bIns="0" rtlCol="0" anchor="ctr" anchorCtr="0">
                <a:noAutofit/>
              </a:bodyPr>
              <a:lstStyle>
                <a:defPPr>
                  <a:defRPr lang="en-US"/>
                </a:defPPr>
                <a:lvl1pPr lvl="0" defTabSz="685434">
                  <a:spcAft>
                    <a:spcPts val="600"/>
                  </a:spcAft>
                  <a:buClr>
                    <a:srgbClr val="FFE600"/>
                  </a:buClr>
                  <a:buSzPct val="80000"/>
                  <a:defRPr sz="1600" b="1" kern="0">
                    <a:solidFill>
                      <a:schemeClr val="bg1"/>
                    </a:solidFill>
                  </a:defRPr>
                </a:lvl1pPr>
              </a:lstStyle>
              <a:p>
                <a:pPr marL="0" marR="0" lvl="0" indent="0" algn="ctr" defTabSz="6854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FFE6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EYInterstate Light"/>
                    <a:ea typeface="+mn-ea"/>
                    <a:cs typeface="+mn-cs"/>
                  </a:rPr>
                  <a:t>MERCATO UNICO PIÙ INTEGRATO</a:t>
                </a:r>
                <a:endPara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endParaRPr>
              </a:p>
            </p:txBody>
          </p:sp>
          <p:sp>
            <p:nvSpPr>
              <p:cNvPr id="44" name="Textfeld 7">
                <a:extLst>
                  <a:ext uri="{FF2B5EF4-FFF2-40B4-BE49-F238E27FC236}">
                    <a16:creationId xmlns:a16="http://schemas.microsoft.com/office/drawing/2014/main" id="{B17CF768-C99C-ECB9-F7A4-E93FDB92E8C1}"/>
                  </a:ext>
                </a:extLst>
              </p:cNvPr>
              <p:cNvSpPr txBox="1"/>
              <p:nvPr/>
            </p:nvSpPr>
            <p:spPr>
              <a:xfrm>
                <a:off x="3922189" y="5037360"/>
                <a:ext cx="2066931" cy="674204"/>
              </a:xfrm>
              <a:prstGeom prst="rect">
                <a:avLst/>
              </a:prstGeom>
              <a:noFill/>
              <a:ln w="12700" cap="sq">
                <a:noFill/>
                <a:miter lim="800000"/>
              </a:ln>
            </p:spPr>
            <p:txBody>
              <a:bodyPr wrap="square" lIns="144000" tIns="0" rIns="144000" bIns="0" rtlCol="0" anchor="ctr" anchorCtr="0">
                <a:noAutofit/>
              </a:bodyPr>
              <a:lstStyle/>
              <a:p>
                <a:pPr marL="0" marR="0" lvl="0" indent="0" algn="ctr" defTabSz="6854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FFE6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EYInterstate Light"/>
                    <a:ea typeface="+mn-ea"/>
                    <a:cs typeface="+mn-cs"/>
                  </a:rPr>
                  <a:t>SICUREZZA E RESILIENZA</a:t>
                </a:r>
                <a:endPara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endParaRP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D47C242-CFF3-938A-7DC3-1F355F80E991}"/>
                </a:ext>
              </a:extLst>
            </p:cNvPr>
            <p:cNvGrpSpPr/>
            <p:nvPr/>
          </p:nvGrpSpPr>
          <p:grpSpPr>
            <a:xfrm>
              <a:off x="-125052" y="2607847"/>
              <a:ext cx="4043582" cy="2118022"/>
              <a:chOff x="-137409" y="2756131"/>
              <a:chExt cx="4043582" cy="2118022"/>
            </a:xfrm>
          </p:grpSpPr>
          <p:sp>
            <p:nvSpPr>
              <p:cNvPr id="39" name="Textfeld 7">
                <a:extLst>
                  <a:ext uri="{FF2B5EF4-FFF2-40B4-BE49-F238E27FC236}">
                    <a16:creationId xmlns:a16="http://schemas.microsoft.com/office/drawing/2014/main" id="{34FF9A39-4B0D-4746-1B1D-9BAA40030224}"/>
                  </a:ext>
                </a:extLst>
              </p:cNvPr>
              <p:cNvSpPr txBox="1"/>
              <p:nvPr/>
            </p:nvSpPr>
            <p:spPr>
              <a:xfrm>
                <a:off x="2027145" y="2756131"/>
                <a:ext cx="1879028" cy="674204"/>
              </a:xfrm>
              <a:prstGeom prst="rect">
                <a:avLst/>
              </a:prstGeom>
              <a:noFill/>
              <a:ln w="12700" cap="sq">
                <a:noFill/>
                <a:miter lim="800000"/>
              </a:ln>
            </p:spPr>
            <p:txBody>
              <a:bodyPr wrap="square" lIns="144000" tIns="0" rIns="144000" bIns="0" rtlCol="0" anchor="ctr" anchorCtr="0">
                <a:noAutofit/>
              </a:bodyPr>
              <a:lstStyle/>
              <a:p>
                <a:pPr marL="0" marR="0" lvl="0" indent="0" algn="ctr" defTabSz="6854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FFE6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EYInterstate Light"/>
                    <a:ea typeface="+mn-ea"/>
                    <a:cs typeface="+mn-cs"/>
                  </a:rPr>
                  <a:t>SOVRANITÀ EUROPEA</a:t>
                </a:r>
                <a:endPara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endParaRPr>
              </a:p>
            </p:txBody>
          </p:sp>
          <p:sp>
            <p:nvSpPr>
              <p:cNvPr id="40" name="Textfeld 7">
                <a:extLst>
                  <a:ext uri="{FF2B5EF4-FFF2-40B4-BE49-F238E27FC236}">
                    <a16:creationId xmlns:a16="http://schemas.microsoft.com/office/drawing/2014/main" id="{715F1FA0-9667-2578-CD62-85039F750682}"/>
                  </a:ext>
                </a:extLst>
              </p:cNvPr>
              <p:cNvSpPr txBox="1"/>
              <p:nvPr/>
            </p:nvSpPr>
            <p:spPr>
              <a:xfrm>
                <a:off x="-72076" y="4199949"/>
                <a:ext cx="2066931" cy="674204"/>
              </a:xfrm>
              <a:prstGeom prst="rect">
                <a:avLst/>
              </a:prstGeom>
              <a:noFill/>
              <a:ln w="12700" cap="sq">
                <a:noFill/>
                <a:miter lim="800000"/>
              </a:ln>
            </p:spPr>
            <p:txBody>
              <a:bodyPr wrap="square" lIns="144000" tIns="0" rIns="144000" bIns="0" rtlCol="0" anchor="ctr" anchorCtr="0">
                <a:noAutofit/>
              </a:bodyPr>
              <a:lstStyle/>
              <a:p>
                <a:pPr marL="0" marR="0" lvl="0" indent="0" algn="ctr" defTabSz="6854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FFE6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EYInterstate Light"/>
                    <a:ea typeface="+mn-ea"/>
                    <a:cs typeface="+mn-cs"/>
                  </a:rPr>
                  <a:t>COMPETITIVITÀ</a:t>
                </a:r>
                <a:r>
                  <a:rPr kumimoji="0" lang="it-IT" sz="16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EYInterstate Light"/>
                    <a:ea typeface="+mn-ea"/>
                    <a:cs typeface="+mn-cs"/>
                  </a:rPr>
                  <a:t> GLOBALE</a:t>
                </a:r>
                <a:endPara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endParaRPr>
              </a:p>
            </p:txBody>
          </p:sp>
          <p:sp>
            <p:nvSpPr>
              <p:cNvPr id="41" name="Textfeld 7">
                <a:extLst>
                  <a:ext uri="{FF2B5EF4-FFF2-40B4-BE49-F238E27FC236}">
                    <a16:creationId xmlns:a16="http://schemas.microsoft.com/office/drawing/2014/main" id="{983FC211-AC6A-5C04-96BD-4A7F62EE79EA}"/>
                  </a:ext>
                </a:extLst>
              </p:cNvPr>
              <p:cNvSpPr txBox="1"/>
              <p:nvPr/>
            </p:nvSpPr>
            <p:spPr>
              <a:xfrm>
                <a:off x="-137409" y="3456936"/>
                <a:ext cx="2066931" cy="674204"/>
              </a:xfrm>
              <a:prstGeom prst="rect">
                <a:avLst/>
              </a:prstGeom>
              <a:noFill/>
              <a:ln w="12700" cap="sq">
                <a:noFill/>
                <a:miter lim="800000"/>
              </a:ln>
            </p:spPr>
            <p:txBody>
              <a:bodyPr wrap="square" lIns="144000" tIns="0" rIns="144000" bIns="0" rtlCol="0" anchor="ctr" anchorCtr="0">
                <a:noAutofit/>
              </a:bodyPr>
              <a:lstStyle/>
              <a:p>
                <a:pPr marL="0" marR="0" lvl="0" indent="0" algn="ctr" defTabSz="6854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FFE6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EYInterstate Light"/>
                    <a:ea typeface="+mn-ea"/>
                    <a:cs typeface="+mn-cs"/>
                  </a:rPr>
                  <a:t>UTILIZZO GRATUITO</a:t>
                </a: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EF176212-4671-D1DA-8D33-EEA09335D113}"/>
                </a:ext>
              </a:extLst>
            </p:cNvPr>
            <p:cNvGrpSpPr/>
            <p:nvPr/>
          </p:nvGrpSpPr>
          <p:grpSpPr>
            <a:xfrm>
              <a:off x="-92359" y="3232813"/>
              <a:ext cx="6115933" cy="2431211"/>
              <a:chOff x="-147965" y="3381097"/>
              <a:chExt cx="6115933" cy="2431211"/>
            </a:xfrm>
          </p:grpSpPr>
          <p:grpSp>
            <p:nvGrpSpPr>
              <p:cNvPr id="11" name="Groupe 2069">
                <a:extLst>
                  <a:ext uri="{FF2B5EF4-FFF2-40B4-BE49-F238E27FC236}">
                    <a16:creationId xmlns:a16="http://schemas.microsoft.com/office/drawing/2014/main" id="{CD934EE1-E6A1-82AE-6F77-260EDADB0B8E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748163" y="3456835"/>
                <a:ext cx="2330110" cy="2305570"/>
                <a:chOff x="4134311" y="1799632"/>
                <a:chExt cx="3918572" cy="3877305"/>
              </a:xfrm>
            </p:grpSpPr>
            <p:sp>
              <p:nvSpPr>
                <p:cNvPr id="15" name="Forme libre : forme 36">
                  <a:extLst>
                    <a:ext uri="{FF2B5EF4-FFF2-40B4-BE49-F238E27FC236}">
                      <a16:creationId xmlns:a16="http://schemas.microsoft.com/office/drawing/2014/main" id="{39F576D6-F552-0D49-5C07-E82B038226D0}"/>
                    </a:ext>
                  </a:extLst>
                </p:cNvPr>
                <p:cNvSpPr/>
                <p:nvPr/>
              </p:nvSpPr>
              <p:spPr>
                <a:xfrm rot="13500000" flipV="1">
                  <a:off x="5269600" y="1867169"/>
                  <a:ext cx="593755" cy="1006972"/>
                </a:xfrm>
                <a:custGeom>
                  <a:avLst/>
                  <a:gdLst>
                    <a:gd name="connsiteX0" fmla="*/ 176411 w 593755"/>
                    <a:gd name="connsiteY0" fmla="*/ 0 h 1006972"/>
                    <a:gd name="connsiteX1" fmla="*/ 0 w 593755"/>
                    <a:gd name="connsiteY1" fmla="*/ 176410 h 1006972"/>
                    <a:gd name="connsiteX2" fmla="*/ 36277 w 593755"/>
                    <a:gd name="connsiteY2" fmla="*/ 216545 h 1006972"/>
                    <a:gd name="connsiteX3" fmla="*/ 342119 w 593755"/>
                    <a:gd name="connsiteY3" fmla="*/ 961842 h 1006972"/>
                    <a:gd name="connsiteX4" fmla="*/ 344274 w 593755"/>
                    <a:gd name="connsiteY4" fmla="*/ 1006972 h 1006972"/>
                    <a:gd name="connsiteX5" fmla="*/ 593755 w 593755"/>
                    <a:gd name="connsiteY5" fmla="*/ 1006972 h 1006972"/>
                    <a:gd name="connsiteX6" fmla="*/ 590459 w 593755"/>
                    <a:gd name="connsiteY6" fmla="*/ 937928 h 1006972"/>
                    <a:gd name="connsiteX7" fmla="*/ 229814 w 593755"/>
                    <a:gd name="connsiteY7" fmla="*/ 59082 h 1006972"/>
                    <a:gd name="connsiteX8" fmla="*/ 176411 w 593755"/>
                    <a:gd name="connsiteY8" fmla="*/ 0 h 10069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93755" h="1006972">
                      <a:moveTo>
                        <a:pt x="176411" y="0"/>
                      </a:moveTo>
                      <a:lnTo>
                        <a:pt x="0" y="176410"/>
                      </a:lnTo>
                      <a:lnTo>
                        <a:pt x="36277" y="216545"/>
                      </a:lnTo>
                      <a:cubicBezTo>
                        <a:pt x="214685" y="435285"/>
                        <a:pt x="316632" y="695594"/>
                        <a:pt x="342119" y="961842"/>
                      </a:cubicBezTo>
                      <a:lnTo>
                        <a:pt x="344274" y="1006972"/>
                      </a:lnTo>
                      <a:lnTo>
                        <a:pt x="593755" y="1006972"/>
                      </a:lnTo>
                      <a:lnTo>
                        <a:pt x="590459" y="937928"/>
                      </a:lnTo>
                      <a:cubicBezTo>
                        <a:pt x="560405" y="623972"/>
                        <a:pt x="440190" y="317019"/>
                        <a:pt x="229814" y="59082"/>
                      </a:cubicBezTo>
                      <a:lnTo>
                        <a:pt x="176411" y="0"/>
                      </a:lnTo>
                      <a:close/>
                    </a:path>
                  </a:pathLst>
                </a:custGeom>
                <a:solidFill>
                  <a:schemeClr val="accent3">
                    <a:lumMod val="20000"/>
                    <a:lumOff val="80000"/>
                  </a:schemeClr>
                </a:solidFill>
                <a:ln>
                  <a:solidFill>
                    <a:schemeClr val="accent3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EYInterstate Light"/>
                    <a:ea typeface="+mn-ea"/>
                    <a:cs typeface="+mn-cs"/>
                  </a:endParaRPr>
                </a:p>
              </p:txBody>
            </p:sp>
            <p:sp>
              <p:nvSpPr>
                <p:cNvPr id="16" name="Forme libre : forme 35">
                  <a:extLst>
                    <a:ext uri="{FF2B5EF4-FFF2-40B4-BE49-F238E27FC236}">
                      <a16:creationId xmlns:a16="http://schemas.microsoft.com/office/drawing/2014/main" id="{0244AED3-67F3-EE1F-E716-27EEBD50C2A9}"/>
                    </a:ext>
                  </a:extLst>
                </p:cNvPr>
                <p:cNvSpPr/>
                <p:nvPr/>
              </p:nvSpPr>
              <p:spPr>
                <a:xfrm rot="13500000" flipV="1">
                  <a:off x="6122039" y="2073778"/>
                  <a:ext cx="1006973" cy="593754"/>
                </a:xfrm>
                <a:custGeom>
                  <a:avLst/>
                  <a:gdLst>
                    <a:gd name="connsiteX0" fmla="*/ 1006973 w 1006973"/>
                    <a:gd name="connsiteY0" fmla="*/ 417344 h 593754"/>
                    <a:gd name="connsiteX1" fmla="*/ 947891 w 1006973"/>
                    <a:gd name="connsiteY1" fmla="*/ 363942 h 593754"/>
                    <a:gd name="connsiteX2" fmla="*/ 69045 w 1006973"/>
                    <a:gd name="connsiteY2" fmla="*/ 3296 h 593754"/>
                    <a:gd name="connsiteX3" fmla="*/ 0 w 1006973"/>
                    <a:gd name="connsiteY3" fmla="*/ 0 h 593754"/>
                    <a:gd name="connsiteX4" fmla="*/ 0 w 1006973"/>
                    <a:gd name="connsiteY4" fmla="*/ 249481 h 593754"/>
                    <a:gd name="connsiteX5" fmla="*/ 45131 w 1006973"/>
                    <a:gd name="connsiteY5" fmla="*/ 251636 h 593754"/>
                    <a:gd name="connsiteX6" fmla="*/ 790428 w 1006973"/>
                    <a:gd name="connsiteY6" fmla="*/ 557478 h 593754"/>
                    <a:gd name="connsiteX7" fmla="*/ 830563 w 1006973"/>
                    <a:gd name="connsiteY7" fmla="*/ 593754 h 593754"/>
                    <a:gd name="connsiteX8" fmla="*/ 1006973 w 1006973"/>
                    <a:gd name="connsiteY8" fmla="*/ 417344 h 5937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06973" h="593754">
                      <a:moveTo>
                        <a:pt x="1006973" y="417344"/>
                      </a:moveTo>
                      <a:lnTo>
                        <a:pt x="947891" y="363942"/>
                      </a:lnTo>
                      <a:cubicBezTo>
                        <a:pt x="689954" y="153565"/>
                        <a:pt x="383001" y="33350"/>
                        <a:pt x="69045" y="3296"/>
                      </a:cubicBezTo>
                      <a:lnTo>
                        <a:pt x="0" y="0"/>
                      </a:lnTo>
                      <a:lnTo>
                        <a:pt x="0" y="249481"/>
                      </a:lnTo>
                      <a:lnTo>
                        <a:pt x="45131" y="251636"/>
                      </a:lnTo>
                      <a:cubicBezTo>
                        <a:pt x="311379" y="277123"/>
                        <a:pt x="571688" y="379071"/>
                        <a:pt x="790428" y="557478"/>
                      </a:cubicBezTo>
                      <a:lnTo>
                        <a:pt x="830563" y="593754"/>
                      </a:lnTo>
                      <a:lnTo>
                        <a:pt x="1006973" y="417344"/>
                      </a:lnTo>
                      <a:close/>
                    </a:path>
                  </a:pathLst>
                </a:custGeom>
                <a:solidFill>
                  <a:schemeClr val="accent3">
                    <a:lumMod val="20000"/>
                    <a:lumOff val="80000"/>
                  </a:schemeClr>
                </a:solidFill>
                <a:ln>
                  <a:solidFill>
                    <a:schemeClr val="accent3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EYInterstate Light"/>
                    <a:ea typeface="+mn-ea"/>
                    <a:cs typeface="+mn-cs"/>
                  </a:endParaRPr>
                </a:p>
              </p:txBody>
            </p:sp>
            <p:sp>
              <p:nvSpPr>
                <p:cNvPr id="17" name="Forme libre : forme 31">
                  <a:extLst>
                    <a:ext uri="{FF2B5EF4-FFF2-40B4-BE49-F238E27FC236}">
                      <a16:creationId xmlns:a16="http://schemas.microsoft.com/office/drawing/2014/main" id="{8EA4D0B8-7E7A-1BCE-1ACC-2858D0606D1A}"/>
                    </a:ext>
                  </a:extLst>
                </p:cNvPr>
                <p:cNvSpPr/>
                <p:nvPr/>
              </p:nvSpPr>
              <p:spPr>
                <a:xfrm rot="13500000" flipV="1">
                  <a:off x="4432654" y="2704112"/>
                  <a:ext cx="593756" cy="1006974"/>
                </a:xfrm>
                <a:custGeom>
                  <a:avLst/>
                  <a:gdLst>
                    <a:gd name="connsiteX0" fmla="*/ 593756 w 593756"/>
                    <a:gd name="connsiteY0" fmla="*/ 0 h 1006974"/>
                    <a:gd name="connsiteX1" fmla="*/ 344274 w 593756"/>
                    <a:gd name="connsiteY1" fmla="*/ 0 h 1006974"/>
                    <a:gd name="connsiteX2" fmla="*/ 342119 w 593756"/>
                    <a:gd name="connsiteY2" fmla="*/ 45131 h 1006974"/>
                    <a:gd name="connsiteX3" fmla="*/ 36277 w 593756"/>
                    <a:gd name="connsiteY3" fmla="*/ 790429 h 1006974"/>
                    <a:gd name="connsiteX4" fmla="*/ 0 w 593756"/>
                    <a:gd name="connsiteY4" fmla="*/ 830564 h 1006974"/>
                    <a:gd name="connsiteX5" fmla="*/ 176411 w 593756"/>
                    <a:gd name="connsiteY5" fmla="*/ 1006974 h 1006974"/>
                    <a:gd name="connsiteX6" fmla="*/ 229814 w 593756"/>
                    <a:gd name="connsiteY6" fmla="*/ 947892 h 1006974"/>
                    <a:gd name="connsiteX7" fmla="*/ 590459 w 593756"/>
                    <a:gd name="connsiteY7" fmla="*/ 69046 h 1006974"/>
                    <a:gd name="connsiteX8" fmla="*/ 593756 w 593756"/>
                    <a:gd name="connsiteY8" fmla="*/ 0 h 10069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93756" h="1006974">
                      <a:moveTo>
                        <a:pt x="593756" y="0"/>
                      </a:moveTo>
                      <a:lnTo>
                        <a:pt x="344274" y="0"/>
                      </a:lnTo>
                      <a:lnTo>
                        <a:pt x="342119" y="45131"/>
                      </a:lnTo>
                      <a:cubicBezTo>
                        <a:pt x="316632" y="311379"/>
                        <a:pt x="214685" y="571688"/>
                        <a:pt x="36277" y="790429"/>
                      </a:cubicBezTo>
                      <a:lnTo>
                        <a:pt x="0" y="830564"/>
                      </a:lnTo>
                      <a:lnTo>
                        <a:pt x="176411" y="1006974"/>
                      </a:lnTo>
                      <a:lnTo>
                        <a:pt x="229814" y="947892"/>
                      </a:lnTo>
                      <a:cubicBezTo>
                        <a:pt x="440190" y="689955"/>
                        <a:pt x="560405" y="383001"/>
                        <a:pt x="590459" y="69046"/>
                      </a:cubicBezTo>
                      <a:lnTo>
                        <a:pt x="593756" y="0"/>
                      </a:lnTo>
                      <a:close/>
                    </a:path>
                  </a:pathLst>
                </a:custGeom>
                <a:solidFill>
                  <a:schemeClr val="accent3">
                    <a:lumMod val="20000"/>
                    <a:lumOff val="80000"/>
                  </a:schemeClr>
                </a:solidFill>
                <a:ln>
                  <a:solidFill>
                    <a:schemeClr val="accent3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EYInterstate Light"/>
                    <a:ea typeface="+mn-ea"/>
                    <a:cs typeface="+mn-cs"/>
                  </a:endParaRPr>
                </a:p>
              </p:txBody>
            </p:sp>
            <p:sp>
              <p:nvSpPr>
                <p:cNvPr id="18" name="Forme libre : forme 30">
                  <a:extLst>
                    <a:ext uri="{FF2B5EF4-FFF2-40B4-BE49-F238E27FC236}">
                      <a16:creationId xmlns:a16="http://schemas.microsoft.com/office/drawing/2014/main" id="{5D8CD6EA-95D6-B72F-0F91-4C17012131B5}"/>
                    </a:ext>
                  </a:extLst>
                </p:cNvPr>
                <p:cNvSpPr/>
                <p:nvPr/>
              </p:nvSpPr>
              <p:spPr>
                <a:xfrm rot="13500000" flipV="1">
                  <a:off x="6958983" y="2910722"/>
                  <a:ext cx="1006973" cy="593755"/>
                </a:xfrm>
                <a:custGeom>
                  <a:avLst/>
                  <a:gdLst>
                    <a:gd name="connsiteX0" fmla="*/ 1006973 w 1006973"/>
                    <a:gd name="connsiteY0" fmla="*/ 0 h 593755"/>
                    <a:gd name="connsiteX1" fmla="*/ 937929 w 1006973"/>
                    <a:gd name="connsiteY1" fmla="*/ 3296 h 593755"/>
                    <a:gd name="connsiteX2" fmla="*/ 59082 w 1006973"/>
                    <a:gd name="connsiteY2" fmla="*/ 363942 h 593755"/>
                    <a:gd name="connsiteX3" fmla="*/ 0 w 1006973"/>
                    <a:gd name="connsiteY3" fmla="*/ 417344 h 593755"/>
                    <a:gd name="connsiteX4" fmla="*/ 176410 w 1006973"/>
                    <a:gd name="connsiteY4" fmla="*/ 593755 h 593755"/>
                    <a:gd name="connsiteX5" fmla="*/ 216545 w 1006973"/>
                    <a:gd name="connsiteY5" fmla="*/ 557478 h 593755"/>
                    <a:gd name="connsiteX6" fmla="*/ 961843 w 1006973"/>
                    <a:gd name="connsiteY6" fmla="*/ 251636 h 593755"/>
                    <a:gd name="connsiteX7" fmla="*/ 1006973 w 1006973"/>
                    <a:gd name="connsiteY7" fmla="*/ 249481 h 593755"/>
                    <a:gd name="connsiteX8" fmla="*/ 1006973 w 1006973"/>
                    <a:gd name="connsiteY8" fmla="*/ 0 h 5937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06973" h="593755">
                      <a:moveTo>
                        <a:pt x="1006973" y="0"/>
                      </a:moveTo>
                      <a:lnTo>
                        <a:pt x="937929" y="3296"/>
                      </a:lnTo>
                      <a:cubicBezTo>
                        <a:pt x="623973" y="33350"/>
                        <a:pt x="317019" y="153565"/>
                        <a:pt x="59082" y="363942"/>
                      </a:cubicBezTo>
                      <a:lnTo>
                        <a:pt x="0" y="417344"/>
                      </a:lnTo>
                      <a:lnTo>
                        <a:pt x="176410" y="593755"/>
                      </a:lnTo>
                      <a:lnTo>
                        <a:pt x="216545" y="557478"/>
                      </a:lnTo>
                      <a:cubicBezTo>
                        <a:pt x="435286" y="379071"/>
                        <a:pt x="695595" y="277123"/>
                        <a:pt x="961843" y="251636"/>
                      </a:cubicBezTo>
                      <a:lnTo>
                        <a:pt x="1006973" y="249481"/>
                      </a:lnTo>
                      <a:lnTo>
                        <a:pt x="1006973" y="0"/>
                      </a:lnTo>
                      <a:close/>
                    </a:path>
                  </a:pathLst>
                </a:custGeom>
                <a:solidFill>
                  <a:schemeClr val="accent3">
                    <a:lumMod val="20000"/>
                    <a:lumOff val="80000"/>
                  </a:schemeClr>
                </a:solidFill>
                <a:ln>
                  <a:solidFill>
                    <a:schemeClr val="accent3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EYInterstate Light"/>
                    <a:ea typeface="+mn-ea"/>
                    <a:cs typeface="+mn-cs"/>
                  </a:endParaRPr>
                </a:p>
              </p:txBody>
            </p:sp>
            <p:sp>
              <p:nvSpPr>
                <p:cNvPr id="19" name="Forme libre : forme 16">
                  <a:extLst>
                    <a:ext uri="{FF2B5EF4-FFF2-40B4-BE49-F238E27FC236}">
                      <a16:creationId xmlns:a16="http://schemas.microsoft.com/office/drawing/2014/main" id="{6EA561B7-CF2C-2CA4-D9D7-26D815DB82DF}"/>
                    </a:ext>
                  </a:extLst>
                </p:cNvPr>
                <p:cNvSpPr/>
                <p:nvPr/>
              </p:nvSpPr>
              <p:spPr>
                <a:xfrm rot="13500000" flipV="1">
                  <a:off x="4226046" y="3969771"/>
                  <a:ext cx="1006973" cy="593754"/>
                </a:xfrm>
                <a:custGeom>
                  <a:avLst/>
                  <a:gdLst>
                    <a:gd name="connsiteX0" fmla="*/ 1006973 w 1006973"/>
                    <a:gd name="connsiteY0" fmla="*/ 176410 h 593754"/>
                    <a:gd name="connsiteX1" fmla="*/ 830563 w 1006973"/>
                    <a:gd name="connsiteY1" fmla="*/ 0 h 593754"/>
                    <a:gd name="connsiteX2" fmla="*/ 790428 w 1006973"/>
                    <a:gd name="connsiteY2" fmla="*/ 36275 h 593754"/>
                    <a:gd name="connsiteX3" fmla="*/ 45131 w 1006973"/>
                    <a:gd name="connsiteY3" fmla="*/ 342118 h 593754"/>
                    <a:gd name="connsiteX4" fmla="*/ 0 w 1006973"/>
                    <a:gd name="connsiteY4" fmla="*/ 344272 h 593754"/>
                    <a:gd name="connsiteX5" fmla="*/ 0 w 1006973"/>
                    <a:gd name="connsiteY5" fmla="*/ 593754 h 593754"/>
                    <a:gd name="connsiteX6" fmla="*/ 69045 w 1006973"/>
                    <a:gd name="connsiteY6" fmla="*/ 590458 h 593754"/>
                    <a:gd name="connsiteX7" fmla="*/ 947891 w 1006973"/>
                    <a:gd name="connsiteY7" fmla="*/ 229812 h 593754"/>
                    <a:gd name="connsiteX8" fmla="*/ 1006973 w 1006973"/>
                    <a:gd name="connsiteY8" fmla="*/ 176410 h 5937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06973" h="593754">
                      <a:moveTo>
                        <a:pt x="1006973" y="176410"/>
                      </a:moveTo>
                      <a:lnTo>
                        <a:pt x="830563" y="0"/>
                      </a:lnTo>
                      <a:lnTo>
                        <a:pt x="790428" y="36275"/>
                      </a:lnTo>
                      <a:cubicBezTo>
                        <a:pt x="571688" y="214683"/>
                        <a:pt x="311379" y="316631"/>
                        <a:pt x="45131" y="342118"/>
                      </a:cubicBezTo>
                      <a:lnTo>
                        <a:pt x="0" y="344272"/>
                      </a:lnTo>
                      <a:lnTo>
                        <a:pt x="0" y="593754"/>
                      </a:lnTo>
                      <a:lnTo>
                        <a:pt x="69045" y="590458"/>
                      </a:lnTo>
                      <a:cubicBezTo>
                        <a:pt x="383001" y="560404"/>
                        <a:pt x="689954" y="440189"/>
                        <a:pt x="947891" y="229812"/>
                      </a:cubicBezTo>
                      <a:lnTo>
                        <a:pt x="1006973" y="176410"/>
                      </a:lnTo>
                      <a:close/>
                    </a:path>
                  </a:pathLst>
                </a:custGeom>
                <a:solidFill>
                  <a:schemeClr val="accent3">
                    <a:lumMod val="20000"/>
                    <a:lumOff val="80000"/>
                  </a:schemeClr>
                </a:solidFill>
                <a:ln>
                  <a:solidFill>
                    <a:schemeClr val="accent3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EYInterstate Light"/>
                    <a:ea typeface="+mn-ea"/>
                    <a:cs typeface="+mn-cs"/>
                  </a:endParaRPr>
                </a:p>
              </p:txBody>
            </p:sp>
            <p:sp>
              <p:nvSpPr>
                <p:cNvPr id="20" name="Forme libre : forme 12">
                  <a:extLst>
                    <a:ext uri="{FF2B5EF4-FFF2-40B4-BE49-F238E27FC236}">
                      <a16:creationId xmlns:a16="http://schemas.microsoft.com/office/drawing/2014/main" id="{84690284-3C32-A872-AA5F-8ECD464A95DF}"/>
                    </a:ext>
                  </a:extLst>
                </p:cNvPr>
                <p:cNvSpPr/>
                <p:nvPr/>
              </p:nvSpPr>
              <p:spPr>
                <a:xfrm rot="13500000" flipV="1">
                  <a:off x="7165592" y="3763161"/>
                  <a:ext cx="593755" cy="1006973"/>
                </a:xfrm>
                <a:custGeom>
                  <a:avLst/>
                  <a:gdLst>
                    <a:gd name="connsiteX0" fmla="*/ 593755 w 593755"/>
                    <a:gd name="connsiteY0" fmla="*/ 176411 h 1006973"/>
                    <a:gd name="connsiteX1" fmla="*/ 417344 w 593755"/>
                    <a:gd name="connsiteY1" fmla="*/ 0 h 1006973"/>
                    <a:gd name="connsiteX2" fmla="*/ 363942 w 593755"/>
                    <a:gd name="connsiteY2" fmla="*/ 59082 h 1006973"/>
                    <a:gd name="connsiteX3" fmla="*/ 3297 w 593755"/>
                    <a:gd name="connsiteY3" fmla="*/ 937928 h 1006973"/>
                    <a:gd name="connsiteX4" fmla="*/ 0 w 593755"/>
                    <a:gd name="connsiteY4" fmla="*/ 1006973 h 1006973"/>
                    <a:gd name="connsiteX5" fmla="*/ 249482 w 593755"/>
                    <a:gd name="connsiteY5" fmla="*/ 1006973 h 1006973"/>
                    <a:gd name="connsiteX6" fmla="*/ 251637 w 593755"/>
                    <a:gd name="connsiteY6" fmla="*/ 961842 h 1006973"/>
                    <a:gd name="connsiteX7" fmla="*/ 557479 w 593755"/>
                    <a:gd name="connsiteY7" fmla="*/ 216545 h 1006973"/>
                    <a:gd name="connsiteX8" fmla="*/ 593755 w 593755"/>
                    <a:gd name="connsiteY8" fmla="*/ 176411 h 10069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93755" h="1006973">
                      <a:moveTo>
                        <a:pt x="593755" y="176411"/>
                      </a:moveTo>
                      <a:lnTo>
                        <a:pt x="417344" y="0"/>
                      </a:lnTo>
                      <a:lnTo>
                        <a:pt x="363942" y="59082"/>
                      </a:lnTo>
                      <a:cubicBezTo>
                        <a:pt x="153566" y="317019"/>
                        <a:pt x="33350" y="623972"/>
                        <a:pt x="3297" y="937928"/>
                      </a:cubicBezTo>
                      <a:lnTo>
                        <a:pt x="0" y="1006973"/>
                      </a:lnTo>
                      <a:lnTo>
                        <a:pt x="249482" y="1006973"/>
                      </a:lnTo>
                      <a:lnTo>
                        <a:pt x="251637" y="961842"/>
                      </a:lnTo>
                      <a:cubicBezTo>
                        <a:pt x="277124" y="695594"/>
                        <a:pt x="379071" y="435285"/>
                        <a:pt x="557479" y="216545"/>
                      </a:cubicBezTo>
                      <a:lnTo>
                        <a:pt x="593755" y="176411"/>
                      </a:lnTo>
                      <a:close/>
                    </a:path>
                  </a:pathLst>
                </a:custGeom>
                <a:solidFill>
                  <a:schemeClr val="accent3">
                    <a:lumMod val="20000"/>
                    <a:lumOff val="80000"/>
                  </a:schemeClr>
                </a:solidFill>
                <a:ln>
                  <a:solidFill>
                    <a:schemeClr val="accent3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EYInterstate Light"/>
                    <a:ea typeface="+mn-ea"/>
                    <a:cs typeface="+mn-cs"/>
                  </a:endParaRPr>
                </a:p>
              </p:txBody>
            </p:sp>
            <p:sp>
              <p:nvSpPr>
                <p:cNvPr id="21" name="Forme libre : forme 10">
                  <a:extLst>
                    <a:ext uri="{FF2B5EF4-FFF2-40B4-BE49-F238E27FC236}">
                      <a16:creationId xmlns:a16="http://schemas.microsoft.com/office/drawing/2014/main" id="{ACEF941E-0559-54B9-6E1B-C7F7F64C4F11}"/>
                    </a:ext>
                  </a:extLst>
                </p:cNvPr>
                <p:cNvSpPr/>
                <p:nvPr/>
              </p:nvSpPr>
              <p:spPr>
                <a:xfrm rot="13500000" flipV="1">
                  <a:off x="6328648" y="4600105"/>
                  <a:ext cx="593755" cy="1006972"/>
                </a:xfrm>
                <a:custGeom>
                  <a:avLst/>
                  <a:gdLst>
                    <a:gd name="connsiteX0" fmla="*/ 249482 w 593755"/>
                    <a:gd name="connsiteY0" fmla="*/ 0 h 1006972"/>
                    <a:gd name="connsiteX1" fmla="*/ 0 w 593755"/>
                    <a:gd name="connsiteY1" fmla="*/ 0 h 1006972"/>
                    <a:gd name="connsiteX2" fmla="*/ 3297 w 593755"/>
                    <a:gd name="connsiteY2" fmla="*/ 69045 h 1006972"/>
                    <a:gd name="connsiteX3" fmla="*/ 363942 w 593755"/>
                    <a:gd name="connsiteY3" fmla="*/ 947891 h 1006972"/>
                    <a:gd name="connsiteX4" fmla="*/ 417344 w 593755"/>
                    <a:gd name="connsiteY4" fmla="*/ 1006972 h 1006972"/>
                    <a:gd name="connsiteX5" fmla="*/ 593755 w 593755"/>
                    <a:gd name="connsiteY5" fmla="*/ 830562 h 1006972"/>
                    <a:gd name="connsiteX6" fmla="*/ 557479 w 593755"/>
                    <a:gd name="connsiteY6" fmla="*/ 790428 h 1006972"/>
                    <a:gd name="connsiteX7" fmla="*/ 251637 w 593755"/>
                    <a:gd name="connsiteY7" fmla="*/ 45130 h 1006972"/>
                    <a:gd name="connsiteX8" fmla="*/ 249482 w 593755"/>
                    <a:gd name="connsiteY8" fmla="*/ 0 h 10069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93755" h="1006972">
                      <a:moveTo>
                        <a:pt x="249482" y="0"/>
                      </a:moveTo>
                      <a:lnTo>
                        <a:pt x="0" y="0"/>
                      </a:lnTo>
                      <a:lnTo>
                        <a:pt x="3297" y="69045"/>
                      </a:lnTo>
                      <a:cubicBezTo>
                        <a:pt x="33350" y="383000"/>
                        <a:pt x="153566" y="689954"/>
                        <a:pt x="363942" y="947891"/>
                      </a:cubicBezTo>
                      <a:lnTo>
                        <a:pt x="417344" y="1006972"/>
                      </a:lnTo>
                      <a:lnTo>
                        <a:pt x="593755" y="830562"/>
                      </a:lnTo>
                      <a:lnTo>
                        <a:pt x="557479" y="790428"/>
                      </a:lnTo>
                      <a:cubicBezTo>
                        <a:pt x="379071" y="571687"/>
                        <a:pt x="277123" y="311378"/>
                        <a:pt x="251637" y="45130"/>
                      </a:cubicBezTo>
                      <a:lnTo>
                        <a:pt x="249482" y="0"/>
                      </a:lnTo>
                      <a:close/>
                    </a:path>
                  </a:pathLst>
                </a:custGeom>
                <a:solidFill>
                  <a:schemeClr val="accent3">
                    <a:lumMod val="20000"/>
                    <a:lumOff val="80000"/>
                  </a:schemeClr>
                </a:solidFill>
                <a:ln>
                  <a:solidFill>
                    <a:schemeClr val="accent3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EYInterstate Light"/>
                    <a:ea typeface="+mn-ea"/>
                    <a:cs typeface="+mn-cs"/>
                  </a:endParaRPr>
                </a:p>
              </p:txBody>
            </p:sp>
            <p:sp>
              <p:nvSpPr>
                <p:cNvPr id="22" name="Forme libre : forme 9">
                  <a:extLst>
                    <a:ext uri="{FF2B5EF4-FFF2-40B4-BE49-F238E27FC236}">
                      <a16:creationId xmlns:a16="http://schemas.microsoft.com/office/drawing/2014/main" id="{0FAD5E29-5E14-6E88-6F97-3A8CAE88C623}"/>
                    </a:ext>
                  </a:extLst>
                </p:cNvPr>
                <p:cNvSpPr/>
                <p:nvPr/>
              </p:nvSpPr>
              <p:spPr>
                <a:xfrm rot="13500000" flipV="1">
                  <a:off x="5062991" y="4806714"/>
                  <a:ext cx="1006973" cy="593755"/>
                </a:xfrm>
                <a:custGeom>
                  <a:avLst/>
                  <a:gdLst>
                    <a:gd name="connsiteX0" fmla="*/ 1006973 w 1006973"/>
                    <a:gd name="connsiteY0" fmla="*/ 344273 h 593755"/>
                    <a:gd name="connsiteX1" fmla="*/ 961843 w 1006973"/>
                    <a:gd name="connsiteY1" fmla="*/ 342119 h 593755"/>
                    <a:gd name="connsiteX2" fmla="*/ 216545 w 1006973"/>
                    <a:gd name="connsiteY2" fmla="*/ 36276 h 593755"/>
                    <a:gd name="connsiteX3" fmla="*/ 176410 w 1006973"/>
                    <a:gd name="connsiteY3" fmla="*/ 0 h 593755"/>
                    <a:gd name="connsiteX4" fmla="*/ 0 w 1006973"/>
                    <a:gd name="connsiteY4" fmla="*/ 176411 h 593755"/>
                    <a:gd name="connsiteX5" fmla="*/ 59082 w 1006973"/>
                    <a:gd name="connsiteY5" fmla="*/ 229813 h 593755"/>
                    <a:gd name="connsiteX6" fmla="*/ 937929 w 1006973"/>
                    <a:gd name="connsiteY6" fmla="*/ 590459 h 593755"/>
                    <a:gd name="connsiteX7" fmla="*/ 1006972 w 1006973"/>
                    <a:gd name="connsiteY7" fmla="*/ 593755 h 593755"/>
                    <a:gd name="connsiteX8" fmla="*/ 1006973 w 1006973"/>
                    <a:gd name="connsiteY8" fmla="*/ 344273 h 5937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06973" h="593755">
                      <a:moveTo>
                        <a:pt x="1006973" y="344273"/>
                      </a:moveTo>
                      <a:lnTo>
                        <a:pt x="961843" y="342119"/>
                      </a:lnTo>
                      <a:cubicBezTo>
                        <a:pt x="695595" y="316632"/>
                        <a:pt x="435286" y="214684"/>
                        <a:pt x="216545" y="36276"/>
                      </a:cubicBezTo>
                      <a:lnTo>
                        <a:pt x="176410" y="0"/>
                      </a:lnTo>
                      <a:lnTo>
                        <a:pt x="0" y="176411"/>
                      </a:lnTo>
                      <a:lnTo>
                        <a:pt x="59082" y="229813"/>
                      </a:lnTo>
                      <a:cubicBezTo>
                        <a:pt x="317019" y="440190"/>
                        <a:pt x="623973" y="560405"/>
                        <a:pt x="937929" y="590459"/>
                      </a:cubicBezTo>
                      <a:lnTo>
                        <a:pt x="1006972" y="593755"/>
                      </a:lnTo>
                      <a:lnTo>
                        <a:pt x="1006973" y="344273"/>
                      </a:lnTo>
                      <a:close/>
                    </a:path>
                  </a:pathLst>
                </a:custGeom>
                <a:solidFill>
                  <a:schemeClr val="accent3">
                    <a:lumMod val="20000"/>
                    <a:lumOff val="80000"/>
                  </a:schemeClr>
                </a:solidFill>
                <a:ln>
                  <a:solidFill>
                    <a:schemeClr val="accent3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EYInterstate Light"/>
                    <a:ea typeface="+mn-ea"/>
                    <a:cs typeface="+mn-cs"/>
                  </a:endParaRPr>
                </a:p>
              </p:txBody>
            </p:sp>
            <p:cxnSp>
              <p:nvCxnSpPr>
                <p:cNvPr id="23" name="Connecteur droit 2048">
                  <a:extLst>
                    <a:ext uri="{FF2B5EF4-FFF2-40B4-BE49-F238E27FC236}">
                      <a16:creationId xmlns:a16="http://schemas.microsoft.com/office/drawing/2014/main" id="{C695F41D-90C5-D33E-10BB-8B259A70435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6018943" y="1799632"/>
                  <a:ext cx="0" cy="547166"/>
                </a:xfrm>
                <a:prstGeom prst="line">
                  <a:avLst/>
                </a:prstGeom>
                <a:ln w="28575">
                  <a:solidFill>
                    <a:schemeClr val="accent3"/>
                  </a:solidFill>
                  <a:prstDash val="solid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Connecteur droit 2051">
                  <a:extLst>
                    <a:ext uri="{FF2B5EF4-FFF2-40B4-BE49-F238E27FC236}">
                      <a16:creationId xmlns:a16="http://schemas.microsoft.com/office/drawing/2014/main" id="{D5471658-C161-21E3-3086-A62B7DF8596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6186583" y="5129771"/>
                  <a:ext cx="0" cy="547166"/>
                </a:xfrm>
                <a:prstGeom prst="line">
                  <a:avLst/>
                </a:prstGeom>
                <a:ln w="28575">
                  <a:solidFill>
                    <a:schemeClr val="accent3"/>
                  </a:solidFill>
                  <a:prstDash val="solid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25" name="Groupe 2054">
                  <a:extLst>
                    <a:ext uri="{FF2B5EF4-FFF2-40B4-BE49-F238E27FC236}">
                      <a16:creationId xmlns:a16="http://schemas.microsoft.com/office/drawing/2014/main" id="{4ADB1B05-330B-E245-67A5-BBF552261B37}"/>
                    </a:ext>
                  </a:extLst>
                </p:cNvPr>
                <p:cNvGrpSpPr/>
                <p:nvPr/>
              </p:nvGrpSpPr>
              <p:grpSpPr>
                <a:xfrm>
                  <a:off x="7207975" y="2226424"/>
                  <a:ext cx="722985" cy="547166"/>
                  <a:chOff x="7207975" y="2226424"/>
                  <a:chExt cx="722985" cy="547166"/>
                </a:xfrm>
              </p:grpSpPr>
              <p:cxnSp>
                <p:nvCxnSpPr>
                  <p:cNvPr id="37" name="Connecteur droit 2052">
                    <a:extLst>
                      <a:ext uri="{FF2B5EF4-FFF2-40B4-BE49-F238E27FC236}">
                        <a16:creationId xmlns:a16="http://schemas.microsoft.com/office/drawing/2014/main" id="{06ED35E9-4460-C97C-FA6E-D3A3BB64A9C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2580000" flipV="1">
                    <a:off x="7207975" y="2226424"/>
                    <a:ext cx="0" cy="547166"/>
                  </a:xfrm>
                  <a:prstGeom prst="line">
                    <a:avLst/>
                  </a:prstGeom>
                  <a:ln w="28575">
                    <a:solidFill>
                      <a:schemeClr val="accent3"/>
                    </a:solidFill>
                    <a:prstDash val="solid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8" name="Connecteur droit 2053">
                    <a:extLst>
                      <a:ext uri="{FF2B5EF4-FFF2-40B4-BE49-F238E27FC236}">
                        <a16:creationId xmlns:a16="http://schemas.microsoft.com/office/drawing/2014/main" id="{48BE8EAA-3EED-E1C9-66D9-84D7735BE49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5400000" flipV="1">
                    <a:off x="7657377" y="2030148"/>
                    <a:ext cx="0" cy="547166"/>
                  </a:xfrm>
                  <a:prstGeom prst="line">
                    <a:avLst/>
                  </a:prstGeom>
                  <a:ln w="28575">
                    <a:solidFill>
                      <a:schemeClr val="accent3"/>
                    </a:solidFill>
                    <a:prstDash val="solid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26" name="Groupe 2055">
                  <a:extLst>
                    <a:ext uri="{FF2B5EF4-FFF2-40B4-BE49-F238E27FC236}">
                      <a16:creationId xmlns:a16="http://schemas.microsoft.com/office/drawing/2014/main" id="{8ADDF5AE-7410-CE01-A88C-1A7D14D0EB16}"/>
                    </a:ext>
                  </a:extLst>
                </p:cNvPr>
                <p:cNvGrpSpPr/>
                <p:nvPr/>
              </p:nvGrpSpPr>
              <p:grpSpPr>
                <a:xfrm flipV="1">
                  <a:off x="7050601" y="4860349"/>
                  <a:ext cx="1002282" cy="187673"/>
                  <a:chOff x="6940108" y="2324849"/>
                  <a:chExt cx="1002282" cy="187673"/>
                </a:xfrm>
              </p:grpSpPr>
              <p:cxnSp>
                <p:nvCxnSpPr>
                  <p:cNvPr id="35" name="Connecteur droit 2056">
                    <a:extLst>
                      <a:ext uri="{FF2B5EF4-FFF2-40B4-BE49-F238E27FC236}">
                        <a16:creationId xmlns:a16="http://schemas.microsoft.com/office/drawing/2014/main" id="{83C32D76-6FD6-2895-5513-928C807563F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2700000" flipV="1">
                    <a:off x="7213691" y="2238939"/>
                    <a:ext cx="0" cy="547166"/>
                  </a:xfrm>
                  <a:prstGeom prst="line">
                    <a:avLst/>
                  </a:prstGeom>
                  <a:ln w="28575">
                    <a:solidFill>
                      <a:schemeClr val="accent3"/>
                    </a:solidFill>
                    <a:prstDash val="solid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6" name="Connecteur droit 2057">
                    <a:extLst>
                      <a:ext uri="{FF2B5EF4-FFF2-40B4-BE49-F238E27FC236}">
                        <a16:creationId xmlns:a16="http://schemas.microsoft.com/office/drawing/2014/main" id="{F97179E9-3CFD-9E71-E52B-89459112CF2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5400000" flipV="1">
                    <a:off x="7668807" y="2051266"/>
                    <a:ext cx="0" cy="547166"/>
                  </a:xfrm>
                  <a:prstGeom prst="line">
                    <a:avLst/>
                  </a:prstGeom>
                  <a:ln w="28575">
                    <a:solidFill>
                      <a:schemeClr val="accent3"/>
                    </a:solidFill>
                    <a:prstDash val="solid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27" name="Groupe 2058">
                  <a:extLst>
                    <a:ext uri="{FF2B5EF4-FFF2-40B4-BE49-F238E27FC236}">
                      <a16:creationId xmlns:a16="http://schemas.microsoft.com/office/drawing/2014/main" id="{0A9A73EE-A12A-F65E-2A80-DECE1369AE6D}"/>
                    </a:ext>
                  </a:extLst>
                </p:cNvPr>
                <p:cNvGrpSpPr/>
                <p:nvPr/>
              </p:nvGrpSpPr>
              <p:grpSpPr>
                <a:xfrm flipH="1" flipV="1">
                  <a:off x="4134311" y="4855797"/>
                  <a:ext cx="1002282" cy="187673"/>
                  <a:chOff x="6940108" y="2324849"/>
                  <a:chExt cx="1002282" cy="187673"/>
                </a:xfrm>
              </p:grpSpPr>
              <p:cxnSp>
                <p:nvCxnSpPr>
                  <p:cNvPr id="33" name="Connecteur droit 2059">
                    <a:extLst>
                      <a:ext uri="{FF2B5EF4-FFF2-40B4-BE49-F238E27FC236}">
                        <a16:creationId xmlns:a16="http://schemas.microsoft.com/office/drawing/2014/main" id="{8D9C5788-4965-42B1-482B-10C25C5C034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2700000" flipV="1">
                    <a:off x="7213691" y="2238939"/>
                    <a:ext cx="0" cy="547166"/>
                  </a:xfrm>
                  <a:prstGeom prst="line">
                    <a:avLst/>
                  </a:prstGeom>
                  <a:ln w="28575">
                    <a:solidFill>
                      <a:schemeClr val="accent3"/>
                    </a:solidFill>
                    <a:prstDash val="solid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4" name="Connecteur droit 2060">
                    <a:extLst>
                      <a:ext uri="{FF2B5EF4-FFF2-40B4-BE49-F238E27FC236}">
                        <a16:creationId xmlns:a16="http://schemas.microsoft.com/office/drawing/2014/main" id="{2D90F14F-17C8-D6FD-47FF-FEC4245CC51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5400000" flipV="1">
                    <a:off x="7668807" y="2051266"/>
                    <a:ext cx="0" cy="547166"/>
                  </a:xfrm>
                  <a:prstGeom prst="line">
                    <a:avLst/>
                  </a:prstGeom>
                  <a:ln w="28575">
                    <a:solidFill>
                      <a:schemeClr val="accent3"/>
                    </a:solidFill>
                    <a:prstDash val="solid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28" name="Groupe 2061">
                  <a:extLst>
                    <a:ext uri="{FF2B5EF4-FFF2-40B4-BE49-F238E27FC236}">
                      <a16:creationId xmlns:a16="http://schemas.microsoft.com/office/drawing/2014/main" id="{49AE8780-0C40-3AA5-60BA-96D4D6DE8837}"/>
                    </a:ext>
                  </a:extLst>
                </p:cNvPr>
                <p:cNvGrpSpPr/>
                <p:nvPr/>
              </p:nvGrpSpPr>
              <p:grpSpPr>
                <a:xfrm flipH="1">
                  <a:off x="4256216" y="2226424"/>
                  <a:ext cx="722985" cy="547166"/>
                  <a:chOff x="7207975" y="2226424"/>
                  <a:chExt cx="722985" cy="547166"/>
                </a:xfrm>
              </p:grpSpPr>
              <p:cxnSp>
                <p:nvCxnSpPr>
                  <p:cNvPr id="31" name="Connecteur droit 2062">
                    <a:extLst>
                      <a:ext uri="{FF2B5EF4-FFF2-40B4-BE49-F238E27FC236}">
                        <a16:creationId xmlns:a16="http://schemas.microsoft.com/office/drawing/2014/main" id="{8FACE98E-CADE-116A-3304-7F02780C45A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2580000" flipV="1">
                    <a:off x="7207975" y="2226424"/>
                    <a:ext cx="0" cy="547166"/>
                  </a:xfrm>
                  <a:prstGeom prst="line">
                    <a:avLst/>
                  </a:prstGeom>
                  <a:ln w="28575">
                    <a:solidFill>
                      <a:schemeClr val="accent3"/>
                    </a:solidFill>
                    <a:prstDash val="solid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2" name="Connecteur droit 2063">
                    <a:extLst>
                      <a:ext uri="{FF2B5EF4-FFF2-40B4-BE49-F238E27FC236}">
                        <a16:creationId xmlns:a16="http://schemas.microsoft.com/office/drawing/2014/main" id="{B3350556-9793-4B3A-9E93-926CDC81F18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5400000" flipV="1">
                    <a:off x="7657377" y="2030148"/>
                    <a:ext cx="0" cy="547166"/>
                  </a:xfrm>
                  <a:prstGeom prst="line">
                    <a:avLst/>
                  </a:prstGeom>
                  <a:ln w="28575">
                    <a:solidFill>
                      <a:schemeClr val="accent3"/>
                    </a:solidFill>
                    <a:prstDash val="solid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29" name="Connecteur droit 2064">
                  <a:extLst>
                    <a:ext uri="{FF2B5EF4-FFF2-40B4-BE49-F238E27FC236}">
                      <a16:creationId xmlns:a16="http://schemas.microsoft.com/office/drawing/2014/main" id="{177A7890-5F8A-3CAB-CDCF-4996E3BA1BF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V="1">
                  <a:off x="7754830" y="3376321"/>
                  <a:ext cx="0" cy="547166"/>
                </a:xfrm>
                <a:prstGeom prst="line">
                  <a:avLst/>
                </a:prstGeom>
                <a:ln w="28575">
                  <a:solidFill>
                    <a:schemeClr val="accent3"/>
                  </a:solidFill>
                  <a:prstDash val="solid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Connecteur droit 2065">
                  <a:extLst>
                    <a:ext uri="{FF2B5EF4-FFF2-40B4-BE49-F238E27FC236}">
                      <a16:creationId xmlns:a16="http://schemas.microsoft.com/office/drawing/2014/main" id="{062DFDCC-C7FC-E10A-C699-59AD83B1271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V="1">
                  <a:off x="4433361" y="3376321"/>
                  <a:ext cx="0" cy="547166"/>
                </a:xfrm>
                <a:prstGeom prst="line">
                  <a:avLst/>
                </a:prstGeom>
                <a:ln w="28575">
                  <a:solidFill>
                    <a:schemeClr val="accent3"/>
                  </a:solidFill>
                  <a:prstDash val="solid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2" name="Textfeld 7">
                <a:extLst>
                  <a:ext uri="{FF2B5EF4-FFF2-40B4-BE49-F238E27FC236}">
                    <a16:creationId xmlns:a16="http://schemas.microsoft.com/office/drawing/2014/main" id="{29E04428-E3E6-4C82-C146-6F1FA77FEEBA}"/>
                  </a:ext>
                </a:extLst>
              </p:cNvPr>
              <p:cNvSpPr txBox="1"/>
              <p:nvPr/>
            </p:nvSpPr>
            <p:spPr>
              <a:xfrm>
                <a:off x="3901037" y="3381097"/>
                <a:ext cx="2066931" cy="674204"/>
              </a:xfrm>
              <a:prstGeom prst="rect">
                <a:avLst/>
              </a:prstGeom>
              <a:noFill/>
              <a:ln w="12700" cap="sq">
                <a:noFill/>
                <a:miter lim="800000"/>
              </a:ln>
            </p:spPr>
            <p:txBody>
              <a:bodyPr wrap="square" lIns="144000" tIns="0" rIns="144000" bIns="0" rtlCol="0" anchor="ctr" anchorCtr="0">
                <a:noAutofit/>
              </a:bodyPr>
              <a:lstStyle/>
              <a:p>
                <a:pPr marL="0" marR="0" lvl="0" indent="0" algn="ctr" defTabSz="6854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FFE6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EYInterstate Light"/>
                    <a:ea typeface="+mn-ea"/>
                    <a:cs typeface="+mn-cs"/>
                  </a:rPr>
                  <a:t>INTEGRAZIONE DEL CONTANTE</a:t>
                </a:r>
                <a:endPara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endParaRPr>
              </a:p>
            </p:txBody>
          </p:sp>
          <p:sp>
            <p:nvSpPr>
              <p:cNvPr id="13" name="Textfeld 7">
                <a:extLst>
                  <a:ext uri="{FF2B5EF4-FFF2-40B4-BE49-F238E27FC236}">
                    <a16:creationId xmlns:a16="http://schemas.microsoft.com/office/drawing/2014/main" id="{6BDB74F8-242D-92CE-FE21-C63F2752E2BD}"/>
                  </a:ext>
                </a:extLst>
              </p:cNvPr>
              <p:cNvSpPr txBox="1"/>
              <p:nvPr/>
            </p:nvSpPr>
            <p:spPr>
              <a:xfrm>
                <a:off x="-147965" y="5138103"/>
                <a:ext cx="2412912" cy="674205"/>
              </a:xfrm>
              <a:prstGeom prst="rect">
                <a:avLst/>
              </a:prstGeom>
              <a:noFill/>
              <a:ln w="12700" cap="sq">
                <a:noFill/>
                <a:miter lim="800000"/>
              </a:ln>
            </p:spPr>
            <p:txBody>
              <a:bodyPr wrap="square" lIns="144000" tIns="0" rIns="144000" bIns="0" rtlCol="0" anchor="ctr" anchorCtr="0">
                <a:noAutofit/>
              </a:bodyPr>
              <a:lstStyle>
                <a:defPPr>
                  <a:defRPr lang="en-US"/>
                </a:defPPr>
                <a:lvl1pPr lvl="0" defTabSz="685434">
                  <a:spcAft>
                    <a:spcPts val="600"/>
                  </a:spcAft>
                  <a:buClr>
                    <a:srgbClr val="FFE600"/>
                  </a:buClr>
                  <a:buSzPct val="80000"/>
                  <a:defRPr sz="1600" b="1" kern="0">
                    <a:solidFill>
                      <a:schemeClr val="bg1"/>
                    </a:solidFill>
                  </a:defRPr>
                </a:lvl1pPr>
              </a:lstStyle>
              <a:p>
                <a:pPr marL="0" marR="0" lvl="0" indent="0" algn="ctr" defTabSz="6854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FFE6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it-IT" sz="16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EYInterstate Light"/>
                    <a:ea typeface="+mn-ea"/>
                    <a:cs typeface="+mn-cs"/>
                  </a:rPr>
                  <a:t>INCENTIVO </a:t>
                </a:r>
                <a:r>
                  <a:rPr kumimoji="0" lang="it-IT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EYInterstate Light"/>
                    <a:ea typeface="+mn-ea"/>
                    <a:cs typeface="+mn-cs"/>
                  </a:rPr>
                  <a:t>ALL’INNOVAZIONE</a:t>
                </a:r>
                <a:endPara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endParaRPr>
              </a:p>
            </p:txBody>
          </p:sp>
          <p:pic>
            <p:nvPicPr>
              <p:cNvPr id="14" name="Picture 8" descr="Euro digitale, cos'è e perché sarà centrale nel futuro dell'Ue">
                <a:extLst>
                  <a:ext uri="{FF2B5EF4-FFF2-40B4-BE49-F238E27FC236}">
                    <a16:creationId xmlns:a16="http://schemas.microsoft.com/office/drawing/2014/main" id="{91AE9723-A86A-583B-9AEC-10B42D86C45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3219" t="9292" r="23897" b="11043"/>
              <a:stretch/>
            </p:blipFill>
            <p:spPr bwMode="auto">
              <a:xfrm>
                <a:off x="2135245" y="3827188"/>
                <a:ext cx="1576331" cy="1582545"/>
              </a:xfrm>
              <a:prstGeom prst="ellipse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2AE252A6-D1D6-BF0D-4CB7-FBEF5790DB2E}"/>
              </a:ext>
            </a:extLst>
          </p:cNvPr>
          <p:cNvGrpSpPr/>
          <p:nvPr/>
        </p:nvGrpSpPr>
        <p:grpSpPr>
          <a:xfrm>
            <a:off x="765868" y="4714114"/>
            <a:ext cx="4808739" cy="1413981"/>
            <a:chOff x="1130408" y="1263601"/>
            <a:chExt cx="4371580" cy="1710918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AE220696-57D2-6EFD-4ED6-EF6BD007C934}"/>
                </a:ext>
              </a:extLst>
            </p:cNvPr>
            <p:cNvSpPr/>
            <p:nvPr/>
          </p:nvSpPr>
          <p:spPr>
            <a:xfrm>
              <a:off x="1270397" y="1386650"/>
              <a:ext cx="2026616" cy="706439"/>
            </a:xfrm>
            <a:prstGeom prst="rect">
              <a:avLst/>
            </a:prstGeom>
            <a:solidFill>
              <a:srgbClr val="1A1A24"/>
            </a:solidFill>
            <a:ln w="12700">
              <a:solidFill>
                <a:srgbClr val="FFE7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1" i="0" u="none" strike="noStrike" kern="1200" cap="none" spc="0" normalizeH="0" baseline="0" noProof="0">
                  <a:ln>
                    <a:noFill/>
                  </a:ln>
                  <a:solidFill>
                    <a:srgbClr val="FFE700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INVESTIGATION PHAS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000" b="0" i="1" u="none" strike="noStrike" kern="1200" cap="none" spc="0" normalizeH="0" baseline="0" noProof="0">
                  <a:ln>
                    <a:noFill/>
                  </a:ln>
                  <a:solidFill>
                    <a:srgbClr val="FFE700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(Ott. 2021 – Ott. 2023)</a:t>
              </a:r>
            </a:p>
          </p:txBody>
        </p:sp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76A5F219-1455-EAB1-B517-64201B3A448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130408" y="1263601"/>
              <a:ext cx="378721" cy="364475"/>
            </a:xfrm>
            <a:prstGeom prst="rect">
              <a:avLst/>
            </a:prstGeom>
          </p:spPr>
        </p:pic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789BF496-A4D4-1003-F5A3-7514F84A829A}"/>
                </a:ext>
              </a:extLst>
            </p:cNvPr>
            <p:cNvSpPr/>
            <p:nvPr/>
          </p:nvSpPr>
          <p:spPr>
            <a:xfrm>
              <a:off x="3475372" y="1386650"/>
              <a:ext cx="2026616" cy="706439"/>
            </a:xfrm>
            <a:prstGeom prst="rect">
              <a:avLst/>
            </a:prstGeom>
            <a:solidFill>
              <a:srgbClr val="1A1A24"/>
            </a:solidFill>
            <a:ln w="12700">
              <a:solidFill>
                <a:srgbClr val="FFE7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sz="1200" b="1">
                  <a:solidFill>
                    <a:srgbClr val="FFE700"/>
                  </a:solidFill>
                  <a:latin typeface="EYInterstate Light"/>
                </a:rPr>
                <a:t>PREPARATION</a:t>
              </a:r>
              <a:r>
                <a:rPr kumimoji="0" lang="it-IT" sz="1200" b="1" i="0" u="none" strike="noStrike" kern="1200" cap="none" spc="0" normalizeH="0" baseline="0" noProof="0">
                  <a:ln>
                    <a:noFill/>
                  </a:ln>
                  <a:solidFill>
                    <a:srgbClr val="FFE700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 PHAS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000" b="0" i="1" u="none" strike="noStrike" kern="1200" cap="none" spc="0" normalizeH="0" baseline="0" noProof="0">
                  <a:ln>
                    <a:noFill/>
                  </a:ln>
                  <a:solidFill>
                    <a:srgbClr val="FFE700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(</a:t>
              </a:r>
              <a:r>
                <a:rPr lang="it-IT" sz="1000" i="1">
                  <a:solidFill>
                    <a:srgbClr val="FFE700"/>
                  </a:solidFill>
                  <a:latin typeface="EYInterstate Light"/>
                </a:rPr>
                <a:t>Nov</a:t>
              </a:r>
              <a:r>
                <a:rPr kumimoji="0" lang="it-IT" sz="1000" b="0" i="1" u="none" strike="noStrike" kern="1200" cap="none" spc="0" normalizeH="0" baseline="0" noProof="0">
                  <a:ln>
                    <a:noFill/>
                  </a:ln>
                  <a:solidFill>
                    <a:srgbClr val="FFE700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. 2023 – </a:t>
              </a:r>
              <a:r>
                <a:rPr lang="it-IT" sz="1000" i="1">
                  <a:solidFill>
                    <a:srgbClr val="FFE700"/>
                  </a:solidFill>
                  <a:latin typeface="EYInterstate Light"/>
                </a:rPr>
                <a:t>Se</a:t>
              </a:r>
              <a:r>
                <a:rPr kumimoji="0" lang="it-IT" sz="1000" b="0" i="1" u="none" strike="noStrike" kern="1200" cap="none" spc="0" normalizeH="0" baseline="0" noProof="0">
                  <a:ln>
                    <a:noFill/>
                  </a:ln>
                  <a:solidFill>
                    <a:srgbClr val="FFE700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t. 2025)</a:t>
              </a:r>
            </a:p>
          </p:txBody>
        </p:sp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7441B380-ADB2-FE36-FC05-5422B795661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335383" y="1263601"/>
              <a:ext cx="378721" cy="364475"/>
            </a:xfrm>
            <a:prstGeom prst="rect">
              <a:avLst/>
            </a:prstGeom>
          </p:spPr>
        </p:pic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EEA37EE7-2490-E032-4B04-8E8A851FBDEF}"/>
                </a:ext>
              </a:extLst>
            </p:cNvPr>
            <p:cNvSpPr/>
            <p:nvPr/>
          </p:nvSpPr>
          <p:spPr>
            <a:xfrm>
              <a:off x="1262794" y="2268080"/>
              <a:ext cx="2026616" cy="706439"/>
            </a:xfrm>
            <a:prstGeom prst="rect">
              <a:avLst/>
            </a:prstGeom>
            <a:solidFill>
              <a:srgbClr val="1A1A24"/>
            </a:solidFill>
            <a:ln w="12700">
              <a:solidFill>
                <a:schemeClr val="bg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sz="1200" b="1">
                  <a:solidFill>
                    <a:schemeClr val="bg2">
                      <a:lumMod val="40000"/>
                      <a:lumOff val="60000"/>
                    </a:schemeClr>
                  </a:solidFill>
                  <a:latin typeface="EYInterstate Light"/>
                </a:rPr>
                <a:t>SECOND </a:t>
              </a:r>
              <a:r>
                <a:rPr kumimoji="0" lang="it-IT" sz="1200" b="1" i="0" u="none" strike="noStrike" kern="1200" cap="none" spc="0" normalizeH="0" baseline="0" noProof="0">
                  <a:ln>
                    <a:noFill/>
                  </a:ln>
                  <a:solidFill>
                    <a:schemeClr val="bg2">
                      <a:lumMod val="40000"/>
                      <a:lumOff val="60000"/>
                    </a:schemeClr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PHAS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000" b="0" i="1" u="none" strike="noStrike" kern="1200" cap="none" spc="0" normalizeH="0" baseline="0" noProof="0">
                  <a:ln>
                    <a:noFill/>
                  </a:ln>
                  <a:solidFill>
                    <a:schemeClr val="bg2">
                      <a:lumMod val="40000"/>
                      <a:lumOff val="60000"/>
                    </a:schemeClr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(</a:t>
              </a:r>
              <a:r>
                <a:rPr lang="it-IT" sz="1000" i="1">
                  <a:solidFill>
                    <a:schemeClr val="bg2">
                      <a:lumMod val="40000"/>
                      <a:lumOff val="60000"/>
                    </a:schemeClr>
                  </a:solidFill>
                  <a:latin typeface="EYInterstate Light"/>
                </a:rPr>
                <a:t>2026 - </a:t>
              </a:r>
              <a:r>
                <a:rPr kumimoji="0" lang="it-IT" sz="1000" b="0" i="1" u="none" strike="noStrike" kern="1200" cap="none" spc="0" normalizeH="0" baseline="0" noProof="0">
                  <a:ln>
                    <a:noFill/>
                  </a:ln>
                  <a:solidFill>
                    <a:schemeClr val="bg2">
                      <a:lumMod val="40000"/>
                      <a:lumOff val="60000"/>
                    </a:schemeClr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2027)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0B6FA59C-72FE-9236-E8DA-335C0B454334}"/>
                </a:ext>
              </a:extLst>
            </p:cNvPr>
            <p:cNvSpPr/>
            <p:nvPr/>
          </p:nvSpPr>
          <p:spPr>
            <a:xfrm>
              <a:off x="3467768" y="2268080"/>
              <a:ext cx="2026616" cy="706439"/>
            </a:xfrm>
            <a:prstGeom prst="rect">
              <a:avLst/>
            </a:prstGeom>
            <a:solidFill>
              <a:srgbClr val="1A1A24"/>
            </a:solidFill>
            <a:ln w="12700">
              <a:solidFill>
                <a:schemeClr val="bg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sz="1200" b="1">
                  <a:solidFill>
                    <a:schemeClr val="bg2">
                      <a:lumMod val="40000"/>
                      <a:lumOff val="60000"/>
                    </a:schemeClr>
                  </a:solidFill>
                  <a:latin typeface="EYInterstate Light"/>
                </a:rPr>
                <a:t>POSSIBILE LANCIO </a:t>
              </a:r>
              <a:endPara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40000"/>
                    <a:lumOff val="60000"/>
                  </a:schemeClr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000" b="0" i="1" u="none" strike="noStrike" kern="1200" cap="none" spc="0" normalizeH="0" baseline="0" noProof="0">
                  <a:ln>
                    <a:noFill/>
                  </a:ln>
                  <a:solidFill>
                    <a:schemeClr val="bg2">
                      <a:lumMod val="40000"/>
                      <a:lumOff val="60000"/>
                    </a:schemeClr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(2028)</a:t>
              </a:r>
            </a:p>
          </p:txBody>
        </p:sp>
        <p:sp>
          <p:nvSpPr>
            <p:cNvPr id="52" name="Textfeld 7">
              <a:extLst>
                <a:ext uri="{FF2B5EF4-FFF2-40B4-BE49-F238E27FC236}">
                  <a16:creationId xmlns:a16="http://schemas.microsoft.com/office/drawing/2014/main" id="{CBDFB528-9401-3105-422D-E29FB52C5B2D}"/>
                </a:ext>
              </a:extLst>
            </p:cNvPr>
            <p:cNvSpPr txBox="1"/>
            <p:nvPr/>
          </p:nvSpPr>
          <p:spPr>
            <a:xfrm>
              <a:off x="3042310" y="1390704"/>
              <a:ext cx="243418" cy="277943"/>
            </a:xfrm>
            <a:prstGeom prst="rect">
              <a:avLst/>
            </a:prstGeom>
            <a:noFill/>
            <a:ln w="12700" cap="sq">
              <a:noFill/>
              <a:miter lim="800000"/>
            </a:ln>
          </p:spPr>
          <p:txBody>
            <a:bodyPr wrap="square" lIns="144000" tIns="0" rIns="144000" bIns="0" rtlCol="0" anchor="ctr" anchorCtr="0">
              <a:noAutofit/>
            </a:bodyPr>
            <a:lstStyle/>
            <a:p>
              <a:pPr marL="0" marR="0" lvl="0" indent="0" algn="ctr" defTabSz="685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E600"/>
                </a:buClr>
                <a:buSzPct val="80000"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>
                  <a:ln>
                    <a:noFill/>
                  </a:ln>
                  <a:solidFill>
                    <a:srgbClr val="FFE700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53" name="Textfeld 7">
              <a:extLst>
                <a:ext uri="{FF2B5EF4-FFF2-40B4-BE49-F238E27FC236}">
                  <a16:creationId xmlns:a16="http://schemas.microsoft.com/office/drawing/2014/main" id="{9A4DA924-EDEF-B753-BE51-60ED93426051}"/>
                </a:ext>
              </a:extLst>
            </p:cNvPr>
            <p:cNvSpPr txBox="1"/>
            <p:nvPr/>
          </p:nvSpPr>
          <p:spPr>
            <a:xfrm>
              <a:off x="5251561" y="1393025"/>
              <a:ext cx="243418" cy="277943"/>
            </a:xfrm>
            <a:prstGeom prst="rect">
              <a:avLst/>
            </a:prstGeom>
            <a:noFill/>
            <a:ln w="12700" cap="sq">
              <a:noFill/>
              <a:miter lim="800000"/>
            </a:ln>
          </p:spPr>
          <p:txBody>
            <a:bodyPr wrap="square" lIns="144000" tIns="0" rIns="144000" bIns="0" rtlCol="0" anchor="ctr" anchorCtr="0">
              <a:noAutofit/>
            </a:bodyPr>
            <a:lstStyle/>
            <a:p>
              <a:pPr marL="0" marR="0" lvl="0" indent="0" algn="ctr" defTabSz="685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E600"/>
                </a:buClr>
                <a:buSzPct val="80000"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>
                  <a:ln>
                    <a:noFill/>
                  </a:ln>
                  <a:solidFill>
                    <a:srgbClr val="FFE700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54" name="Textfeld 7">
              <a:extLst>
                <a:ext uri="{FF2B5EF4-FFF2-40B4-BE49-F238E27FC236}">
                  <a16:creationId xmlns:a16="http://schemas.microsoft.com/office/drawing/2014/main" id="{78392550-0669-AA4C-6EBD-6F45BFC38A58}"/>
                </a:ext>
              </a:extLst>
            </p:cNvPr>
            <p:cNvSpPr txBox="1"/>
            <p:nvPr/>
          </p:nvSpPr>
          <p:spPr>
            <a:xfrm>
              <a:off x="3042310" y="2278685"/>
              <a:ext cx="243418" cy="277943"/>
            </a:xfrm>
            <a:prstGeom prst="rect">
              <a:avLst/>
            </a:prstGeom>
            <a:noFill/>
            <a:ln w="12700" cap="sq">
              <a:noFill/>
              <a:miter lim="800000"/>
            </a:ln>
          </p:spPr>
          <p:txBody>
            <a:bodyPr wrap="square" lIns="144000" tIns="0" rIns="144000" bIns="0" rtlCol="0" anchor="ctr" anchorCtr="0">
              <a:noAutofit/>
            </a:bodyPr>
            <a:lstStyle/>
            <a:p>
              <a:pPr marL="0" marR="0" lvl="0" indent="0" algn="ctr" defTabSz="685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E600"/>
                </a:buClr>
                <a:buSzPct val="80000"/>
                <a:buFontTx/>
                <a:buNone/>
                <a:tabLst/>
                <a:defRPr/>
              </a:pPr>
              <a:r>
                <a:rPr lang="en-US" sz="1000" b="1" kern="0">
                  <a:solidFill>
                    <a:schemeClr val="bg2">
                      <a:lumMod val="40000"/>
                      <a:lumOff val="60000"/>
                    </a:schemeClr>
                  </a:solidFill>
                  <a:latin typeface="EYInterstate Light"/>
                </a:rPr>
                <a:t>3</a:t>
              </a:r>
              <a:endParaRPr kumimoji="0" lang="en-US" sz="1000" b="1" i="0" u="none" strike="noStrike" kern="0" cap="none" spc="0" normalizeH="0" baseline="0" noProof="0">
                <a:ln>
                  <a:noFill/>
                </a:ln>
                <a:solidFill>
                  <a:schemeClr val="bg2">
                    <a:lumMod val="40000"/>
                    <a:lumOff val="60000"/>
                  </a:schemeClr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55" name="Textfeld 7">
              <a:extLst>
                <a:ext uri="{FF2B5EF4-FFF2-40B4-BE49-F238E27FC236}">
                  <a16:creationId xmlns:a16="http://schemas.microsoft.com/office/drawing/2014/main" id="{843B395E-E764-7B8D-BB10-5B47C078E5B6}"/>
                </a:ext>
              </a:extLst>
            </p:cNvPr>
            <p:cNvSpPr txBox="1"/>
            <p:nvPr/>
          </p:nvSpPr>
          <p:spPr>
            <a:xfrm>
              <a:off x="5251561" y="2281006"/>
              <a:ext cx="243418" cy="277943"/>
            </a:xfrm>
            <a:prstGeom prst="rect">
              <a:avLst/>
            </a:prstGeom>
            <a:noFill/>
            <a:ln w="12700" cap="sq">
              <a:noFill/>
              <a:miter lim="800000"/>
            </a:ln>
          </p:spPr>
          <p:txBody>
            <a:bodyPr wrap="square" lIns="144000" tIns="0" rIns="144000" bIns="0" rtlCol="0" anchor="ctr" anchorCtr="0">
              <a:noAutofit/>
            </a:bodyPr>
            <a:lstStyle/>
            <a:p>
              <a:pPr marL="0" marR="0" lvl="0" indent="0" algn="ctr" defTabSz="685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E600"/>
                </a:buClr>
                <a:buSzPct val="80000"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>
                  <a:ln>
                    <a:noFill/>
                  </a:ln>
                  <a:solidFill>
                    <a:schemeClr val="bg2">
                      <a:lumMod val="40000"/>
                      <a:lumOff val="60000"/>
                    </a:schemeClr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4</a:t>
              </a:r>
            </a:p>
          </p:txBody>
        </p:sp>
      </p:grpSp>
      <p:sp>
        <p:nvSpPr>
          <p:cNvPr id="56" name="Text Placeholder 5">
            <a:extLst>
              <a:ext uri="{FF2B5EF4-FFF2-40B4-BE49-F238E27FC236}">
                <a16:creationId xmlns:a16="http://schemas.microsoft.com/office/drawing/2014/main" id="{5238A437-5725-D106-4003-ED601EA0D419}"/>
              </a:ext>
            </a:extLst>
          </p:cNvPr>
          <p:cNvSpPr txBox="1">
            <a:spLocks/>
          </p:cNvSpPr>
          <p:nvPr/>
        </p:nvSpPr>
        <p:spPr>
          <a:xfrm>
            <a:off x="485523" y="1221704"/>
            <a:ext cx="5361208" cy="5073358"/>
          </a:xfrm>
          <a:prstGeom prst="roundRect">
            <a:avLst>
              <a:gd name="adj" fmla="val 0"/>
            </a:avLst>
          </a:prstGeom>
          <a:ln w="19050">
            <a:solidFill>
              <a:schemeClr val="tx2"/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 lang="en-US" sz="20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71327" marR="0" indent="-271327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sz="1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510919" marR="0" indent="-233246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sz="1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745752" marR="0" indent="-231659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sz="14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44091" marR="0" indent="-201512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endParaRPr kumimoji="0" lang="it-IT" sz="1999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F4EB5B5B-2304-9025-3452-1E35B9B0475D}"/>
              </a:ext>
            </a:extLst>
          </p:cNvPr>
          <p:cNvSpPr txBox="1"/>
          <p:nvPr/>
        </p:nvSpPr>
        <p:spPr>
          <a:xfrm>
            <a:off x="2166149" y="1066612"/>
            <a:ext cx="1931404" cy="364692"/>
          </a:xfrm>
          <a:prstGeom prst="rect">
            <a:avLst/>
          </a:prstGeom>
          <a:solidFill>
            <a:srgbClr val="00000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99" b="1" i="0" u="none" strike="noStrike" kern="1200" cap="none" spc="0" normalizeH="0" baseline="0" noProof="0">
                <a:ln>
                  <a:noFill/>
                </a:ln>
                <a:solidFill>
                  <a:srgbClr val="FFE7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DIGITAL EURO</a:t>
            </a:r>
            <a:endParaRPr kumimoji="0" lang="it-IT" sz="1799" b="1" i="0" u="none" strike="noStrike" kern="1200" cap="none" spc="0" normalizeH="0" baseline="0" noProof="0">
              <a:ln>
                <a:noFill/>
              </a:ln>
              <a:solidFill>
                <a:srgbClr val="FFE700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64" name="Freeform 520">
            <a:extLst>
              <a:ext uri="{FF2B5EF4-FFF2-40B4-BE49-F238E27FC236}">
                <a16:creationId xmlns:a16="http://schemas.microsoft.com/office/drawing/2014/main" id="{DFC50D58-9EB7-E01D-6CE5-DCBE70EF920B}"/>
              </a:ext>
            </a:extLst>
          </p:cNvPr>
          <p:cNvSpPr/>
          <p:nvPr/>
        </p:nvSpPr>
        <p:spPr>
          <a:xfrm flipV="1">
            <a:off x="6000547" y="1550052"/>
            <a:ext cx="5605100" cy="4745010"/>
          </a:xfrm>
          <a:custGeom>
            <a:avLst/>
            <a:gdLst/>
            <a:ahLst/>
            <a:cxnLst/>
            <a:rect l="0" t="0" r="0" b="0"/>
            <a:pathLst>
              <a:path w="3081446" h="3208415">
                <a:moveTo>
                  <a:pt x="3081446" y="3129462"/>
                </a:moveTo>
                <a:lnTo>
                  <a:pt x="3081446" y="46129"/>
                </a:lnTo>
                <a:cubicBezTo>
                  <a:pt x="3074574" y="43772"/>
                  <a:pt x="3067867" y="41383"/>
                  <a:pt x="3066229" y="36126"/>
                </a:cubicBezTo>
                <a:cubicBezTo>
                  <a:pt x="3064758" y="31407"/>
                  <a:pt x="3066421" y="25135"/>
                  <a:pt x="3061818" y="21969"/>
                </a:cubicBezTo>
                <a:cubicBezTo>
                  <a:pt x="3050985" y="14517"/>
                  <a:pt x="3039766" y="16661"/>
                  <a:pt x="3030945" y="14890"/>
                </a:cubicBezTo>
                <a:cubicBezTo>
                  <a:pt x="3022124" y="13120"/>
                  <a:pt x="3016101" y="9699"/>
                  <a:pt x="3008893" y="11352"/>
                </a:cubicBezTo>
                <a:cubicBezTo>
                  <a:pt x="3000692" y="13232"/>
                  <a:pt x="2996803" y="32461"/>
                  <a:pt x="2995662" y="36126"/>
                </a:cubicBezTo>
                <a:cubicBezTo>
                  <a:pt x="2983947" y="29858"/>
                  <a:pt x="2980071" y="24002"/>
                  <a:pt x="2964788" y="32587"/>
                </a:cubicBezTo>
                <a:cubicBezTo>
                  <a:pt x="2954569" y="38327"/>
                  <a:pt x="2938326" y="53821"/>
                  <a:pt x="2938326" y="53821"/>
                </a:cubicBezTo>
                <a:cubicBezTo>
                  <a:pt x="2936499" y="47956"/>
                  <a:pt x="2930286" y="25302"/>
                  <a:pt x="2925095" y="21969"/>
                </a:cubicBezTo>
                <a:cubicBezTo>
                  <a:pt x="2921465" y="19639"/>
                  <a:pt x="2916273" y="24328"/>
                  <a:pt x="2911863" y="25508"/>
                </a:cubicBezTo>
                <a:cubicBezTo>
                  <a:pt x="2908923" y="29047"/>
                  <a:pt x="2907963" y="34546"/>
                  <a:pt x="2903042" y="36126"/>
                </a:cubicBezTo>
                <a:cubicBezTo>
                  <a:pt x="2898727" y="37511"/>
                  <a:pt x="2894460" y="32587"/>
                  <a:pt x="2889811" y="32587"/>
                </a:cubicBezTo>
                <a:cubicBezTo>
                  <a:pt x="2885161" y="32587"/>
                  <a:pt x="2880990" y="34946"/>
                  <a:pt x="2876580" y="36126"/>
                </a:cubicBezTo>
                <a:cubicBezTo>
                  <a:pt x="2872170" y="33766"/>
                  <a:pt x="2867420" y="31770"/>
                  <a:pt x="2863349" y="29047"/>
                </a:cubicBezTo>
                <a:cubicBezTo>
                  <a:pt x="2858557" y="25843"/>
                  <a:pt x="2856354" y="18430"/>
                  <a:pt x="2850117" y="18430"/>
                </a:cubicBezTo>
                <a:cubicBezTo>
                  <a:pt x="2844816" y="18430"/>
                  <a:pt x="2844236" y="25508"/>
                  <a:pt x="2841296" y="29047"/>
                </a:cubicBezTo>
                <a:lnTo>
                  <a:pt x="2828535" y="25771"/>
                </a:lnTo>
                <a:cubicBezTo>
                  <a:pt x="2824411" y="24748"/>
                  <a:pt x="2839612" y="28146"/>
                  <a:pt x="2814833" y="14890"/>
                </a:cubicBezTo>
                <a:cubicBezTo>
                  <a:pt x="2810965" y="12821"/>
                  <a:pt x="2806013" y="12531"/>
                  <a:pt x="2801603" y="11352"/>
                </a:cubicBezTo>
                <a:cubicBezTo>
                  <a:pt x="2800132" y="14890"/>
                  <a:pt x="2798319" y="18350"/>
                  <a:pt x="2797192" y="21969"/>
                </a:cubicBezTo>
                <a:cubicBezTo>
                  <a:pt x="2786546" y="56139"/>
                  <a:pt x="2798455" y="26009"/>
                  <a:pt x="2788371" y="50283"/>
                </a:cubicBezTo>
                <a:cubicBezTo>
                  <a:pt x="2783960" y="47923"/>
                  <a:pt x="2778451" y="46526"/>
                  <a:pt x="2775139" y="43204"/>
                </a:cubicBezTo>
                <a:cubicBezTo>
                  <a:pt x="2772235" y="40292"/>
                  <a:pt x="2775315" y="33200"/>
                  <a:pt x="2770729" y="32587"/>
                </a:cubicBezTo>
                <a:cubicBezTo>
                  <a:pt x="2762920" y="31542"/>
                  <a:pt x="2756090" y="37434"/>
                  <a:pt x="2748677" y="39664"/>
                </a:cubicBezTo>
                <a:cubicBezTo>
                  <a:pt x="2744324" y="40974"/>
                  <a:pt x="2739856" y="42024"/>
                  <a:pt x="2735446" y="43204"/>
                </a:cubicBezTo>
                <a:lnTo>
                  <a:pt x="2723223" y="36174"/>
                </a:lnTo>
                <a:cubicBezTo>
                  <a:pt x="2717960" y="32810"/>
                  <a:pt x="2729217" y="39416"/>
                  <a:pt x="2717804" y="46743"/>
                </a:cubicBezTo>
                <a:cubicBezTo>
                  <a:pt x="2713071" y="49782"/>
                  <a:pt x="2706043" y="49102"/>
                  <a:pt x="2700161" y="50283"/>
                </a:cubicBezTo>
                <a:lnTo>
                  <a:pt x="2686547" y="38657"/>
                </a:lnTo>
                <a:cubicBezTo>
                  <a:pt x="2681751" y="34012"/>
                  <a:pt x="2697298" y="47203"/>
                  <a:pt x="2678110" y="50283"/>
                </a:cubicBezTo>
                <a:cubicBezTo>
                  <a:pt x="2672911" y="51117"/>
                  <a:pt x="2669288" y="45564"/>
                  <a:pt x="2664878" y="43204"/>
                </a:cubicBezTo>
                <a:cubicBezTo>
                  <a:pt x="2661938" y="46743"/>
                  <a:pt x="2661358" y="53821"/>
                  <a:pt x="2656057" y="53821"/>
                </a:cubicBezTo>
                <a:cubicBezTo>
                  <a:pt x="2647657" y="53821"/>
                  <a:pt x="2638995" y="35790"/>
                  <a:pt x="2634005" y="32587"/>
                </a:cubicBezTo>
                <a:cubicBezTo>
                  <a:pt x="2630375" y="30256"/>
                  <a:pt x="2625184" y="30227"/>
                  <a:pt x="2620774" y="29047"/>
                </a:cubicBezTo>
                <a:cubicBezTo>
                  <a:pt x="2616364" y="31407"/>
                  <a:pt x="2612844" y="36126"/>
                  <a:pt x="2607543" y="36126"/>
                </a:cubicBezTo>
                <a:cubicBezTo>
                  <a:pt x="2577658" y="36126"/>
                  <a:pt x="2590059" y="18049"/>
                  <a:pt x="2581080" y="39664"/>
                </a:cubicBezTo>
                <a:cubicBezTo>
                  <a:pt x="2578140" y="36126"/>
                  <a:pt x="2577519" y="29575"/>
                  <a:pt x="2572258" y="29047"/>
                </a:cubicBezTo>
                <a:cubicBezTo>
                  <a:pt x="2563032" y="28122"/>
                  <a:pt x="2545797" y="36126"/>
                  <a:pt x="2545797" y="36126"/>
                </a:cubicBezTo>
                <a:cubicBezTo>
                  <a:pt x="2543215" y="39231"/>
                  <a:pt x="2525847" y="60563"/>
                  <a:pt x="2523744" y="60900"/>
                </a:cubicBezTo>
                <a:cubicBezTo>
                  <a:pt x="2518546" y="61735"/>
                  <a:pt x="2519063" y="52940"/>
                  <a:pt x="2514924" y="50283"/>
                </a:cubicBezTo>
                <a:cubicBezTo>
                  <a:pt x="2511294" y="47952"/>
                  <a:pt x="2506102" y="47923"/>
                  <a:pt x="2501692" y="46743"/>
                </a:cubicBezTo>
                <a:lnTo>
                  <a:pt x="2493098" y="57751"/>
                </a:lnTo>
                <a:cubicBezTo>
                  <a:pt x="2490082" y="62044"/>
                  <a:pt x="2499617" y="49241"/>
                  <a:pt x="2484051" y="46743"/>
                </a:cubicBezTo>
                <a:cubicBezTo>
                  <a:pt x="2478852" y="45909"/>
                  <a:pt x="2475229" y="51462"/>
                  <a:pt x="2470819" y="53821"/>
                </a:cubicBezTo>
                <a:cubicBezTo>
                  <a:pt x="2469349" y="58540"/>
                  <a:pt x="2468074" y="63301"/>
                  <a:pt x="2466409" y="67978"/>
                </a:cubicBezTo>
                <a:cubicBezTo>
                  <a:pt x="2465131" y="71564"/>
                  <a:pt x="2465286" y="81234"/>
                  <a:pt x="2461998" y="78596"/>
                </a:cubicBezTo>
                <a:cubicBezTo>
                  <a:pt x="2455423" y="73320"/>
                  <a:pt x="2456117" y="64439"/>
                  <a:pt x="2453177" y="57360"/>
                </a:cubicBezTo>
                <a:cubicBezTo>
                  <a:pt x="2451501" y="53325"/>
                  <a:pt x="2444355" y="52642"/>
                  <a:pt x="2439945" y="50283"/>
                </a:cubicBezTo>
                <a:cubicBezTo>
                  <a:pt x="2433031" y="83578"/>
                  <a:pt x="2439268" y="73968"/>
                  <a:pt x="2431125" y="60900"/>
                </a:cubicBezTo>
                <a:cubicBezTo>
                  <a:pt x="2428755" y="57096"/>
                  <a:pt x="2425245" y="53821"/>
                  <a:pt x="2422304" y="50283"/>
                </a:cubicBezTo>
                <a:cubicBezTo>
                  <a:pt x="2411221" y="23600"/>
                  <a:pt x="2426169" y="56484"/>
                  <a:pt x="2409073" y="29047"/>
                </a:cubicBezTo>
                <a:cubicBezTo>
                  <a:pt x="2406993" y="25710"/>
                  <a:pt x="2407567" y="21342"/>
                  <a:pt x="2404662" y="18430"/>
                </a:cubicBezTo>
                <a:cubicBezTo>
                  <a:pt x="2401350" y="15108"/>
                  <a:pt x="2395841" y="13711"/>
                  <a:pt x="2391431" y="11352"/>
                </a:cubicBezTo>
                <a:cubicBezTo>
                  <a:pt x="2360558" y="19609"/>
                  <a:pt x="2373789" y="20789"/>
                  <a:pt x="2351737" y="14890"/>
                </a:cubicBezTo>
                <a:cubicBezTo>
                  <a:pt x="2344964" y="23044"/>
                  <a:pt x="2343887" y="29047"/>
                  <a:pt x="2329685" y="29047"/>
                </a:cubicBezTo>
                <a:cubicBezTo>
                  <a:pt x="2325035" y="29047"/>
                  <a:pt x="2320863" y="26688"/>
                  <a:pt x="2316453" y="25508"/>
                </a:cubicBezTo>
                <a:cubicBezTo>
                  <a:pt x="2312043" y="26688"/>
                  <a:pt x="2306852" y="26716"/>
                  <a:pt x="2303222" y="29047"/>
                </a:cubicBezTo>
                <a:cubicBezTo>
                  <a:pt x="2299083" y="31705"/>
                  <a:pt x="2299323" y="38085"/>
                  <a:pt x="2294402" y="39664"/>
                </a:cubicBezTo>
                <a:cubicBezTo>
                  <a:pt x="2290085" y="41050"/>
                  <a:pt x="2285580" y="37305"/>
                  <a:pt x="2281170" y="36126"/>
                </a:cubicBezTo>
                <a:cubicBezTo>
                  <a:pt x="2276760" y="37305"/>
                  <a:pt x="2272588" y="39664"/>
                  <a:pt x="2267939" y="39664"/>
                </a:cubicBezTo>
                <a:cubicBezTo>
                  <a:pt x="2258807" y="39664"/>
                  <a:pt x="2248166" y="32626"/>
                  <a:pt x="2241476" y="29047"/>
                </a:cubicBezTo>
                <a:cubicBezTo>
                  <a:pt x="2237066" y="30227"/>
                  <a:pt x="2231533" y="29948"/>
                  <a:pt x="2228244" y="32587"/>
                </a:cubicBezTo>
                <a:cubicBezTo>
                  <a:pt x="2214855" y="43332"/>
                  <a:pt x="2236029" y="49729"/>
                  <a:pt x="2210603" y="36126"/>
                </a:cubicBezTo>
                <a:cubicBezTo>
                  <a:pt x="2206193" y="38485"/>
                  <a:pt x="2202619" y="43805"/>
                  <a:pt x="2197371" y="43204"/>
                </a:cubicBezTo>
                <a:cubicBezTo>
                  <a:pt x="2148774" y="37633"/>
                  <a:pt x="2203931" y="26113"/>
                  <a:pt x="2166498" y="36126"/>
                </a:cubicBezTo>
                <a:cubicBezTo>
                  <a:pt x="2165029" y="49102"/>
                  <a:pt x="2165029" y="69747"/>
                  <a:pt x="2162089" y="75056"/>
                </a:cubicBezTo>
                <a:cubicBezTo>
                  <a:pt x="2159147" y="80365"/>
                  <a:pt x="2154055" y="68812"/>
                  <a:pt x="2148857" y="67978"/>
                </a:cubicBezTo>
                <a:cubicBezTo>
                  <a:pt x="2143658" y="67144"/>
                  <a:pt x="2142976" y="75056"/>
                  <a:pt x="2140036" y="71518"/>
                </a:cubicBezTo>
                <a:cubicBezTo>
                  <a:pt x="2138566" y="67978"/>
                  <a:pt x="2138913" y="63538"/>
                  <a:pt x="2135625" y="60900"/>
                </a:cubicBezTo>
                <a:cubicBezTo>
                  <a:pt x="2126804" y="53821"/>
                  <a:pt x="2117984" y="58540"/>
                  <a:pt x="2109163" y="60900"/>
                </a:cubicBezTo>
                <a:cubicBezTo>
                  <a:pt x="2069370" y="52917"/>
                  <a:pt x="2085380" y="56897"/>
                  <a:pt x="2060648" y="50283"/>
                </a:cubicBezTo>
                <a:lnTo>
                  <a:pt x="2057261" y="59258"/>
                </a:lnTo>
                <a:cubicBezTo>
                  <a:pt x="2055467" y="64056"/>
                  <a:pt x="2056521" y="57513"/>
                  <a:pt x="2043006" y="50283"/>
                </a:cubicBezTo>
                <a:cubicBezTo>
                  <a:pt x="2039138" y="48213"/>
                  <a:pt x="2034185" y="47923"/>
                  <a:pt x="2029775" y="46743"/>
                </a:cubicBezTo>
                <a:cubicBezTo>
                  <a:pt x="1997562" y="55359"/>
                  <a:pt x="2012333" y="55631"/>
                  <a:pt x="1985670" y="50283"/>
                </a:cubicBezTo>
                <a:lnTo>
                  <a:pt x="1977346" y="39813"/>
                </a:lnTo>
                <a:cubicBezTo>
                  <a:pt x="1974687" y="36563"/>
                  <a:pt x="1984291" y="51831"/>
                  <a:pt x="1963618" y="57360"/>
                </a:cubicBezTo>
                <a:lnTo>
                  <a:pt x="1937155" y="50283"/>
                </a:lnTo>
                <a:cubicBezTo>
                  <a:pt x="1931274" y="51462"/>
                  <a:pt x="1925575" y="53821"/>
                  <a:pt x="1919514" y="53821"/>
                </a:cubicBezTo>
                <a:lnTo>
                  <a:pt x="1905456" y="52494"/>
                </a:lnTo>
                <a:cubicBezTo>
                  <a:pt x="1901321" y="50282"/>
                  <a:pt x="1919515" y="46744"/>
                  <a:pt x="1893052" y="53821"/>
                </a:cubicBezTo>
                <a:cubicBezTo>
                  <a:pt x="1890111" y="50283"/>
                  <a:pt x="1889152" y="44784"/>
                  <a:pt x="1884231" y="43204"/>
                </a:cubicBezTo>
                <a:cubicBezTo>
                  <a:pt x="1879914" y="41819"/>
                  <a:pt x="1875648" y="46743"/>
                  <a:pt x="1870999" y="46743"/>
                </a:cubicBezTo>
                <a:cubicBezTo>
                  <a:pt x="1866350" y="46743"/>
                  <a:pt x="1862178" y="44383"/>
                  <a:pt x="1857768" y="43204"/>
                </a:cubicBezTo>
                <a:cubicBezTo>
                  <a:pt x="1854828" y="37306"/>
                  <a:pt x="1855534" y="29033"/>
                  <a:pt x="1848947" y="25508"/>
                </a:cubicBezTo>
                <a:cubicBezTo>
                  <a:pt x="1845079" y="23438"/>
                  <a:pt x="1848319" y="33957"/>
                  <a:pt x="1844536" y="36126"/>
                </a:cubicBezTo>
                <a:cubicBezTo>
                  <a:pt x="1836970" y="40463"/>
                  <a:pt x="1818073" y="43204"/>
                  <a:pt x="1818073" y="43204"/>
                </a:cubicBezTo>
                <a:cubicBezTo>
                  <a:pt x="1794553" y="71517"/>
                  <a:pt x="1825424" y="42025"/>
                  <a:pt x="1796022" y="46743"/>
                </a:cubicBezTo>
                <a:cubicBezTo>
                  <a:pt x="1790824" y="47577"/>
                  <a:pt x="1791340" y="54703"/>
                  <a:pt x="1787200" y="57360"/>
                </a:cubicBezTo>
                <a:cubicBezTo>
                  <a:pt x="1783571" y="59691"/>
                  <a:pt x="1778440" y="59875"/>
                  <a:pt x="1773969" y="60900"/>
                </a:cubicBezTo>
                <a:lnTo>
                  <a:pt x="1757245" y="64564"/>
                </a:lnTo>
                <a:cubicBezTo>
                  <a:pt x="1750547" y="65815"/>
                  <a:pt x="1766901" y="61611"/>
                  <a:pt x="1743096" y="67978"/>
                </a:cubicBezTo>
                <a:cubicBezTo>
                  <a:pt x="1738686" y="65618"/>
                  <a:pt x="1735166" y="60900"/>
                  <a:pt x="1729865" y="60900"/>
                </a:cubicBezTo>
                <a:cubicBezTo>
                  <a:pt x="1724563" y="60900"/>
                  <a:pt x="1721862" y="67279"/>
                  <a:pt x="1716633" y="67978"/>
                </a:cubicBezTo>
                <a:cubicBezTo>
                  <a:pt x="1712048" y="68591"/>
                  <a:pt x="1707812" y="65618"/>
                  <a:pt x="1703402" y="64439"/>
                </a:cubicBezTo>
                <a:cubicBezTo>
                  <a:pt x="1700158" y="72249"/>
                  <a:pt x="1698559" y="84436"/>
                  <a:pt x="1681350" y="82135"/>
                </a:cubicBezTo>
                <a:cubicBezTo>
                  <a:pt x="1676122" y="81436"/>
                  <a:pt x="1677024" y="73771"/>
                  <a:pt x="1672529" y="71518"/>
                </a:cubicBezTo>
                <a:cubicBezTo>
                  <a:pt x="1664644" y="67563"/>
                  <a:pt x="1646066" y="64439"/>
                  <a:pt x="1646066" y="64439"/>
                </a:cubicBezTo>
                <a:cubicBezTo>
                  <a:pt x="1641656" y="65618"/>
                  <a:pt x="1637485" y="67978"/>
                  <a:pt x="1632835" y="67978"/>
                </a:cubicBezTo>
                <a:cubicBezTo>
                  <a:pt x="1628186" y="67978"/>
                  <a:pt x="1623920" y="63054"/>
                  <a:pt x="1619604" y="64439"/>
                </a:cubicBezTo>
                <a:cubicBezTo>
                  <a:pt x="1614683" y="66019"/>
                  <a:pt x="1614530" y="72049"/>
                  <a:pt x="1610783" y="75056"/>
                </a:cubicBezTo>
                <a:cubicBezTo>
                  <a:pt x="1607035" y="78064"/>
                  <a:pt x="1601962" y="79775"/>
                  <a:pt x="1597551" y="82135"/>
                </a:cubicBezTo>
                <a:cubicBezTo>
                  <a:pt x="1596081" y="78596"/>
                  <a:pt x="1596771" y="73848"/>
                  <a:pt x="1593141" y="71518"/>
                </a:cubicBezTo>
                <a:cubicBezTo>
                  <a:pt x="1588408" y="68479"/>
                  <a:pt x="1581306" y="69376"/>
                  <a:pt x="1575500" y="67978"/>
                </a:cubicBezTo>
                <a:cubicBezTo>
                  <a:pt x="1566593" y="65834"/>
                  <a:pt x="1557858" y="63259"/>
                  <a:pt x="1549037" y="60900"/>
                </a:cubicBezTo>
                <a:lnTo>
                  <a:pt x="1535805" y="57360"/>
                </a:lnTo>
                <a:cubicBezTo>
                  <a:pt x="1534335" y="53821"/>
                  <a:pt x="1536044" y="46743"/>
                  <a:pt x="1531394" y="46743"/>
                </a:cubicBezTo>
                <a:cubicBezTo>
                  <a:pt x="1526745" y="46743"/>
                  <a:pt x="1530271" y="59998"/>
                  <a:pt x="1526984" y="57360"/>
                </a:cubicBezTo>
                <a:cubicBezTo>
                  <a:pt x="1521684" y="53107"/>
                  <a:pt x="1524044" y="45563"/>
                  <a:pt x="1522574" y="39664"/>
                </a:cubicBezTo>
                <a:lnTo>
                  <a:pt x="1505466" y="54530"/>
                </a:lnTo>
                <a:cubicBezTo>
                  <a:pt x="1496156" y="63382"/>
                  <a:pt x="1505571" y="55247"/>
                  <a:pt x="1491701" y="39664"/>
                </a:cubicBezTo>
                <a:cubicBezTo>
                  <a:pt x="1488620" y="36204"/>
                  <a:pt x="1482880" y="34946"/>
                  <a:pt x="1478470" y="32587"/>
                </a:cubicBezTo>
                <a:lnTo>
                  <a:pt x="1470546" y="46505"/>
                </a:lnTo>
                <a:cubicBezTo>
                  <a:pt x="1467527" y="52766"/>
                  <a:pt x="1475119" y="39664"/>
                  <a:pt x="1456417" y="39664"/>
                </a:cubicBezTo>
                <a:cubicBezTo>
                  <a:pt x="1451117" y="39664"/>
                  <a:pt x="1447597" y="44383"/>
                  <a:pt x="1443186" y="46743"/>
                </a:cubicBezTo>
                <a:cubicBezTo>
                  <a:pt x="1438776" y="44383"/>
                  <a:pt x="1435183" y="38964"/>
                  <a:pt x="1429955" y="39664"/>
                </a:cubicBezTo>
                <a:cubicBezTo>
                  <a:pt x="1385908" y="45556"/>
                  <a:pt x="1443159" y="57354"/>
                  <a:pt x="1403492" y="46743"/>
                </a:cubicBezTo>
                <a:cubicBezTo>
                  <a:pt x="1400521" y="56277"/>
                  <a:pt x="1401741" y="65852"/>
                  <a:pt x="1385850" y="67978"/>
                </a:cubicBezTo>
                <a:cubicBezTo>
                  <a:pt x="1381264" y="68591"/>
                  <a:pt x="1377029" y="65618"/>
                  <a:pt x="1372619" y="64439"/>
                </a:cubicBezTo>
                <a:cubicBezTo>
                  <a:pt x="1366738" y="65618"/>
                  <a:pt x="1360549" y="66062"/>
                  <a:pt x="1354978" y="67978"/>
                </a:cubicBezTo>
                <a:cubicBezTo>
                  <a:pt x="1350105" y="69654"/>
                  <a:pt x="1347047" y="75056"/>
                  <a:pt x="1341746" y="75056"/>
                </a:cubicBezTo>
                <a:cubicBezTo>
                  <a:pt x="1326001" y="75056"/>
                  <a:pt x="1314044" y="67314"/>
                  <a:pt x="1302052" y="60900"/>
                </a:cubicBezTo>
                <a:cubicBezTo>
                  <a:pt x="1297642" y="62080"/>
                  <a:pt x="1292109" y="61801"/>
                  <a:pt x="1288821" y="64439"/>
                </a:cubicBezTo>
                <a:cubicBezTo>
                  <a:pt x="1274119" y="76237"/>
                  <a:pt x="1297643" y="78595"/>
                  <a:pt x="1271179" y="71518"/>
                </a:cubicBezTo>
                <a:lnTo>
                  <a:pt x="1263248" y="61421"/>
                </a:lnTo>
                <a:cubicBezTo>
                  <a:pt x="1260059" y="57183"/>
                  <a:pt x="1267526" y="68320"/>
                  <a:pt x="1253537" y="75056"/>
                </a:cubicBezTo>
                <a:cubicBezTo>
                  <a:pt x="1249551" y="76976"/>
                  <a:pt x="1244776" y="72542"/>
                  <a:pt x="1240306" y="71518"/>
                </a:cubicBezTo>
                <a:cubicBezTo>
                  <a:pt x="1234478" y="70181"/>
                  <a:pt x="1228545" y="69158"/>
                  <a:pt x="1222665" y="67978"/>
                </a:cubicBezTo>
                <a:cubicBezTo>
                  <a:pt x="1191791" y="76236"/>
                  <a:pt x="1205022" y="77416"/>
                  <a:pt x="1182969" y="71518"/>
                </a:cubicBezTo>
                <a:lnTo>
                  <a:pt x="1170685" y="75003"/>
                </a:lnTo>
                <a:cubicBezTo>
                  <a:pt x="1166381" y="76093"/>
                  <a:pt x="1179566" y="70346"/>
                  <a:pt x="1152097" y="60900"/>
                </a:cubicBezTo>
                <a:cubicBezTo>
                  <a:pt x="1147824" y="59431"/>
                  <a:pt x="1143276" y="63259"/>
                  <a:pt x="1138866" y="64439"/>
                </a:cubicBezTo>
                <a:cubicBezTo>
                  <a:pt x="1098802" y="43005"/>
                  <a:pt x="1154851" y="67978"/>
                  <a:pt x="1112403" y="67978"/>
                </a:cubicBezTo>
                <a:cubicBezTo>
                  <a:pt x="1107102" y="67978"/>
                  <a:pt x="1105621" y="61286"/>
                  <a:pt x="1103583" y="57360"/>
                </a:cubicBezTo>
                <a:cubicBezTo>
                  <a:pt x="1098218" y="47029"/>
                  <a:pt x="1090351" y="25508"/>
                  <a:pt x="1090351" y="25508"/>
                </a:cubicBezTo>
                <a:cubicBezTo>
                  <a:pt x="1083000" y="33766"/>
                  <a:pt x="1080140" y="46719"/>
                  <a:pt x="1068299" y="50283"/>
                </a:cubicBezTo>
                <a:cubicBezTo>
                  <a:pt x="1060388" y="52663"/>
                  <a:pt x="1052264" y="29374"/>
                  <a:pt x="1050656" y="25508"/>
                </a:cubicBezTo>
                <a:cubicBezTo>
                  <a:pt x="1046246" y="26688"/>
                  <a:pt x="1041293" y="26977"/>
                  <a:pt x="1037426" y="29047"/>
                </a:cubicBezTo>
                <a:cubicBezTo>
                  <a:pt x="1032236" y="31824"/>
                  <a:pt x="1030431" y="39664"/>
                  <a:pt x="1024194" y="39664"/>
                </a:cubicBezTo>
                <a:cubicBezTo>
                  <a:pt x="1017957" y="39664"/>
                  <a:pt x="1016152" y="31824"/>
                  <a:pt x="1010963" y="29047"/>
                </a:cubicBezTo>
                <a:cubicBezTo>
                  <a:pt x="1007095" y="26977"/>
                  <a:pt x="1002141" y="26688"/>
                  <a:pt x="997731" y="25508"/>
                </a:cubicBezTo>
                <a:cubicBezTo>
                  <a:pt x="993321" y="27868"/>
                  <a:pt x="989241" y="30684"/>
                  <a:pt x="984500" y="32587"/>
                </a:cubicBezTo>
                <a:cubicBezTo>
                  <a:pt x="980343" y="34255"/>
                  <a:pt x="974840" y="33737"/>
                  <a:pt x="971269" y="36126"/>
                </a:cubicBezTo>
                <a:cubicBezTo>
                  <a:pt x="965621" y="39902"/>
                  <a:pt x="962448" y="45564"/>
                  <a:pt x="958038" y="50283"/>
                </a:cubicBezTo>
                <a:cubicBezTo>
                  <a:pt x="951795" y="45273"/>
                  <a:pt x="943063" y="35101"/>
                  <a:pt x="931574" y="36126"/>
                </a:cubicBezTo>
                <a:cubicBezTo>
                  <a:pt x="922333" y="36949"/>
                  <a:pt x="905112" y="43204"/>
                  <a:pt x="905112" y="43204"/>
                </a:cubicBezTo>
                <a:cubicBezTo>
                  <a:pt x="894821" y="40845"/>
                  <a:pt x="884770" y="34589"/>
                  <a:pt x="874239" y="36126"/>
                </a:cubicBezTo>
                <a:cubicBezTo>
                  <a:pt x="866057" y="37320"/>
                  <a:pt x="864914" y="50283"/>
                  <a:pt x="856597" y="50283"/>
                </a:cubicBezTo>
                <a:cubicBezTo>
                  <a:pt x="849246" y="50283"/>
                  <a:pt x="848564" y="40296"/>
                  <a:pt x="843366" y="36126"/>
                </a:cubicBezTo>
                <a:cubicBezTo>
                  <a:pt x="839618" y="33118"/>
                  <a:pt x="834545" y="31407"/>
                  <a:pt x="830135" y="29047"/>
                </a:cubicBezTo>
                <a:cubicBezTo>
                  <a:pt x="826837" y="31693"/>
                  <a:pt x="810526" y="49003"/>
                  <a:pt x="799261" y="46743"/>
                </a:cubicBezTo>
                <a:cubicBezTo>
                  <a:pt x="790945" y="45075"/>
                  <a:pt x="785013" y="38972"/>
                  <a:pt x="777209" y="36126"/>
                </a:cubicBezTo>
                <a:cubicBezTo>
                  <a:pt x="768744" y="33038"/>
                  <a:pt x="759567" y="31407"/>
                  <a:pt x="750746" y="29047"/>
                </a:cubicBezTo>
                <a:lnTo>
                  <a:pt x="737515" y="25508"/>
                </a:lnTo>
                <a:cubicBezTo>
                  <a:pt x="733105" y="23149"/>
                  <a:pt x="729482" y="17595"/>
                  <a:pt x="724283" y="18430"/>
                </a:cubicBezTo>
                <a:cubicBezTo>
                  <a:pt x="719086" y="19264"/>
                  <a:pt x="720203" y="30949"/>
                  <a:pt x="715463" y="29047"/>
                </a:cubicBezTo>
                <a:cubicBezTo>
                  <a:pt x="708382" y="26206"/>
                  <a:pt x="709583" y="17250"/>
                  <a:pt x="706643" y="11352"/>
                </a:cubicBezTo>
                <a:cubicBezTo>
                  <a:pt x="700762" y="16071"/>
                  <a:pt x="697233" y="26452"/>
                  <a:pt x="689000" y="25508"/>
                </a:cubicBezTo>
                <a:cubicBezTo>
                  <a:pt x="680514" y="24535"/>
                  <a:pt x="684255" y="6839"/>
                  <a:pt x="675769" y="7812"/>
                </a:cubicBezTo>
                <a:cubicBezTo>
                  <a:pt x="670998" y="8359"/>
                  <a:pt x="652625" y="36991"/>
                  <a:pt x="649307" y="43204"/>
                </a:cubicBezTo>
                <a:cubicBezTo>
                  <a:pt x="647475" y="46633"/>
                  <a:pt x="646366" y="50283"/>
                  <a:pt x="644896" y="53821"/>
                </a:cubicBezTo>
                <a:cubicBezTo>
                  <a:pt x="634399" y="28551"/>
                  <a:pt x="643811" y="28448"/>
                  <a:pt x="622844" y="39664"/>
                </a:cubicBezTo>
                <a:cubicBezTo>
                  <a:pt x="618433" y="38485"/>
                  <a:pt x="613242" y="38456"/>
                  <a:pt x="609612" y="36126"/>
                </a:cubicBezTo>
                <a:cubicBezTo>
                  <a:pt x="605474" y="33468"/>
                  <a:pt x="605286" y="27763"/>
                  <a:pt x="600791" y="25508"/>
                </a:cubicBezTo>
                <a:cubicBezTo>
                  <a:pt x="592907" y="21554"/>
                  <a:pt x="574330" y="18430"/>
                  <a:pt x="574330" y="18430"/>
                </a:cubicBezTo>
                <a:cubicBezTo>
                  <a:pt x="571604" y="15149"/>
                  <a:pt x="562928" y="0"/>
                  <a:pt x="552277" y="4273"/>
                </a:cubicBezTo>
                <a:cubicBezTo>
                  <a:pt x="548118" y="5942"/>
                  <a:pt x="549337" y="11352"/>
                  <a:pt x="547866" y="14890"/>
                </a:cubicBezTo>
                <a:cubicBezTo>
                  <a:pt x="543456" y="13711"/>
                  <a:pt x="539044" y="10172"/>
                  <a:pt x="534634" y="11352"/>
                </a:cubicBezTo>
                <a:cubicBezTo>
                  <a:pt x="527359" y="13298"/>
                  <a:pt x="516617" y="27730"/>
                  <a:pt x="512583" y="32587"/>
                </a:cubicBezTo>
                <a:cubicBezTo>
                  <a:pt x="508172" y="30227"/>
                  <a:pt x="504448" y="24340"/>
                  <a:pt x="499351" y="25508"/>
                </a:cubicBezTo>
                <a:cubicBezTo>
                  <a:pt x="483930" y="29044"/>
                  <a:pt x="481260" y="40746"/>
                  <a:pt x="477298" y="50283"/>
                </a:cubicBezTo>
                <a:cubicBezTo>
                  <a:pt x="474358" y="46743"/>
                  <a:pt x="472888" y="42024"/>
                  <a:pt x="468478" y="39664"/>
                </a:cubicBezTo>
                <a:cubicBezTo>
                  <a:pt x="455558" y="32752"/>
                  <a:pt x="449507" y="36481"/>
                  <a:pt x="437605" y="39664"/>
                </a:cubicBezTo>
                <a:cubicBezTo>
                  <a:pt x="433195" y="33766"/>
                  <a:pt x="430435" y="26833"/>
                  <a:pt x="424374" y="21969"/>
                </a:cubicBezTo>
                <a:cubicBezTo>
                  <a:pt x="421086" y="19331"/>
                  <a:pt x="414773" y="16099"/>
                  <a:pt x="411142" y="18430"/>
                </a:cubicBezTo>
                <a:cubicBezTo>
                  <a:pt x="362171" y="49866"/>
                  <a:pt x="432395" y="28082"/>
                  <a:pt x="389091" y="39664"/>
                </a:cubicBezTo>
                <a:cubicBezTo>
                  <a:pt x="384680" y="36126"/>
                  <a:pt x="382011" y="29869"/>
                  <a:pt x="375859" y="29047"/>
                </a:cubicBezTo>
                <a:cubicBezTo>
                  <a:pt x="364910" y="27583"/>
                  <a:pt x="358875" y="43488"/>
                  <a:pt x="353807" y="46743"/>
                </a:cubicBezTo>
                <a:cubicBezTo>
                  <a:pt x="350177" y="49073"/>
                  <a:pt x="344985" y="49102"/>
                  <a:pt x="340575" y="50283"/>
                </a:cubicBezTo>
                <a:cubicBezTo>
                  <a:pt x="336165" y="47923"/>
                  <a:pt x="330737" y="46472"/>
                  <a:pt x="327344" y="43204"/>
                </a:cubicBezTo>
                <a:cubicBezTo>
                  <a:pt x="311357" y="27808"/>
                  <a:pt x="327861" y="24052"/>
                  <a:pt x="305292" y="36126"/>
                </a:cubicBezTo>
                <a:lnTo>
                  <a:pt x="294190" y="29768"/>
                </a:lnTo>
                <a:cubicBezTo>
                  <a:pt x="288794" y="26577"/>
                  <a:pt x="296669" y="32427"/>
                  <a:pt x="283239" y="43204"/>
                </a:cubicBezTo>
                <a:cubicBezTo>
                  <a:pt x="279952" y="45842"/>
                  <a:pt x="274418" y="45564"/>
                  <a:pt x="270008" y="46743"/>
                </a:cubicBezTo>
                <a:cubicBezTo>
                  <a:pt x="263914" y="50003"/>
                  <a:pt x="241198" y="63209"/>
                  <a:pt x="234725" y="60900"/>
                </a:cubicBezTo>
                <a:cubicBezTo>
                  <a:pt x="225036" y="57445"/>
                  <a:pt x="217083" y="39664"/>
                  <a:pt x="217083" y="39664"/>
                </a:cubicBezTo>
                <a:cubicBezTo>
                  <a:pt x="211203" y="43204"/>
                  <a:pt x="203852" y="45564"/>
                  <a:pt x="199441" y="50283"/>
                </a:cubicBezTo>
                <a:cubicBezTo>
                  <a:pt x="182357" y="68560"/>
                  <a:pt x="201421" y="73756"/>
                  <a:pt x="177389" y="60900"/>
                </a:cubicBezTo>
                <a:cubicBezTo>
                  <a:pt x="150680" y="28749"/>
                  <a:pt x="189296" y="67713"/>
                  <a:pt x="155337" y="60900"/>
                </a:cubicBezTo>
                <a:cubicBezTo>
                  <a:pt x="149456" y="59720"/>
                  <a:pt x="152241" y="51491"/>
                  <a:pt x="150926" y="46743"/>
                </a:cubicBezTo>
                <a:cubicBezTo>
                  <a:pt x="149300" y="40871"/>
                  <a:pt x="147986" y="34945"/>
                  <a:pt x="146516" y="29047"/>
                </a:cubicBezTo>
                <a:lnTo>
                  <a:pt x="120054" y="43204"/>
                </a:lnTo>
                <a:lnTo>
                  <a:pt x="106822" y="50283"/>
                </a:lnTo>
                <a:cubicBezTo>
                  <a:pt x="104026" y="48038"/>
                  <a:pt x="101939" y="44088"/>
                  <a:pt x="98414" y="42127"/>
                </a:cubicBezTo>
                <a:cubicBezTo>
                  <a:pt x="98230" y="42429"/>
                  <a:pt x="98051" y="42731"/>
                  <a:pt x="97869" y="43034"/>
                </a:cubicBezTo>
                <a:lnTo>
                  <a:pt x="93171" y="50846"/>
                </a:lnTo>
                <a:cubicBezTo>
                  <a:pt x="90038" y="53450"/>
                  <a:pt x="82666" y="55589"/>
                  <a:pt x="83773" y="58657"/>
                </a:cubicBezTo>
                <a:cubicBezTo>
                  <a:pt x="84881" y="61726"/>
                  <a:pt x="100393" y="61067"/>
                  <a:pt x="97869" y="63865"/>
                </a:cubicBezTo>
                <a:cubicBezTo>
                  <a:pt x="94097" y="68046"/>
                  <a:pt x="82208" y="67337"/>
                  <a:pt x="74377" y="69073"/>
                </a:cubicBezTo>
                <a:cubicBezTo>
                  <a:pt x="80642" y="72545"/>
                  <a:pt x="94423" y="74628"/>
                  <a:pt x="93171" y="79489"/>
                </a:cubicBezTo>
                <a:cubicBezTo>
                  <a:pt x="91879" y="84500"/>
                  <a:pt x="68386" y="82291"/>
                  <a:pt x="69678" y="87301"/>
                </a:cubicBezTo>
                <a:cubicBezTo>
                  <a:pt x="70404" y="90118"/>
                  <a:pt x="108415" y="100966"/>
                  <a:pt x="116662" y="102924"/>
                </a:cubicBezTo>
                <a:cubicBezTo>
                  <a:pt x="121215" y="104006"/>
                  <a:pt x="126060" y="104661"/>
                  <a:pt x="130758" y="105529"/>
                </a:cubicBezTo>
                <a:lnTo>
                  <a:pt x="106143" y="109108"/>
                </a:lnTo>
                <a:cubicBezTo>
                  <a:pt x="101990" y="109691"/>
                  <a:pt x="101565" y="110187"/>
                  <a:pt x="103900" y="112163"/>
                </a:cubicBezTo>
                <a:lnTo>
                  <a:pt x="111963" y="118548"/>
                </a:lnTo>
                <a:cubicBezTo>
                  <a:pt x="110398" y="121153"/>
                  <a:pt x="110360" y="124217"/>
                  <a:pt x="107265" y="126361"/>
                </a:cubicBezTo>
                <a:cubicBezTo>
                  <a:pt x="103738" y="128804"/>
                  <a:pt x="96164" y="128914"/>
                  <a:pt x="93171" y="131569"/>
                </a:cubicBezTo>
                <a:cubicBezTo>
                  <a:pt x="87923" y="136221"/>
                  <a:pt x="83778" y="147180"/>
                  <a:pt x="83773" y="147192"/>
                </a:cubicBezTo>
                <a:cubicBezTo>
                  <a:pt x="79419" y="148801"/>
                  <a:pt x="59307" y="153923"/>
                  <a:pt x="64980" y="160212"/>
                </a:cubicBezTo>
                <a:lnTo>
                  <a:pt x="79075" y="162816"/>
                </a:lnTo>
                <a:cubicBezTo>
                  <a:pt x="77509" y="165420"/>
                  <a:pt x="72811" y="168024"/>
                  <a:pt x="74377" y="170628"/>
                </a:cubicBezTo>
                <a:cubicBezTo>
                  <a:pt x="76961" y="174924"/>
                  <a:pt x="96120" y="181266"/>
                  <a:pt x="102568" y="183648"/>
                </a:cubicBezTo>
                <a:cubicBezTo>
                  <a:pt x="99435" y="186252"/>
                  <a:pt x="91620" y="188451"/>
                  <a:pt x="93171" y="191460"/>
                </a:cubicBezTo>
                <a:cubicBezTo>
                  <a:pt x="97864" y="200564"/>
                  <a:pt x="113400" y="202141"/>
                  <a:pt x="126060" y="204479"/>
                </a:cubicBezTo>
                <a:cubicBezTo>
                  <a:pt x="121361" y="206216"/>
                  <a:pt x="115096" y="207083"/>
                  <a:pt x="111963" y="209687"/>
                </a:cubicBezTo>
                <a:cubicBezTo>
                  <a:pt x="102787" y="217316"/>
                  <a:pt x="107738" y="220888"/>
                  <a:pt x="111963" y="227915"/>
                </a:cubicBezTo>
                <a:cubicBezTo>
                  <a:pt x="104134" y="230519"/>
                  <a:pt x="94930" y="232148"/>
                  <a:pt x="88472" y="235727"/>
                </a:cubicBezTo>
                <a:cubicBezTo>
                  <a:pt x="84970" y="237668"/>
                  <a:pt x="80680" y="241395"/>
                  <a:pt x="83773" y="243539"/>
                </a:cubicBezTo>
                <a:cubicBezTo>
                  <a:pt x="125507" y="272451"/>
                  <a:pt x="96587" y="230991"/>
                  <a:pt x="111963" y="256559"/>
                </a:cubicBezTo>
                <a:cubicBezTo>
                  <a:pt x="107265" y="259162"/>
                  <a:pt x="98961" y="260738"/>
                  <a:pt x="97869" y="264371"/>
                </a:cubicBezTo>
                <a:cubicBezTo>
                  <a:pt x="95925" y="270835"/>
                  <a:pt x="117040" y="274398"/>
                  <a:pt x="121361" y="277391"/>
                </a:cubicBezTo>
                <a:cubicBezTo>
                  <a:pt x="124454" y="279533"/>
                  <a:pt x="124493" y="282598"/>
                  <a:pt x="126060" y="285202"/>
                </a:cubicBezTo>
                <a:cubicBezTo>
                  <a:pt x="122927" y="287806"/>
                  <a:pt x="121001" y="291010"/>
                  <a:pt x="116662" y="293014"/>
                </a:cubicBezTo>
                <a:lnTo>
                  <a:pt x="100482" y="297768"/>
                </a:lnTo>
                <a:cubicBezTo>
                  <a:pt x="97456" y="298141"/>
                  <a:pt x="96897" y="298043"/>
                  <a:pt x="99098" y="299705"/>
                </a:cubicBezTo>
                <a:lnTo>
                  <a:pt x="107265" y="306034"/>
                </a:lnTo>
                <a:lnTo>
                  <a:pt x="98826" y="312588"/>
                </a:lnTo>
                <a:cubicBezTo>
                  <a:pt x="99206" y="313962"/>
                  <a:pt x="99911" y="313979"/>
                  <a:pt x="100791" y="314042"/>
                </a:cubicBezTo>
                <a:lnTo>
                  <a:pt x="116662" y="319054"/>
                </a:lnTo>
                <a:cubicBezTo>
                  <a:pt x="120165" y="320995"/>
                  <a:pt x="119795" y="324262"/>
                  <a:pt x="121361" y="326866"/>
                </a:cubicBezTo>
                <a:cubicBezTo>
                  <a:pt x="125688" y="330463"/>
                  <a:pt x="143221" y="343876"/>
                  <a:pt x="140155" y="347698"/>
                </a:cubicBezTo>
                <a:cubicBezTo>
                  <a:pt x="135572" y="353413"/>
                  <a:pt x="111994" y="358106"/>
                  <a:pt x="111963" y="358113"/>
                </a:cubicBezTo>
                <a:cubicBezTo>
                  <a:pt x="116662" y="361585"/>
                  <a:pt x="119795" y="365925"/>
                  <a:pt x="126060" y="368529"/>
                </a:cubicBezTo>
                <a:lnTo>
                  <a:pt x="145684" y="373340"/>
                </a:lnTo>
                <a:cubicBezTo>
                  <a:pt x="149550" y="373587"/>
                  <a:pt x="150627" y="373300"/>
                  <a:pt x="148565" y="374947"/>
                </a:cubicBezTo>
                <a:lnTo>
                  <a:pt x="140155" y="381549"/>
                </a:lnTo>
                <a:cubicBezTo>
                  <a:pt x="97473" y="397318"/>
                  <a:pt x="149200" y="374519"/>
                  <a:pt x="140155" y="394568"/>
                </a:cubicBezTo>
                <a:cubicBezTo>
                  <a:pt x="138589" y="398040"/>
                  <a:pt x="127664" y="396397"/>
                  <a:pt x="121361" y="397173"/>
                </a:cubicBezTo>
                <a:cubicBezTo>
                  <a:pt x="113566" y="398133"/>
                  <a:pt x="105699" y="398908"/>
                  <a:pt x="97869" y="399776"/>
                </a:cubicBezTo>
                <a:lnTo>
                  <a:pt x="116662" y="415400"/>
                </a:lnTo>
                <a:lnTo>
                  <a:pt x="126060" y="423212"/>
                </a:lnTo>
                <a:cubicBezTo>
                  <a:pt x="121361" y="425816"/>
                  <a:pt x="111024" y="427379"/>
                  <a:pt x="111963" y="431024"/>
                </a:cubicBezTo>
                <a:cubicBezTo>
                  <a:pt x="120882" y="465625"/>
                  <a:pt x="141038" y="424347"/>
                  <a:pt x="126060" y="449252"/>
                </a:cubicBezTo>
                <a:cubicBezTo>
                  <a:pt x="130758" y="450988"/>
                  <a:pt x="138057" y="451554"/>
                  <a:pt x="140155" y="454460"/>
                </a:cubicBezTo>
                <a:cubicBezTo>
                  <a:pt x="143274" y="458781"/>
                  <a:pt x="122151" y="472104"/>
                  <a:pt x="121361" y="472688"/>
                </a:cubicBezTo>
                <a:cubicBezTo>
                  <a:pt x="131754" y="478448"/>
                  <a:pt x="144069" y="480499"/>
                  <a:pt x="149552" y="485707"/>
                </a:cubicBezTo>
                <a:cubicBezTo>
                  <a:pt x="155033" y="490915"/>
                  <a:pt x="108815" y="485049"/>
                  <a:pt x="153296" y="504972"/>
                </a:cubicBezTo>
                <a:lnTo>
                  <a:pt x="154870" y="504882"/>
                </a:lnTo>
                <a:lnTo>
                  <a:pt x="144853" y="506538"/>
                </a:lnTo>
                <a:cubicBezTo>
                  <a:pt x="139084" y="508366"/>
                  <a:pt x="135456" y="511747"/>
                  <a:pt x="130758" y="514350"/>
                </a:cubicBezTo>
                <a:cubicBezTo>
                  <a:pt x="141721" y="516955"/>
                  <a:pt x="152979" y="519207"/>
                  <a:pt x="163647" y="522163"/>
                </a:cubicBezTo>
                <a:cubicBezTo>
                  <a:pt x="168698" y="523562"/>
                  <a:pt x="180648" y="524687"/>
                  <a:pt x="177743" y="527371"/>
                </a:cubicBezTo>
                <a:cubicBezTo>
                  <a:pt x="172337" y="532364"/>
                  <a:pt x="157956" y="531689"/>
                  <a:pt x="149552" y="535183"/>
                </a:cubicBezTo>
                <a:cubicBezTo>
                  <a:pt x="141456" y="538547"/>
                  <a:pt x="138390" y="545930"/>
                  <a:pt x="135456" y="550807"/>
                </a:cubicBezTo>
                <a:cubicBezTo>
                  <a:pt x="129191" y="551675"/>
                  <a:pt x="118705" y="550015"/>
                  <a:pt x="116662" y="553410"/>
                </a:cubicBezTo>
                <a:cubicBezTo>
                  <a:pt x="114877" y="556380"/>
                  <a:pt x="131866" y="555550"/>
                  <a:pt x="130758" y="558619"/>
                </a:cubicBezTo>
                <a:cubicBezTo>
                  <a:pt x="129222" y="562874"/>
                  <a:pt x="118228" y="563827"/>
                  <a:pt x="111963" y="566431"/>
                </a:cubicBezTo>
                <a:lnTo>
                  <a:pt x="117470" y="574946"/>
                </a:lnTo>
                <a:cubicBezTo>
                  <a:pt x="116265" y="573813"/>
                  <a:pt x="106897" y="564438"/>
                  <a:pt x="97869" y="579450"/>
                </a:cubicBezTo>
                <a:cubicBezTo>
                  <a:pt x="95653" y="583133"/>
                  <a:pt x="104134" y="586394"/>
                  <a:pt x="107265" y="589866"/>
                </a:cubicBezTo>
                <a:cubicBezTo>
                  <a:pt x="113530" y="590734"/>
                  <a:pt x="121017" y="590234"/>
                  <a:pt x="126060" y="592470"/>
                </a:cubicBezTo>
                <a:cubicBezTo>
                  <a:pt x="135950" y="596855"/>
                  <a:pt x="128698" y="603708"/>
                  <a:pt x="126060" y="608093"/>
                </a:cubicBezTo>
                <a:cubicBezTo>
                  <a:pt x="97225" y="632064"/>
                  <a:pt x="135456" y="594750"/>
                  <a:pt x="135456" y="626321"/>
                </a:cubicBezTo>
                <a:cubicBezTo>
                  <a:pt x="135456" y="631232"/>
                  <a:pt x="122927" y="633265"/>
                  <a:pt x="116662" y="636738"/>
                </a:cubicBezTo>
                <a:cubicBezTo>
                  <a:pt x="112487" y="637508"/>
                  <a:pt x="89516" y="639438"/>
                  <a:pt x="97869" y="647153"/>
                </a:cubicBezTo>
                <a:cubicBezTo>
                  <a:pt x="101472" y="650482"/>
                  <a:pt x="110398" y="650625"/>
                  <a:pt x="116662" y="652361"/>
                </a:cubicBezTo>
                <a:cubicBezTo>
                  <a:pt x="115096" y="654964"/>
                  <a:pt x="115467" y="658232"/>
                  <a:pt x="111963" y="660173"/>
                </a:cubicBezTo>
                <a:cubicBezTo>
                  <a:pt x="107011" y="662918"/>
                  <a:pt x="94544" y="661574"/>
                  <a:pt x="93171" y="665381"/>
                </a:cubicBezTo>
                <a:cubicBezTo>
                  <a:pt x="91867" y="668992"/>
                  <a:pt x="104294" y="669899"/>
                  <a:pt x="107265" y="673193"/>
                </a:cubicBezTo>
                <a:cubicBezTo>
                  <a:pt x="110837" y="677151"/>
                  <a:pt x="110398" y="681873"/>
                  <a:pt x="111963" y="686212"/>
                </a:cubicBezTo>
                <a:lnTo>
                  <a:pt x="129364" y="692903"/>
                </a:lnTo>
                <a:cubicBezTo>
                  <a:pt x="131218" y="694189"/>
                  <a:pt x="121816" y="693268"/>
                  <a:pt x="116662" y="701836"/>
                </a:cubicBezTo>
                <a:lnTo>
                  <a:pt x="121361" y="709648"/>
                </a:lnTo>
                <a:cubicBezTo>
                  <a:pt x="126059" y="711384"/>
                  <a:pt x="134348" y="711787"/>
                  <a:pt x="135456" y="714856"/>
                </a:cubicBezTo>
                <a:cubicBezTo>
                  <a:pt x="136563" y="717925"/>
                  <a:pt x="123155" y="719984"/>
                  <a:pt x="126060" y="722668"/>
                </a:cubicBezTo>
                <a:cubicBezTo>
                  <a:pt x="130398" y="726677"/>
                  <a:pt x="142688" y="725160"/>
                  <a:pt x="149552" y="727876"/>
                </a:cubicBezTo>
                <a:cubicBezTo>
                  <a:pt x="154146" y="729696"/>
                  <a:pt x="155816" y="733084"/>
                  <a:pt x="158948" y="735688"/>
                </a:cubicBezTo>
                <a:cubicBezTo>
                  <a:pt x="152684" y="736556"/>
                  <a:pt x="145761" y="736516"/>
                  <a:pt x="140155" y="738292"/>
                </a:cubicBezTo>
                <a:cubicBezTo>
                  <a:pt x="125663" y="742881"/>
                  <a:pt x="125847" y="746458"/>
                  <a:pt x="121361" y="753916"/>
                </a:cubicBezTo>
                <a:cubicBezTo>
                  <a:pt x="129191" y="755651"/>
                  <a:pt x="138374" y="756131"/>
                  <a:pt x="144853" y="759123"/>
                </a:cubicBezTo>
                <a:cubicBezTo>
                  <a:pt x="148658" y="760880"/>
                  <a:pt x="146457" y="764792"/>
                  <a:pt x="149552" y="766935"/>
                </a:cubicBezTo>
                <a:cubicBezTo>
                  <a:pt x="153079" y="769379"/>
                  <a:pt x="158948" y="770407"/>
                  <a:pt x="163647" y="772143"/>
                </a:cubicBezTo>
                <a:cubicBezTo>
                  <a:pt x="160515" y="774747"/>
                  <a:pt x="152880" y="776919"/>
                  <a:pt x="154250" y="779955"/>
                </a:cubicBezTo>
                <a:cubicBezTo>
                  <a:pt x="155452" y="782618"/>
                  <a:pt x="163916" y="781331"/>
                  <a:pt x="168345" y="782559"/>
                </a:cubicBezTo>
                <a:cubicBezTo>
                  <a:pt x="173396" y="783958"/>
                  <a:pt x="178913" y="785323"/>
                  <a:pt x="182441" y="787767"/>
                </a:cubicBezTo>
                <a:cubicBezTo>
                  <a:pt x="185534" y="789910"/>
                  <a:pt x="185400" y="793008"/>
                  <a:pt x="187139" y="795578"/>
                </a:cubicBezTo>
                <a:cubicBezTo>
                  <a:pt x="190100" y="799955"/>
                  <a:pt x="193404" y="804259"/>
                  <a:pt x="196536" y="808598"/>
                </a:cubicBezTo>
                <a:cubicBezTo>
                  <a:pt x="191838" y="811202"/>
                  <a:pt x="183533" y="812778"/>
                  <a:pt x="182441" y="816411"/>
                </a:cubicBezTo>
                <a:cubicBezTo>
                  <a:pt x="180398" y="823205"/>
                  <a:pt x="205796" y="828091"/>
                  <a:pt x="210631" y="829430"/>
                </a:cubicBezTo>
                <a:cubicBezTo>
                  <a:pt x="205049" y="830462"/>
                  <a:pt x="179530" y="834766"/>
                  <a:pt x="177743" y="837242"/>
                </a:cubicBezTo>
                <a:cubicBezTo>
                  <a:pt x="175645" y="840148"/>
                  <a:pt x="184007" y="842450"/>
                  <a:pt x="187139" y="845054"/>
                </a:cubicBezTo>
                <a:cubicBezTo>
                  <a:pt x="182075" y="845990"/>
                  <a:pt x="155305" y="850527"/>
                  <a:pt x="154250" y="852866"/>
                </a:cubicBezTo>
                <a:cubicBezTo>
                  <a:pt x="152880" y="855902"/>
                  <a:pt x="163443" y="856521"/>
                  <a:pt x="168345" y="858074"/>
                </a:cubicBezTo>
                <a:cubicBezTo>
                  <a:pt x="174427" y="860000"/>
                  <a:pt x="180874" y="861546"/>
                  <a:pt x="187139" y="863282"/>
                </a:cubicBezTo>
                <a:lnTo>
                  <a:pt x="162611" y="870956"/>
                </a:lnTo>
                <a:cubicBezTo>
                  <a:pt x="158343" y="872202"/>
                  <a:pt x="157738" y="872822"/>
                  <a:pt x="160050" y="874877"/>
                </a:cubicBezTo>
                <a:lnTo>
                  <a:pt x="168345" y="881509"/>
                </a:lnTo>
                <a:cubicBezTo>
                  <a:pt x="157382" y="882378"/>
                  <a:pt x="145361" y="881369"/>
                  <a:pt x="135456" y="884114"/>
                </a:cubicBezTo>
                <a:cubicBezTo>
                  <a:pt x="131027" y="885341"/>
                  <a:pt x="127664" y="889782"/>
                  <a:pt x="130758" y="891926"/>
                </a:cubicBezTo>
                <a:cubicBezTo>
                  <a:pt x="136026" y="895576"/>
                  <a:pt x="146420" y="895397"/>
                  <a:pt x="154250" y="897134"/>
                </a:cubicBezTo>
                <a:cubicBezTo>
                  <a:pt x="149552" y="898001"/>
                  <a:pt x="145011" y="899199"/>
                  <a:pt x="140155" y="899738"/>
                </a:cubicBezTo>
                <a:cubicBezTo>
                  <a:pt x="129296" y="900941"/>
                  <a:pt x="116125" y="898658"/>
                  <a:pt x="107265" y="902342"/>
                </a:cubicBezTo>
                <a:cubicBezTo>
                  <a:pt x="102748" y="904219"/>
                  <a:pt x="118835" y="904750"/>
                  <a:pt x="121361" y="907549"/>
                </a:cubicBezTo>
                <a:cubicBezTo>
                  <a:pt x="127132" y="913946"/>
                  <a:pt x="130753" y="928359"/>
                  <a:pt x="130758" y="928381"/>
                </a:cubicBezTo>
                <a:cubicBezTo>
                  <a:pt x="129192" y="930985"/>
                  <a:pt x="123844" y="933738"/>
                  <a:pt x="126060" y="936193"/>
                </a:cubicBezTo>
                <a:cubicBezTo>
                  <a:pt x="131530" y="942257"/>
                  <a:pt x="146839" y="936952"/>
                  <a:pt x="140619" y="938921"/>
                </a:cubicBezTo>
                <a:lnTo>
                  <a:pt x="126060" y="944004"/>
                </a:lnTo>
                <a:cubicBezTo>
                  <a:pt x="132325" y="944873"/>
                  <a:pt x="144853" y="943030"/>
                  <a:pt x="144853" y="946609"/>
                </a:cubicBezTo>
                <a:cubicBezTo>
                  <a:pt x="144853" y="952863"/>
                  <a:pt x="126088" y="962219"/>
                  <a:pt x="126060" y="962233"/>
                </a:cubicBezTo>
                <a:cubicBezTo>
                  <a:pt x="127626" y="964837"/>
                  <a:pt x="130758" y="967299"/>
                  <a:pt x="130758" y="970045"/>
                </a:cubicBezTo>
                <a:cubicBezTo>
                  <a:pt x="130758" y="986139"/>
                  <a:pt x="101110" y="971930"/>
                  <a:pt x="158948" y="985668"/>
                </a:cubicBezTo>
                <a:cubicBezTo>
                  <a:pt x="154250" y="987404"/>
                  <a:pt x="146950" y="987970"/>
                  <a:pt x="144853" y="990876"/>
                </a:cubicBezTo>
                <a:cubicBezTo>
                  <a:pt x="137625" y="1000891"/>
                  <a:pt x="155470" y="998137"/>
                  <a:pt x="150206" y="998838"/>
                </a:cubicBezTo>
                <a:lnTo>
                  <a:pt x="135456" y="1001292"/>
                </a:lnTo>
                <a:cubicBezTo>
                  <a:pt x="140154" y="1003028"/>
                  <a:pt x="147454" y="1003594"/>
                  <a:pt x="149552" y="1006500"/>
                </a:cubicBezTo>
                <a:cubicBezTo>
                  <a:pt x="151390" y="1009048"/>
                  <a:pt x="142305" y="1011958"/>
                  <a:pt x="144853" y="1014311"/>
                </a:cubicBezTo>
                <a:cubicBezTo>
                  <a:pt x="148456" y="1017640"/>
                  <a:pt x="157382" y="1017784"/>
                  <a:pt x="163647" y="1019520"/>
                </a:cubicBezTo>
                <a:cubicBezTo>
                  <a:pt x="158348" y="1020988"/>
                  <a:pt x="134394" y="1024557"/>
                  <a:pt x="140155" y="1032540"/>
                </a:cubicBezTo>
                <a:cubicBezTo>
                  <a:pt x="142252" y="1035445"/>
                  <a:pt x="149552" y="1036011"/>
                  <a:pt x="154250" y="1037747"/>
                </a:cubicBezTo>
                <a:cubicBezTo>
                  <a:pt x="149552" y="1040351"/>
                  <a:pt x="140155" y="1041876"/>
                  <a:pt x="140155" y="1045559"/>
                </a:cubicBezTo>
                <a:cubicBezTo>
                  <a:pt x="140155" y="1048304"/>
                  <a:pt x="153550" y="1045446"/>
                  <a:pt x="154250" y="1048163"/>
                </a:cubicBezTo>
                <a:cubicBezTo>
                  <a:pt x="155650" y="1053594"/>
                  <a:pt x="144867" y="1063774"/>
                  <a:pt x="144853" y="1063787"/>
                </a:cubicBezTo>
                <a:cubicBezTo>
                  <a:pt x="146419" y="1066391"/>
                  <a:pt x="149552" y="1068854"/>
                  <a:pt x="149552" y="1071599"/>
                </a:cubicBezTo>
                <a:cubicBezTo>
                  <a:pt x="149552" y="1074344"/>
                  <a:pt x="143493" y="1076771"/>
                  <a:pt x="144853" y="1079411"/>
                </a:cubicBezTo>
                <a:cubicBezTo>
                  <a:pt x="147004" y="1083584"/>
                  <a:pt x="154250" y="1086355"/>
                  <a:pt x="158948" y="1089826"/>
                </a:cubicBezTo>
                <a:cubicBezTo>
                  <a:pt x="165213" y="1091563"/>
                  <a:pt x="176368" y="1091228"/>
                  <a:pt x="177743" y="1095035"/>
                </a:cubicBezTo>
                <a:cubicBezTo>
                  <a:pt x="179045" y="1098646"/>
                  <a:pt x="167901" y="1100018"/>
                  <a:pt x="163647" y="1102847"/>
                </a:cubicBezTo>
                <a:cubicBezTo>
                  <a:pt x="160032" y="1105250"/>
                  <a:pt x="157382" y="1108055"/>
                  <a:pt x="154250" y="1110659"/>
                </a:cubicBezTo>
                <a:cubicBezTo>
                  <a:pt x="157643" y="1113479"/>
                  <a:pt x="173240" y="1124547"/>
                  <a:pt x="168345" y="1128886"/>
                </a:cubicBezTo>
                <a:cubicBezTo>
                  <a:pt x="162361" y="1134194"/>
                  <a:pt x="146420" y="1134094"/>
                  <a:pt x="140155" y="1139302"/>
                </a:cubicBezTo>
                <a:lnTo>
                  <a:pt x="130758" y="1147114"/>
                </a:lnTo>
                <a:cubicBezTo>
                  <a:pt x="135010" y="1148685"/>
                  <a:pt x="158948" y="1156792"/>
                  <a:pt x="158948" y="1160133"/>
                </a:cubicBezTo>
                <a:cubicBezTo>
                  <a:pt x="158948" y="1163264"/>
                  <a:pt x="149552" y="1163606"/>
                  <a:pt x="144853" y="1165342"/>
                </a:cubicBezTo>
                <a:cubicBezTo>
                  <a:pt x="149552" y="1167077"/>
                  <a:pt x="159649" y="1167444"/>
                  <a:pt x="158948" y="1170549"/>
                </a:cubicBezTo>
                <a:cubicBezTo>
                  <a:pt x="157549" y="1176755"/>
                  <a:pt x="140184" y="1186158"/>
                  <a:pt x="140155" y="1186173"/>
                </a:cubicBezTo>
                <a:cubicBezTo>
                  <a:pt x="141721" y="1188778"/>
                  <a:pt x="147311" y="1191602"/>
                  <a:pt x="144853" y="1193985"/>
                </a:cubicBezTo>
                <a:cubicBezTo>
                  <a:pt x="141420" y="1197315"/>
                  <a:pt x="115926" y="1206409"/>
                  <a:pt x="107265" y="1209609"/>
                </a:cubicBezTo>
                <a:cubicBezTo>
                  <a:pt x="108832" y="1212213"/>
                  <a:pt x="110013" y="1214898"/>
                  <a:pt x="111963" y="1217421"/>
                </a:cubicBezTo>
                <a:cubicBezTo>
                  <a:pt x="114723" y="1220989"/>
                  <a:pt x="123576" y="1224154"/>
                  <a:pt x="121361" y="1227837"/>
                </a:cubicBezTo>
                <a:cubicBezTo>
                  <a:pt x="119146" y="1231519"/>
                  <a:pt x="108832" y="1231308"/>
                  <a:pt x="102568" y="1233044"/>
                </a:cubicBezTo>
                <a:cubicBezTo>
                  <a:pt x="105699" y="1236517"/>
                  <a:pt x="108252" y="1240169"/>
                  <a:pt x="111963" y="1243461"/>
                </a:cubicBezTo>
                <a:cubicBezTo>
                  <a:pt x="116114" y="1247141"/>
                  <a:pt x="128968" y="1249846"/>
                  <a:pt x="126060" y="1253876"/>
                </a:cubicBezTo>
                <a:cubicBezTo>
                  <a:pt x="123095" y="1257986"/>
                  <a:pt x="110398" y="1255612"/>
                  <a:pt x="102568" y="1256480"/>
                </a:cubicBezTo>
                <a:cubicBezTo>
                  <a:pt x="117706" y="1281652"/>
                  <a:pt x="101519" y="1246363"/>
                  <a:pt x="93171" y="1269500"/>
                </a:cubicBezTo>
                <a:cubicBezTo>
                  <a:pt x="92063" y="1272568"/>
                  <a:pt x="100042" y="1274513"/>
                  <a:pt x="102568" y="1277311"/>
                </a:cubicBezTo>
                <a:cubicBezTo>
                  <a:pt x="104782" y="1279767"/>
                  <a:pt x="105699" y="1282520"/>
                  <a:pt x="107265" y="1285123"/>
                </a:cubicBezTo>
                <a:lnTo>
                  <a:pt x="99123" y="1291352"/>
                </a:lnTo>
                <a:cubicBezTo>
                  <a:pt x="99073" y="1292979"/>
                  <a:pt x="99108" y="1292980"/>
                  <a:pt x="99142" y="1292981"/>
                </a:cubicBezTo>
                <a:lnTo>
                  <a:pt x="111963" y="1295540"/>
                </a:lnTo>
                <a:cubicBezTo>
                  <a:pt x="117492" y="1297583"/>
                  <a:pt x="121361" y="1300748"/>
                  <a:pt x="126060" y="1303352"/>
                </a:cubicBezTo>
                <a:cubicBezTo>
                  <a:pt x="121361" y="1304219"/>
                  <a:pt x="115768" y="1304198"/>
                  <a:pt x="111963" y="1305956"/>
                </a:cubicBezTo>
                <a:lnTo>
                  <a:pt x="97703" y="1313800"/>
                </a:lnTo>
                <a:cubicBezTo>
                  <a:pt x="93837" y="1317160"/>
                  <a:pt x="101569" y="1315872"/>
                  <a:pt x="95451" y="1316908"/>
                </a:cubicBezTo>
                <a:lnTo>
                  <a:pt x="83773" y="1318975"/>
                </a:lnTo>
                <a:cubicBezTo>
                  <a:pt x="124992" y="1349436"/>
                  <a:pt x="83773" y="1311814"/>
                  <a:pt x="83773" y="1337203"/>
                </a:cubicBezTo>
                <a:cubicBezTo>
                  <a:pt x="83773" y="1343662"/>
                  <a:pt x="103961" y="1349870"/>
                  <a:pt x="111963" y="1352827"/>
                </a:cubicBezTo>
                <a:cubicBezTo>
                  <a:pt x="108832" y="1355430"/>
                  <a:pt x="101198" y="1357603"/>
                  <a:pt x="102568" y="1360639"/>
                </a:cubicBezTo>
                <a:cubicBezTo>
                  <a:pt x="106212" y="1368717"/>
                  <a:pt x="128988" y="1376828"/>
                  <a:pt x="140155" y="1381471"/>
                </a:cubicBezTo>
                <a:cubicBezTo>
                  <a:pt x="126297" y="1404508"/>
                  <a:pt x="142059" y="1370071"/>
                  <a:pt x="154250" y="1397094"/>
                </a:cubicBezTo>
                <a:cubicBezTo>
                  <a:pt x="155452" y="1399757"/>
                  <a:pt x="143658" y="1397757"/>
                  <a:pt x="140155" y="1399698"/>
                </a:cubicBezTo>
                <a:cubicBezTo>
                  <a:pt x="136653" y="1401639"/>
                  <a:pt x="137023" y="1404907"/>
                  <a:pt x="135456" y="1407510"/>
                </a:cubicBezTo>
                <a:cubicBezTo>
                  <a:pt x="137023" y="1410982"/>
                  <a:pt x="138754" y="1414432"/>
                  <a:pt x="140155" y="1417926"/>
                </a:cubicBezTo>
                <a:cubicBezTo>
                  <a:pt x="141887" y="1422246"/>
                  <a:pt x="141610" y="1426901"/>
                  <a:pt x="144853" y="1430946"/>
                </a:cubicBezTo>
                <a:cubicBezTo>
                  <a:pt x="148034" y="1434911"/>
                  <a:pt x="154250" y="1437890"/>
                  <a:pt x="158948" y="1441362"/>
                </a:cubicBezTo>
                <a:cubicBezTo>
                  <a:pt x="154250" y="1443966"/>
                  <a:pt x="148539" y="1446110"/>
                  <a:pt x="144853" y="1449174"/>
                </a:cubicBezTo>
                <a:cubicBezTo>
                  <a:pt x="142106" y="1451457"/>
                  <a:pt x="144022" y="1455271"/>
                  <a:pt x="140155" y="1456985"/>
                </a:cubicBezTo>
                <a:cubicBezTo>
                  <a:pt x="135112" y="1459221"/>
                  <a:pt x="127296" y="1458180"/>
                  <a:pt x="121361" y="1459589"/>
                </a:cubicBezTo>
                <a:cubicBezTo>
                  <a:pt x="116171" y="1460822"/>
                  <a:pt x="111963" y="1463061"/>
                  <a:pt x="107265" y="1464797"/>
                </a:cubicBezTo>
                <a:cubicBezTo>
                  <a:pt x="110398" y="1468270"/>
                  <a:pt x="112646" y="1472033"/>
                  <a:pt x="116662" y="1475213"/>
                </a:cubicBezTo>
                <a:cubicBezTo>
                  <a:pt x="123678" y="1480767"/>
                  <a:pt x="137188" y="1484260"/>
                  <a:pt x="140155" y="1490837"/>
                </a:cubicBezTo>
                <a:cubicBezTo>
                  <a:pt x="141525" y="1493873"/>
                  <a:pt x="130758" y="1494309"/>
                  <a:pt x="126060" y="1496045"/>
                </a:cubicBezTo>
                <a:cubicBezTo>
                  <a:pt x="135496" y="1503889"/>
                  <a:pt x="137701" y="1505023"/>
                  <a:pt x="144853" y="1514273"/>
                </a:cubicBezTo>
                <a:cubicBezTo>
                  <a:pt x="146804" y="1516796"/>
                  <a:pt x="147986" y="1519481"/>
                  <a:pt x="149552" y="1522085"/>
                </a:cubicBezTo>
                <a:lnTo>
                  <a:pt x="140317" y="1529391"/>
                </a:lnTo>
                <a:cubicBezTo>
                  <a:pt x="142913" y="1529460"/>
                  <a:pt x="152317" y="1527448"/>
                  <a:pt x="158948" y="1540312"/>
                </a:cubicBezTo>
                <a:cubicBezTo>
                  <a:pt x="160058" y="1542466"/>
                  <a:pt x="156372" y="1544204"/>
                  <a:pt x="153119" y="1546049"/>
                </a:cubicBezTo>
                <a:cubicBezTo>
                  <a:pt x="153125" y="1546049"/>
                  <a:pt x="153131" y="1546048"/>
                  <a:pt x="153139" y="1546055"/>
                </a:cubicBezTo>
                <a:cubicBezTo>
                  <a:pt x="153847" y="1545973"/>
                  <a:pt x="154227" y="1546205"/>
                  <a:pt x="154589" y="1546461"/>
                </a:cubicBezTo>
                <a:lnTo>
                  <a:pt x="154590" y="1546462"/>
                </a:lnTo>
                <a:lnTo>
                  <a:pt x="159869" y="1551745"/>
                </a:lnTo>
                <a:lnTo>
                  <a:pt x="161256" y="1553134"/>
                </a:lnTo>
                <a:cubicBezTo>
                  <a:pt x="164866" y="1556851"/>
                  <a:pt x="166674" y="1561240"/>
                  <a:pt x="165246" y="1565275"/>
                </a:cubicBezTo>
                <a:cubicBezTo>
                  <a:pt x="165247" y="1565277"/>
                  <a:pt x="165247" y="1565280"/>
                  <a:pt x="165248" y="1565282"/>
                </a:cubicBezTo>
                <a:cubicBezTo>
                  <a:pt x="164516" y="1567349"/>
                  <a:pt x="162448" y="1569175"/>
                  <a:pt x="159595" y="1570785"/>
                </a:cubicBezTo>
                <a:cubicBezTo>
                  <a:pt x="157029" y="1572246"/>
                  <a:pt x="153825" y="1573530"/>
                  <a:pt x="150343" y="1574581"/>
                </a:cubicBezTo>
                <a:lnTo>
                  <a:pt x="149361" y="1574983"/>
                </a:lnTo>
                <a:cubicBezTo>
                  <a:pt x="149826" y="1575566"/>
                  <a:pt x="149711" y="1576148"/>
                  <a:pt x="149552" y="1576768"/>
                </a:cubicBezTo>
                <a:cubicBezTo>
                  <a:pt x="148752" y="1579866"/>
                  <a:pt x="143288" y="1581976"/>
                  <a:pt x="140155" y="1584580"/>
                </a:cubicBezTo>
                <a:cubicBezTo>
                  <a:pt x="144853" y="1586316"/>
                  <a:pt x="161499" y="1586398"/>
                  <a:pt x="154250" y="1589788"/>
                </a:cubicBezTo>
                <a:cubicBezTo>
                  <a:pt x="147000" y="1593178"/>
                  <a:pt x="100751" y="1599023"/>
                  <a:pt x="96659" y="1604920"/>
                </a:cubicBezTo>
                <a:cubicBezTo>
                  <a:pt x="93862" y="1608021"/>
                  <a:pt x="139260" y="1614215"/>
                  <a:pt x="136464" y="1617315"/>
                </a:cubicBezTo>
                <a:cubicBezTo>
                  <a:pt x="137235" y="1617456"/>
                  <a:pt x="137922" y="1617712"/>
                  <a:pt x="138600" y="1617978"/>
                </a:cubicBezTo>
                <a:cubicBezTo>
                  <a:pt x="144199" y="1620175"/>
                  <a:pt x="149027" y="1623262"/>
                  <a:pt x="154589" y="1625506"/>
                </a:cubicBezTo>
                <a:cubicBezTo>
                  <a:pt x="161486" y="1628290"/>
                  <a:pt x="168800" y="1630525"/>
                  <a:pt x="175906" y="1633034"/>
                </a:cubicBezTo>
                <a:lnTo>
                  <a:pt x="175907" y="1633035"/>
                </a:lnTo>
                <a:cubicBezTo>
                  <a:pt x="179460" y="1636799"/>
                  <a:pt x="164309" y="1640886"/>
                  <a:pt x="155503" y="1643359"/>
                </a:cubicBezTo>
                <a:cubicBezTo>
                  <a:pt x="146696" y="1645833"/>
                  <a:pt x="123958" y="1647249"/>
                  <a:pt x="123070" y="1647876"/>
                </a:cubicBezTo>
                <a:cubicBezTo>
                  <a:pt x="126318" y="1649023"/>
                  <a:pt x="128712" y="1650600"/>
                  <a:pt x="129932" y="1652960"/>
                </a:cubicBezTo>
                <a:cubicBezTo>
                  <a:pt x="133434" y="1654533"/>
                  <a:pt x="135665" y="1656979"/>
                  <a:pt x="138600" y="1659383"/>
                </a:cubicBezTo>
                <a:lnTo>
                  <a:pt x="138601" y="1659384"/>
                </a:lnTo>
                <a:cubicBezTo>
                  <a:pt x="140378" y="1664403"/>
                  <a:pt x="140655" y="1669813"/>
                  <a:pt x="143931" y="1674440"/>
                </a:cubicBezTo>
                <a:cubicBezTo>
                  <a:pt x="154688" y="1689636"/>
                  <a:pt x="165951" y="1689156"/>
                  <a:pt x="156180" y="1690568"/>
                </a:cubicBezTo>
                <a:lnTo>
                  <a:pt x="138601" y="1693260"/>
                </a:lnTo>
                <a:cubicBezTo>
                  <a:pt x="136825" y="1700788"/>
                  <a:pt x="138632" y="1709218"/>
                  <a:pt x="133272" y="1715844"/>
                </a:cubicBezTo>
                <a:cubicBezTo>
                  <a:pt x="130485" y="1719289"/>
                  <a:pt x="121670" y="1717130"/>
                  <a:pt x="117283" y="1719608"/>
                </a:cubicBezTo>
                <a:cubicBezTo>
                  <a:pt x="112281" y="1722434"/>
                  <a:pt x="110177" y="1727136"/>
                  <a:pt x="106624" y="1730901"/>
                </a:cubicBezTo>
                <a:cubicBezTo>
                  <a:pt x="108401" y="1734665"/>
                  <a:pt x="108445" y="1739094"/>
                  <a:pt x="111954" y="1742192"/>
                </a:cubicBezTo>
                <a:cubicBezTo>
                  <a:pt x="115956" y="1745724"/>
                  <a:pt x="125562" y="1745520"/>
                  <a:pt x="127941" y="1749720"/>
                </a:cubicBezTo>
                <a:lnTo>
                  <a:pt x="127942" y="1749721"/>
                </a:lnTo>
                <a:cubicBezTo>
                  <a:pt x="130028" y="1753405"/>
                  <a:pt x="126585" y="1758207"/>
                  <a:pt x="122612" y="1761013"/>
                </a:cubicBezTo>
                <a:cubicBezTo>
                  <a:pt x="111580" y="1768805"/>
                  <a:pt x="88122" y="1770402"/>
                  <a:pt x="74649" y="1772305"/>
                </a:cubicBezTo>
                <a:cubicBezTo>
                  <a:pt x="79977" y="1774814"/>
                  <a:pt x="86635" y="1776300"/>
                  <a:pt x="90635" y="1779832"/>
                </a:cubicBezTo>
                <a:lnTo>
                  <a:pt x="90636" y="1779833"/>
                </a:lnTo>
                <a:cubicBezTo>
                  <a:pt x="94145" y="1782931"/>
                  <a:pt x="91580" y="1788646"/>
                  <a:pt x="95966" y="1791124"/>
                </a:cubicBezTo>
                <a:cubicBezTo>
                  <a:pt x="101686" y="1794356"/>
                  <a:pt x="110176" y="1793634"/>
                  <a:pt x="117282" y="1794889"/>
                </a:cubicBezTo>
                <a:lnTo>
                  <a:pt x="117282" y="1794890"/>
                </a:lnTo>
                <a:lnTo>
                  <a:pt x="117283" y="1794890"/>
                </a:lnTo>
                <a:cubicBezTo>
                  <a:pt x="115507" y="1798653"/>
                  <a:pt x="115927" y="1803376"/>
                  <a:pt x="111954" y="1806182"/>
                </a:cubicBezTo>
                <a:cubicBezTo>
                  <a:pt x="107982" y="1808987"/>
                  <a:pt x="98479" y="1806397"/>
                  <a:pt x="95966" y="1809945"/>
                </a:cubicBezTo>
                <a:cubicBezTo>
                  <a:pt x="92814" y="1814398"/>
                  <a:pt x="110159" y="1830628"/>
                  <a:pt x="111954" y="1832530"/>
                </a:cubicBezTo>
                <a:cubicBezTo>
                  <a:pt x="106625" y="1836294"/>
                  <a:pt x="96798" y="1838532"/>
                  <a:pt x="95966" y="1843822"/>
                </a:cubicBezTo>
                <a:cubicBezTo>
                  <a:pt x="94725" y="1851709"/>
                  <a:pt x="103071" y="1858878"/>
                  <a:pt x="106624" y="1866406"/>
                </a:cubicBezTo>
                <a:lnTo>
                  <a:pt x="111954" y="1877699"/>
                </a:lnTo>
                <a:cubicBezTo>
                  <a:pt x="110177" y="1881462"/>
                  <a:pt x="106624" y="1885023"/>
                  <a:pt x="106624" y="1888991"/>
                </a:cubicBezTo>
                <a:cubicBezTo>
                  <a:pt x="106624" y="1892959"/>
                  <a:pt x="107982" y="1897476"/>
                  <a:pt x="111954" y="1900282"/>
                </a:cubicBezTo>
                <a:cubicBezTo>
                  <a:pt x="115927" y="1903088"/>
                  <a:pt x="122458" y="1903185"/>
                  <a:pt x="127941" y="1904046"/>
                </a:cubicBezTo>
                <a:cubicBezTo>
                  <a:pt x="138490" y="1905702"/>
                  <a:pt x="149259" y="1906555"/>
                  <a:pt x="159918" y="1907810"/>
                </a:cubicBezTo>
                <a:lnTo>
                  <a:pt x="159918" y="1907811"/>
                </a:lnTo>
                <a:lnTo>
                  <a:pt x="159919" y="1907811"/>
                </a:lnTo>
                <a:cubicBezTo>
                  <a:pt x="148239" y="1920184"/>
                  <a:pt x="149447" y="1916758"/>
                  <a:pt x="143931" y="1930395"/>
                </a:cubicBezTo>
                <a:cubicBezTo>
                  <a:pt x="141918" y="1935370"/>
                  <a:pt x="144228" y="1942140"/>
                  <a:pt x="138601" y="1945452"/>
                </a:cubicBezTo>
                <a:cubicBezTo>
                  <a:pt x="131642" y="1949547"/>
                  <a:pt x="120836" y="1947961"/>
                  <a:pt x="111954" y="1949216"/>
                </a:cubicBezTo>
                <a:cubicBezTo>
                  <a:pt x="110177" y="1952979"/>
                  <a:pt x="102844" y="1957604"/>
                  <a:pt x="106624" y="1960507"/>
                </a:cubicBezTo>
                <a:cubicBezTo>
                  <a:pt x="110407" y="1963411"/>
                  <a:pt x="128043" y="1962890"/>
                  <a:pt x="134641" y="1966637"/>
                </a:cubicBezTo>
                <a:lnTo>
                  <a:pt x="134642" y="1966637"/>
                </a:lnTo>
                <a:cubicBezTo>
                  <a:pt x="141241" y="1970384"/>
                  <a:pt x="144285" y="1979561"/>
                  <a:pt x="146214" y="1982985"/>
                </a:cubicBezTo>
                <a:cubicBezTo>
                  <a:pt x="148142" y="1986408"/>
                  <a:pt x="139692" y="1988272"/>
                  <a:pt x="137535" y="1993308"/>
                </a:cubicBezTo>
                <a:cubicBezTo>
                  <a:pt x="135378" y="1998345"/>
                  <a:pt x="133094" y="2008007"/>
                  <a:pt x="133272" y="2013204"/>
                </a:cubicBezTo>
                <a:cubicBezTo>
                  <a:pt x="133449" y="2018402"/>
                  <a:pt x="136088" y="2020948"/>
                  <a:pt x="138601" y="2024496"/>
                </a:cubicBezTo>
                <a:cubicBezTo>
                  <a:pt x="141465" y="2028542"/>
                  <a:pt x="145707" y="2032025"/>
                  <a:pt x="149260" y="2035788"/>
                </a:cubicBezTo>
                <a:cubicBezTo>
                  <a:pt x="142154" y="2037044"/>
                  <a:pt x="132337" y="2035415"/>
                  <a:pt x="127942" y="2039553"/>
                </a:cubicBezTo>
                <a:cubicBezTo>
                  <a:pt x="124572" y="2042727"/>
                  <a:pt x="135784" y="2047297"/>
                  <a:pt x="133272" y="2050845"/>
                </a:cubicBezTo>
                <a:cubicBezTo>
                  <a:pt x="130759" y="2054393"/>
                  <a:pt x="122612" y="2053354"/>
                  <a:pt x="117283" y="2054609"/>
                </a:cubicBezTo>
                <a:cubicBezTo>
                  <a:pt x="113730" y="2058373"/>
                  <a:pt x="105072" y="2061512"/>
                  <a:pt x="106624" y="2065900"/>
                </a:cubicBezTo>
                <a:cubicBezTo>
                  <a:pt x="107987" y="2069749"/>
                  <a:pt x="117587" y="2067890"/>
                  <a:pt x="122611" y="2069665"/>
                </a:cubicBezTo>
                <a:cubicBezTo>
                  <a:pt x="128340" y="2071688"/>
                  <a:pt x="133271" y="2074683"/>
                  <a:pt x="138600" y="2077192"/>
                </a:cubicBezTo>
                <a:lnTo>
                  <a:pt x="138601" y="2077193"/>
                </a:lnTo>
                <a:cubicBezTo>
                  <a:pt x="139072" y="2077693"/>
                  <a:pt x="139635" y="2078175"/>
                  <a:pt x="140436" y="2078527"/>
                </a:cubicBezTo>
                <a:cubicBezTo>
                  <a:pt x="141961" y="2079954"/>
                  <a:pt x="144091" y="2081183"/>
                  <a:pt x="145871" y="2082476"/>
                </a:cubicBezTo>
                <a:cubicBezTo>
                  <a:pt x="148295" y="2084237"/>
                  <a:pt x="150072" y="2086119"/>
                  <a:pt x="149260" y="2088486"/>
                </a:cubicBezTo>
                <a:cubicBezTo>
                  <a:pt x="147635" y="2093218"/>
                  <a:pt x="135072" y="2101194"/>
                  <a:pt x="128855" y="2105585"/>
                </a:cubicBezTo>
                <a:cubicBezTo>
                  <a:pt x="122638" y="2109976"/>
                  <a:pt x="115812" y="2111751"/>
                  <a:pt x="111954" y="2114834"/>
                </a:cubicBezTo>
                <a:cubicBezTo>
                  <a:pt x="113730" y="2118598"/>
                  <a:pt x="112609" y="2123924"/>
                  <a:pt x="117283" y="2126125"/>
                </a:cubicBezTo>
                <a:cubicBezTo>
                  <a:pt x="124820" y="2129674"/>
                  <a:pt x="142649" y="2123556"/>
                  <a:pt x="143930" y="2129890"/>
                </a:cubicBezTo>
                <a:lnTo>
                  <a:pt x="143931" y="2129890"/>
                </a:lnTo>
                <a:cubicBezTo>
                  <a:pt x="145743" y="2138846"/>
                  <a:pt x="122616" y="2152472"/>
                  <a:pt x="122612" y="2152474"/>
                </a:cubicBezTo>
                <a:lnTo>
                  <a:pt x="132218" y="2161867"/>
                </a:lnTo>
                <a:cubicBezTo>
                  <a:pt x="131918" y="2163683"/>
                  <a:pt x="131799" y="2163678"/>
                  <a:pt x="131677" y="2163673"/>
                </a:cubicBezTo>
                <a:lnTo>
                  <a:pt x="117283" y="2167530"/>
                </a:lnTo>
                <a:cubicBezTo>
                  <a:pt x="112281" y="2170356"/>
                  <a:pt x="110177" y="2175058"/>
                  <a:pt x="106625" y="2178822"/>
                </a:cubicBezTo>
                <a:cubicBezTo>
                  <a:pt x="119059" y="2181331"/>
                  <a:pt x="133584" y="2180869"/>
                  <a:pt x="143930" y="2186350"/>
                </a:cubicBezTo>
                <a:lnTo>
                  <a:pt x="143929" y="2186350"/>
                </a:lnTo>
                <a:cubicBezTo>
                  <a:pt x="143930" y="2186350"/>
                  <a:pt x="143930" y="2186351"/>
                  <a:pt x="143931" y="2186351"/>
                </a:cubicBezTo>
                <a:cubicBezTo>
                  <a:pt x="139975" y="2187893"/>
                  <a:pt x="128964" y="2187228"/>
                  <a:pt x="127942" y="2190114"/>
                </a:cubicBezTo>
                <a:cubicBezTo>
                  <a:pt x="126389" y="2194503"/>
                  <a:pt x="135048" y="2197643"/>
                  <a:pt x="138601" y="2201407"/>
                </a:cubicBezTo>
                <a:cubicBezTo>
                  <a:pt x="136825" y="2205171"/>
                  <a:pt x="132651" y="2208756"/>
                  <a:pt x="133272" y="2212699"/>
                </a:cubicBezTo>
                <a:cubicBezTo>
                  <a:pt x="134511" y="2220576"/>
                  <a:pt x="143910" y="2235249"/>
                  <a:pt x="143931" y="2235283"/>
                </a:cubicBezTo>
                <a:cubicBezTo>
                  <a:pt x="142154" y="2242811"/>
                  <a:pt x="142018" y="2250627"/>
                  <a:pt x="138601" y="2257867"/>
                </a:cubicBezTo>
                <a:cubicBezTo>
                  <a:pt x="136575" y="2262159"/>
                  <a:pt x="126687" y="2264723"/>
                  <a:pt x="127942" y="2269159"/>
                </a:cubicBezTo>
                <a:lnTo>
                  <a:pt x="128992" y="2269887"/>
                </a:lnTo>
                <a:lnTo>
                  <a:pt x="134409" y="2273645"/>
                </a:lnTo>
                <a:cubicBezTo>
                  <a:pt x="137583" y="2274659"/>
                  <a:pt x="141266" y="2275432"/>
                  <a:pt x="143930" y="2276687"/>
                </a:cubicBezTo>
                <a:lnTo>
                  <a:pt x="143931" y="2276688"/>
                </a:lnTo>
                <a:cubicBezTo>
                  <a:pt x="140419" y="2284125"/>
                  <a:pt x="137333" y="2293966"/>
                  <a:pt x="127942" y="2299272"/>
                </a:cubicBezTo>
                <a:cubicBezTo>
                  <a:pt x="123556" y="2301750"/>
                  <a:pt x="117283" y="2301781"/>
                  <a:pt x="111954" y="2303036"/>
                </a:cubicBezTo>
                <a:cubicBezTo>
                  <a:pt x="108400" y="2310565"/>
                  <a:pt x="101294" y="2318092"/>
                  <a:pt x="111954" y="2325620"/>
                </a:cubicBezTo>
                <a:cubicBezTo>
                  <a:pt x="115927" y="2328425"/>
                  <a:pt x="122612" y="2328129"/>
                  <a:pt x="127941" y="2329384"/>
                </a:cubicBezTo>
                <a:lnTo>
                  <a:pt x="127942" y="2329384"/>
                </a:lnTo>
                <a:cubicBezTo>
                  <a:pt x="131495" y="2333148"/>
                  <a:pt x="135736" y="2336630"/>
                  <a:pt x="138601" y="2340676"/>
                </a:cubicBezTo>
                <a:lnTo>
                  <a:pt x="143789" y="2352784"/>
                </a:lnTo>
                <a:cubicBezTo>
                  <a:pt x="141734" y="2359728"/>
                  <a:pt x="119024" y="2353568"/>
                  <a:pt x="85307" y="2355733"/>
                </a:cubicBezTo>
                <a:cubicBezTo>
                  <a:pt x="91290" y="2359958"/>
                  <a:pt x="95132" y="2362461"/>
                  <a:pt x="97732" y="2364271"/>
                </a:cubicBezTo>
                <a:cubicBezTo>
                  <a:pt x="105537" y="2369699"/>
                  <a:pt x="102172" y="2368883"/>
                  <a:pt x="111954" y="2389609"/>
                </a:cubicBezTo>
                <a:lnTo>
                  <a:pt x="117283" y="2400901"/>
                </a:lnTo>
                <a:cubicBezTo>
                  <a:pt x="111954" y="2403411"/>
                  <a:pt x="101295" y="2403905"/>
                  <a:pt x="101295" y="2408429"/>
                </a:cubicBezTo>
                <a:cubicBezTo>
                  <a:pt x="101295" y="2411566"/>
                  <a:pt x="104190" y="2413969"/>
                  <a:pt x="107637" y="2416267"/>
                </a:cubicBezTo>
                <a:cubicBezTo>
                  <a:pt x="111082" y="2418566"/>
                  <a:pt x="115079" y="2420761"/>
                  <a:pt x="117282" y="2423485"/>
                </a:cubicBezTo>
                <a:lnTo>
                  <a:pt x="117283" y="2423485"/>
                </a:lnTo>
                <a:cubicBezTo>
                  <a:pt x="120070" y="2426930"/>
                  <a:pt x="120836" y="2431014"/>
                  <a:pt x="122612" y="2434777"/>
                </a:cubicBezTo>
                <a:cubicBezTo>
                  <a:pt x="116427" y="2447885"/>
                  <a:pt x="132384" y="2447325"/>
                  <a:pt x="133272" y="2453598"/>
                </a:cubicBezTo>
                <a:cubicBezTo>
                  <a:pt x="134159" y="2459865"/>
                  <a:pt x="127953" y="2472395"/>
                  <a:pt x="127941" y="2472418"/>
                </a:cubicBezTo>
                <a:cubicBezTo>
                  <a:pt x="129966" y="2476706"/>
                  <a:pt x="133365" y="2479910"/>
                  <a:pt x="137312" y="2482390"/>
                </a:cubicBezTo>
                <a:cubicBezTo>
                  <a:pt x="145204" y="2487350"/>
                  <a:pt x="155286" y="2489420"/>
                  <a:pt x="160932" y="2491504"/>
                </a:cubicBezTo>
                <a:cubicBezTo>
                  <a:pt x="163756" y="2492546"/>
                  <a:pt x="165470" y="2493591"/>
                  <a:pt x="165248" y="2495002"/>
                </a:cubicBezTo>
                <a:cubicBezTo>
                  <a:pt x="164360" y="2500648"/>
                  <a:pt x="126585" y="2503489"/>
                  <a:pt x="122612" y="2506294"/>
                </a:cubicBezTo>
                <a:cubicBezTo>
                  <a:pt x="113554" y="2512692"/>
                  <a:pt x="127942" y="2516959"/>
                  <a:pt x="127942" y="2521351"/>
                </a:cubicBezTo>
                <a:cubicBezTo>
                  <a:pt x="127942" y="2525743"/>
                  <a:pt x="127287" y="2530442"/>
                  <a:pt x="122612" y="2532643"/>
                </a:cubicBezTo>
                <a:cubicBezTo>
                  <a:pt x="115076" y="2536191"/>
                  <a:pt x="100017" y="2530685"/>
                  <a:pt x="95966" y="2536407"/>
                </a:cubicBezTo>
                <a:cubicBezTo>
                  <a:pt x="85112" y="2551739"/>
                  <a:pt x="98411" y="2561361"/>
                  <a:pt x="111209" y="2569422"/>
                </a:cubicBezTo>
                <a:cubicBezTo>
                  <a:pt x="113070" y="2571174"/>
                  <a:pt x="115260" y="2572619"/>
                  <a:pt x="117282" y="2574047"/>
                </a:cubicBezTo>
                <a:lnTo>
                  <a:pt x="117283" y="2574048"/>
                </a:lnTo>
                <a:cubicBezTo>
                  <a:pt x="130259" y="2601539"/>
                  <a:pt x="125218" y="2588933"/>
                  <a:pt x="133272" y="2611688"/>
                </a:cubicBezTo>
                <a:cubicBezTo>
                  <a:pt x="127942" y="2612943"/>
                  <a:pt x="118646" y="2611603"/>
                  <a:pt x="117283" y="2615452"/>
                </a:cubicBezTo>
                <a:cubicBezTo>
                  <a:pt x="116650" y="2617244"/>
                  <a:pt x="117712" y="2619182"/>
                  <a:pt x="119734" y="2621115"/>
                </a:cubicBezTo>
                <a:lnTo>
                  <a:pt x="122115" y="2622747"/>
                </a:lnTo>
                <a:lnTo>
                  <a:pt x="127942" y="2626744"/>
                </a:lnTo>
                <a:cubicBezTo>
                  <a:pt x="134350" y="2630283"/>
                  <a:pt x="141646" y="2633196"/>
                  <a:pt x="143930" y="2634272"/>
                </a:cubicBezTo>
                <a:lnTo>
                  <a:pt x="143931" y="2634273"/>
                </a:lnTo>
                <a:lnTo>
                  <a:pt x="129099" y="2637372"/>
                </a:lnTo>
                <a:cubicBezTo>
                  <a:pt x="128653" y="2638318"/>
                  <a:pt x="129128" y="2638513"/>
                  <a:pt x="129786" y="2638766"/>
                </a:cubicBezTo>
                <a:cubicBezTo>
                  <a:pt x="129825" y="2638773"/>
                  <a:pt x="129854" y="2638788"/>
                  <a:pt x="129884" y="2638804"/>
                </a:cubicBezTo>
                <a:cubicBezTo>
                  <a:pt x="132145" y="2639987"/>
                  <a:pt x="134839" y="2642685"/>
                  <a:pt x="133272" y="2649328"/>
                </a:cubicBezTo>
                <a:cubicBezTo>
                  <a:pt x="132218" y="2653791"/>
                  <a:pt x="126166" y="2656856"/>
                  <a:pt x="122613" y="2660620"/>
                </a:cubicBezTo>
                <a:cubicBezTo>
                  <a:pt x="127942" y="2661875"/>
                  <a:pt x="136087" y="2660836"/>
                  <a:pt x="138600" y="2664384"/>
                </a:cubicBezTo>
                <a:lnTo>
                  <a:pt x="138601" y="2664385"/>
                </a:lnTo>
                <a:cubicBezTo>
                  <a:pt x="141113" y="2667933"/>
                  <a:pt x="133272" y="2671709"/>
                  <a:pt x="133272" y="2675677"/>
                </a:cubicBezTo>
                <a:lnTo>
                  <a:pt x="137300" y="2688607"/>
                </a:lnTo>
                <a:cubicBezTo>
                  <a:pt x="138881" y="2690898"/>
                  <a:pt x="139592" y="2691336"/>
                  <a:pt x="136120" y="2690429"/>
                </a:cubicBezTo>
                <a:lnTo>
                  <a:pt x="122612" y="2686969"/>
                </a:lnTo>
                <a:lnTo>
                  <a:pt x="106678" y="2697479"/>
                </a:lnTo>
                <a:cubicBezTo>
                  <a:pt x="106038" y="2698387"/>
                  <a:pt x="110873" y="2696974"/>
                  <a:pt x="115743" y="2699175"/>
                </a:cubicBezTo>
                <a:cubicBezTo>
                  <a:pt x="118179" y="2700275"/>
                  <a:pt x="120625" y="2702280"/>
                  <a:pt x="122612" y="2705790"/>
                </a:cubicBezTo>
                <a:cubicBezTo>
                  <a:pt x="124698" y="2709473"/>
                  <a:pt x="119059" y="2713318"/>
                  <a:pt x="117283" y="2717082"/>
                </a:cubicBezTo>
                <a:cubicBezTo>
                  <a:pt x="120836" y="2720845"/>
                  <a:pt x="127942" y="2723850"/>
                  <a:pt x="127942" y="2728374"/>
                </a:cubicBezTo>
                <a:cubicBezTo>
                  <a:pt x="127942" y="2753074"/>
                  <a:pt x="102268" y="2769093"/>
                  <a:pt x="79977" y="2784835"/>
                </a:cubicBezTo>
                <a:cubicBezTo>
                  <a:pt x="83530" y="2788599"/>
                  <a:pt x="85634" y="2793300"/>
                  <a:pt x="90636" y="2796126"/>
                </a:cubicBezTo>
                <a:cubicBezTo>
                  <a:pt x="95022" y="2798605"/>
                  <a:pt x="102651" y="2797084"/>
                  <a:pt x="106623" y="2799890"/>
                </a:cubicBezTo>
                <a:lnTo>
                  <a:pt x="106624" y="2799891"/>
                </a:lnTo>
                <a:cubicBezTo>
                  <a:pt x="110597" y="2802696"/>
                  <a:pt x="108445" y="2808084"/>
                  <a:pt x="111954" y="2811182"/>
                </a:cubicBezTo>
                <a:cubicBezTo>
                  <a:pt x="115956" y="2814714"/>
                  <a:pt x="122613" y="2816201"/>
                  <a:pt x="127941" y="2818710"/>
                </a:cubicBezTo>
                <a:lnTo>
                  <a:pt x="127942" y="2818711"/>
                </a:lnTo>
                <a:cubicBezTo>
                  <a:pt x="120836" y="2819965"/>
                  <a:pt x="109900" y="2817848"/>
                  <a:pt x="106624" y="2822475"/>
                </a:cubicBezTo>
                <a:cubicBezTo>
                  <a:pt x="105514" y="2824043"/>
                  <a:pt x="106458" y="2825925"/>
                  <a:pt x="108540" y="2827886"/>
                </a:cubicBezTo>
                <a:cubicBezTo>
                  <a:pt x="114786" y="2833767"/>
                  <a:pt x="131273" y="2840353"/>
                  <a:pt x="133271" y="2841295"/>
                </a:cubicBezTo>
                <a:cubicBezTo>
                  <a:pt x="135048" y="2843176"/>
                  <a:pt x="138962" y="2845293"/>
                  <a:pt x="141808" y="2847292"/>
                </a:cubicBezTo>
                <a:cubicBezTo>
                  <a:pt x="144654" y="2849292"/>
                  <a:pt x="146432" y="2851174"/>
                  <a:pt x="143931" y="2852587"/>
                </a:cubicBezTo>
                <a:cubicBezTo>
                  <a:pt x="129301" y="2860854"/>
                  <a:pt x="111149" y="2856922"/>
                  <a:pt x="107195" y="2856797"/>
                </a:cubicBezTo>
                <a:cubicBezTo>
                  <a:pt x="108787" y="2857596"/>
                  <a:pt x="113512" y="2859594"/>
                  <a:pt x="122611" y="2863879"/>
                </a:cubicBezTo>
                <a:lnTo>
                  <a:pt x="122612" y="2863879"/>
                </a:lnTo>
                <a:cubicBezTo>
                  <a:pt x="120836" y="2867644"/>
                  <a:pt x="119796" y="2871623"/>
                  <a:pt x="117283" y="2875172"/>
                </a:cubicBezTo>
                <a:cubicBezTo>
                  <a:pt x="114419" y="2879218"/>
                  <a:pt x="106624" y="2881940"/>
                  <a:pt x="106624" y="2886464"/>
                </a:cubicBezTo>
                <a:cubicBezTo>
                  <a:pt x="106624" y="2894399"/>
                  <a:pt x="113730" y="2901520"/>
                  <a:pt x="117283" y="2909048"/>
                </a:cubicBezTo>
                <a:cubicBezTo>
                  <a:pt x="125476" y="2926407"/>
                  <a:pt x="121512" y="2916454"/>
                  <a:pt x="127942" y="2939161"/>
                </a:cubicBezTo>
                <a:cubicBezTo>
                  <a:pt x="126165" y="2942925"/>
                  <a:pt x="121689" y="2946539"/>
                  <a:pt x="122612" y="2950453"/>
                </a:cubicBezTo>
                <a:cubicBezTo>
                  <a:pt x="124335" y="2957749"/>
                  <a:pt x="126366" y="2961035"/>
                  <a:pt x="128234" y="2962303"/>
                </a:cubicBezTo>
                <a:cubicBezTo>
                  <a:pt x="131973" y="2964839"/>
                  <a:pt x="135062" y="2959300"/>
                  <a:pt x="133728" y="2961639"/>
                </a:cubicBezTo>
                <a:cubicBezTo>
                  <a:pt x="133063" y="2962806"/>
                  <a:pt x="131291" y="2965941"/>
                  <a:pt x="127942" y="2973037"/>
                </a:cubicBezTo>
                <a:cubicBezTo>
                  <a:pt x="129718" y="2980565"/>
                  <a:pt x="130650" y="2988218"/>
                  <a:pt x="133272" y="2995621"/>
                </a:cubicBezTo>
                <a:cubicBezTo>
                  <a:pt x="135994" y="3003313"/>
                  <a:pt x="143917" y="3018179"/>
                  <a:pt x="143931" y="3018206"/>
                </a:cubicBezTo>
                <a:cubicBezTo>
                  <a:pt x="142154" y="3025734"/>
                  <a:pt x="140320" y="3033552"/>
                  <a:pt x="138601" y="3040790"/>
                </a:cubicBezTo>
                <a:cubicBezTo>
                  <a:pt x="136881" y="3048029"/>
                  <a:pt x="139834" y="3057243"/>
                  <a:pt x="133617" y="3061634"/>
                </a:cubicBezTo>
                <a:cubicBezTo>
                  <a:pt x="127400" y="3066025"/>
                  <a:pt x="106833" y="3062668"/>
                  <a:pt x="101295" y="3067138"/>
                </a:cubicBezTo>
                <a:cubicBezTo>
                  <a:pt x="95758" y="3071608"/>
                  <a:pt x="104102" y="3083784"/>
                  <a:pt x="100391" y="3088453"/>
                </a:cubicBezTo>
                <a:cubicBezTo>
                  <a:pt x="96681" y="3093123"/>
                  <a:pt x="71749" y="3086360"/>
                  <a:pt x="64793" y="3088453"/>
                </a:cubicBezTo>
                <a:cubicBezTo>
                  <a:pt x="57838" y="3090547"/>
                  <a:pt x="63831" y="3098157"/>
                  <a:pt x="58660" y="3101015"/>
                </a:cubicBezTo>
                <a:cubicBezTo>
                  <a:pt x="53488" y="3103873"/>
                  <a:pt x="37315" y="3101839"/>
                  <a:pt x="33762" y="3105603"/>
                </a:cubicBezTo>
                <a:cubicBezTo>
                  <a:pt x="35371" y="3109737"/>
                  <a:pt x="37200" y="3111907"/>
                  <a:pt x="39867" y="3113105"/>
                </a:cubicBezTo>
                <a:cubicBezTo>
                  <a:pt x="42535" y="3114303"/>
                  <a:pt x="46039" y="3114530"/>
                  <a:pt x="50998" y="3114777"/>
                </a:cubicBezTo>
                <a:cubicBezTo>
                  <a:pt x="60915" y="3115271"/>
                  <a:pt x="90180" y="3105970"/>
                  <a:pt x="93269" y="3108567"/>
                </a:cubicBezTo>
                <a:lnTo>
                  <a:pt x="93268" y="3108567"/>
                </a:lnTo>
                <a:lnTo>
                  <a:pt x="93270" y="3108567"/>
                </a:lnTo>
                <a:cubicBezTo>
                  <a:pt x="96360" y="3111164"/>
                  <a:pt x="52450" y="3120324"/>
                  <a:pt x="69539" y="3130358"/>
                </a:cubicBezTo>
                <a:cubicBezTo>
                  <a:pt x="55777" y="3140391"/>
                  <a:pt x="21391" y="3159856"/>
                  <a:pt x="10695" y="3168768"/>
                </a:cubicBezTo>
                <a:cubicBezTo>
                  <a:pt x="0" y="3177678"/>
                  <a:pt x="7973" y="3178990"/>
                  <a:pt x="5365" y="3183824"/>
                </a:cubicBezTo>
                <a:cubicBezTo>
                  <a:pt x="5149" y="3184225"/>
                  <a:pt x="4928" y="3184634"/>
                  <a:pt x="4681" y="3185043"/>
                </a:cubicBezTo>
                <a:cubicBezTo>
                  <a:pt x="7039" y="3191481"/>
                  <a:pt x="7629" y="3199716"/>
                  <a:pt x="14096" y="3198974"/>
                </a:cubicBezTo>
                <a:cubicBezTo>
                  <a:pt x="19862" y="3198313"/>
                  <a:pt x="42063" y="3163716"/>
                  <a:pt x="46072" y="3156208"/>
                </a:cubicBezTo>
                <a:cubicBezTo>
                  <a:pt x="48285" y="3152065"/>
                  <a:pt x="49625" y="3147655"/>
                  <a:pt x="51402" y="3143378"/>
                </a:cubicBezTo>
                <a:cubicBezTo>
                  <a:pt x="64086" y="3173914"/>
                  <a:pt x="52712" y="3174039"/>
                  <a:pt x="78049" y="3160486"/>
                </a:cubicBezTo>
                <a:cubicBezTo>
                  <a:pt x="83379" y="3161910"/>
                  <a:pt x="89650" y="3161945"/>
                  <a:pt x="94038" y="3164762"/>
                </a:cubicBezTo>
                <a:cubicBezTo>
                  <a:pt x="99039" y="3167973"/>
                  <a:pt x="99264" y="3174867"/>
                  <a:pt x="104696" y="3177591"/>
                </a:cubicBezTo>
                <a:cubicBezTo>
                  <a:pt x="114224" y="3182370"/>
                  <a:pt x="136672" y="3186144"/>
                  <a:pt x="136672" y="3186145"/>
                </a:cubicBezTo>
                <a:cubicBezTo>
                  <a:pt x="139965" y="3190109"/>
                  <a:pt x="150449" y="3208415"/>
                  <a:pt x="163319" y="3203251"/>
                </a:cubicBezTo>
                <a:cubicBezTo>
                  <a:pt x="168344" y="3201235"/>
                  <a:pt x="166872" y="3194698"/>
                  <a:pt x="168649" y="3190421"/>
                </a:cubicBezTo>
                <a:cubicBezTo>
                  <a:pt x="173978" y="3191846"/>
                  <a:pt x="179308" y="3196122"/>
                  <a:pt x="184637" y="3194698"/>
                </a:cubicBezTo>
                <a:cubicBezTo>
                  <a:pt x="193430" y="3192345"/>
                  <a:pt x="206409" y="3174906"/>
                  <a:pt x="211285" y="3169038"/>
                </a:cubicBezTo>
                <a:cubicBezTo>
                  <a:pt x="216614" y="3171889"/>
                  <a:pt x="221114" y="3179003"/>
                  <a:pt x="227273" y="3177591"/>
                </a:cubicBezTo>
                <a:cubicBezTo>
                  <a:pt x="245907" y="3173319"/>
                  <a:pt x="249133" y="3159178"/>
                  <a:pt x="253920" y="3147655"/>
                </a:cubicBezTo>
                <a:cubicBezTo>
                  <a:pt x="257473" y="3151932"/>
                  <a:pt x="259249" y="3157634"/>
                  <a:pt x="264578" y="3160486"/>
                </a:cubicBezTo>
                <a:cubicBezTo>
                  <a:pt x="280192" y="3168838"/>
                  <a:pt x="287502" y="3164332"/>
                  <a:pt x="301884" y="3160486"/>
                </a:cubicBezTo>
                <a:cubicBezTo>
                  <a:pt x="307213" y="3167613"/>
                  <a:pt x="310548" y="3175990"/>
                  <a:pt x="317873" y="3181867"/>
                </a:cubicBezTo>
                <a:cubicBezTo>
                  <a:pt x="321845" y="3185055"/>
                  <a:pt x="329473" y="3188961"/>
                  <a:pt x="333861" y="3186145"/>
                </a:cubicBezTo>
                <a:cubicBezTo>
                  <a:pt x="393035" y="3148158"/>
                  <a:pt x="308180" y="3174481"/>
                  <a:pt x="360508" y="3160486"/>
                </a:cubicBezTo>
                <a:cubicBezTo>
                  <a:pt x="365837" y="3164762"/>
                  <a:pt x="369062" y="3172321"/>
                  <a:pt x="376496" y="3173315"/>
                </a:cubicBezTo>
                <a:cubicBezTo>
                  <a:pt x="389726" y="3175084"/>
                  <a:pt x="397018" y="3155864"/>
                  <a:pt x="403143" y="3151932"/>
                </a:cubicBezTo>
                <a:cubicBezTo>
                  <a:pt x="407530" y="3149116"/>
                  <a:pt x="413802" y="3149081"/>
                  <a:pt x="419131" y="3147655"/>
                </a:cubicBezTo>
                <a:cubicBezTo>
                  <a:pt x="424460" y="3150506"/>
                  <a:pt x="431019" y="3152260"/>
                  <a:pt x="435120" y="3156208"/>
                </a:cubicBezTo>
                <a:cubicBezTo>
                  <a:pt x="454438" y="3174811"/>
                  <a:pt x="434496" y="3179351"/>
                  <a:pt x="461767" y="3164762"/>
                </a:cubicBezTo>
                <a:lnTo>
                  <a:pt x="475182" y="3172443"/>
                </a:lnTo>
                <a:cubicBezTo>
                  <a:pt x="478187" y="3170460"/>
                  <a:pt x="478009" y="3164558"/>
                  <a:pt x="488414" y="3156208"/>
                </a:cubicBezTo>
                <a:cubicBezTo>
                  <a:pt x="492387" y="3153021"/>
                  <a:pt x="499073" y="3153357"/>
                  <a:pt x="504402" y="3151932"/>
                </a:cubicBezTo>
                <a:cubicBezTo>
                  <a:pt x="511765" y="3147993"/>
                  <a:pt x="539215" y="3132035"/>
                  <a:pt x="547038" y="3134825"/>
                </a:cubicBezTo>
                <a:cubicBezTo>
                  <a:pt x="558744" y="3139000"/>
                  <a:pt x="568355" y="3160486"/>
                  <a:pt x="568355" y="3160486"/>
                </a:cubicBezTo>
                <a:cubicBezTo>
                  <a:pt x="575461" y="3156208"/>
                  <a:pt x="584343" y="3153357"/>
                  <a:pt x="589673" y="3147655"/>
                </a:cubicBezTo>
                <a:cubicBezTo>
                  <a:pt x="610316" y="3125569"/>
                  <a:pt x="587280" y="3119291"/>
                  <a:pt x="616320" y="3134825"/>
                </a:cubicBezTo>
                <a:cubicBezTo>
                  <a:pt x="648594" y="3173675"/>
                  <a:pt x="601933" y="3126592"/>
                  <a:pt x="642966" y="3134825"/>
                </a:cubicBezTo>
                <a:cubicBezTo>
                  <a:pt x="650072" y="3136251"/>
                  <a:pt x="646708" y="3146195"/>
                  <a:pt x="648296" y="3151932"/>
                </a:cubicBezTo>
                <a:cubicBezTo>
                  <a:pt x="650262" y="3159027"/>
                  <a:pt x="651849" y="3166188"/>
                  <a:pt x="653625" y="3173315"/>
                </a:cubicBezTo>
                <a:lnTo>
                  <a:pt x="685602" y="3156208"/>
                </a:lnTo>
                <a:lnTo>
                  <a:pt x="701591" y="3147655"/>
                </a:lnTo>
                <a:cubicBezTo>
                  <a:pt x="706920" y="3151932"/>
                  <a:pt x="710117" y="3161340"/>
                  <a:pt x="717579" y="3160486"/>
                </a:cubicBezTo>
                <a:cubicBezTo>
                  <a:pt x="788394" y="3152368"/>
                  <a:pt x="703913" y="3134021"/>
                  <a:pt x="754884" y="3147655"/>
                </a:cubicBezTo>
                <a:cubicBezTo>
                  <a:pt x="758437" y="3143378"/>
                  <a:pt x="759596" y="3136734"/>
                  <a:pt x="765543" y="3134825"/>
                </a:cubicBezTo>
                <a:cubicBezTo>
                  <a:pt x="774389" y="3131986"/>
                  <a:pt x="801656" y="3151213"/>
                  <a:pt x="802850" y="3151932"/>
                </a:cubicBezTo>
                <a:cubicBezTo>
                  <a:pt x="814638" y="3142473"/>
                  <a:pt x="818837" y="3131262"/>
                  <a:pt x="829496" y="3126273"/>
                </a:cubicBezTo>
                <a:cubicBezTo>
                  <a:pt x="840155" y="3121283"/>
                  <a:pt x="828148" y="3163352"/>
                  <a:pt x="866802" y="3121995"/>
                </a:cubicBezTo>
                <a:lnTo>
                  <a:pt x="868741" y="3121431"/>
                </a:lnTo>
                <a:lnTo>
                  <a:pt x="866802" y="3113442"/>
                </a:lnTo>
                <a:cubicBezTo>
                  <a:pt x="866853" y="3114182"/>
                  <a:pt x="868507" y="3118793"/>
                  <a:pt x="868741" y="3121431"/>
                </a:cubicBezTo>
                <a:lnTo>
                  <a:pt x="872131" y="3130549"/>
                </a:lnTo>
                <a:cubicBezTo>
                  <a:pt x="875871" y="3135800"/>
                  <a:pt x="882790" y="3139102"/>
                  <a:pt x="888119" y="3143378"/>
                </a:cubicBezTo>
                <a:cubicBezTo>
                  <a:pt x="893449" y="3133400"/>
                  <a:pt x="898058" y="3123152"/>
                  <a:pt x="904108" y="3113442"/>
                </a:cubicBezTo>
                <a:cubicBezTo>
                  <a:pt x="906973" y="3108845"/>
                  <a:pt x="909274" y="3097967"/>
                  <a:pt x="914767" y="3100613"/>
                </a:cubicBezTo>
                <a:cubicBezTo>
                  <a:pt x="924985" y="3105532"/>
                  <a:pt x="923605" y="3118622"/>
                  <a:pt x="930755" y="3126273"/>
                </a:cubicBezTo>
                <a:cubicBezTo>
                  <a:pt x="937642" y="3133641"/>
                  <a:pt x="952751" y="3136432"/>
                  <a:pt x="962732" y="3139102"/>
                </a:cubicBezTo>
                <a:cubicBezTo>
                  <a:pt x="964508" y="3144805"/>
                  <a:pt x="961112" y="3154350"/>
                  <a:pt x="968061" y="3156208"/>
                </a:cubicBezTo>
                <a:cubicBezTo>
                  <a:pt x="974138" y="3157833"/>
                  <a:pt x="972439" y="3142370"/>
                  <a:pt x="978720" y="3143378"/>
                </a:cubicBezTo>
                <a:cubicBezTo>
                  <a:pt x="987430" y="3144776"/>
                  <a:pt x="989379" y="3154783"/>
                  <a:pt x="994708" y="3160486"/>
                </a:cubicBezTo>
                <a:cubicBezTo>
                  <a:pt x="1041515" y="3147964"/>
                  <a:pt x="975259" y="3160985"/>
                  <a:pt x="1021356" y="3173315"/>
                </a:cubicBezTo>
                <a:cubicBezTo>
                  <a:pt x="1028892" y="3175331"/>
                  <a:pt x="1035567" y="3167613"/>
                  <a:pt x="1042673" y="3164762"/>
                </a:cubicBezTo>
                <a:cubicBezTo>
                  <a:pt x="1044449" y="3159059"/>
                  <a:pt x="1043426" y="3152245"/>
                  <a:pt x="1048002" y="3147655"/>
                </a:cubicBezTo>
                <a:cubicBezTo>
                  <a:pt x="1056978" y="3138652"/>
                  <a:pt x="1071003" y="3145254"/>
                  <a:pt x="1079979" y="3147655"/>
                </a:cubicBezTo>
                <a:cubicBezTo>
                  <a:pt x="1129039" y="3173901"/>
                  <a:pt x="1052670" y="3139102"/>
                  <a:pt x="1117285" y="3139102"/>
                </a:cubicBezTo>
                <a:cubicBezTo>
                  <a:pt x="1127334" y="3139102"/>
                  <a:pt x="1131497" y="3150506"/>
                  <a:pt x="1138603" y="3156208"/>
                </a:cubicBezTo>
                <a:cubicBezTo>
                  <a:pt x="1140181" y="3160010"/>
                  <a:pt x="1144129" y="3180918"/>
                  <a:pt x="1159920" y="3173315"/>
                </a:cubicBezTo>
                <a:cubicBezTo>
                  <a:pt x="1166733" y="3170035"/>
                  <a:pt x="1167026" y="3161910"/>
                  <a:pt x="1170579" y="3156208"/>
                </a:cubicBezTo>
                <a:cubicBezTo>
                  <a:pt x="1175908" y="3157634"/>
                  <a:pt x="1182594" y="3157298"/>
                  <a:pt x="1186567" y="3160486"/>
                </a:cubicBezTo>
                <a:cubicBezTo>
                  <a:pt x="1192185" y="3164993"/>
                  <a:pt x="1189435" y="3176341"/>
                  <a:pt x="1197226" y="3177591"/>
                </a:cubicBezTo>
                <a:cubicBezTo>
                  <a:pt x="1204616" y="3178777"/>
                  <a:pt x="1206473" y="3167466"/>
                  <a:pt x="1213214" y="3164762"/>
                </a:cubicBezTo>
                <a:cubicBezTo>
                  <a:pt x="1221316" y="3161510"/>
                  <a:pt x="1230979" y="3161910"/>
                  <a:pt x="1239861" y="3160486"/>
                </a:cubicBezTo>
                <a:lnTo>
                  <a:pt x="1253555" y="3144648"/>
                </a:lnTo>
                <a:cubicBezTo>
                  <a:pt x="1256187" y="3142960"/>
                  <a:pt x="1254301" y="3151517"/>
                  <a:pt x="1271838" y="3156208"/>
                </a:cubicBezTo>
                <a:lnTo>
                  <a:pt x="1287826" y="3151932"/>
                </a:lnTo>
                <a:cubicBezTo>
                  <a:pt x="1291379" y="3147655"/>
                  <a:pt x="1292204" y="3140111"/>
                  <a:pt x="1298485" y="3139102"/>
                </a:cubicBezTo>
                <a:cubicBezTo>
                  <a:pt x="1304766" y="3138094"/>
                  <a:pt x="1308981" y="3150299"/>
                  <a:pt x="1314473" y="3147655"/>
                </a:cubicBezTo>
                <a:cubicBezTo>
                  <a:pt x="1322677" y="3143706"/>
                  <a:pt x="1319572" y="3132519"/>
                  <a:pt x="1325132" y="3126273"/>
                </a:cubicBezTo>
                <a:cubicBezTo>
                  <a:pt x="1328856" y="3122089"/>
                  <a:pt x="1335791" y="3120570"/>
                  <a:pt x="1341120" y="3117719"/>
                </a:cubicBezTo>
                <a:cubicBezTo>
                  <a:pt x="1342896" y="3123421"/>
                  <a:pt x="1342816" y="3129722"/>
                  <a:pt x="1346449" y="3134825"/>
                </a:cubicBezTo>
                <a:cubicBezTo>
                  <a:pt x="1355842" y="3148016"/>
                  <a:pt x="1363164" y="3147849"/>
                  <a:pt x="1378426" y="3151932"/>
                </a:cubicBezTo>
                <a:cubicBezTo>
                  <a:pt x="1381979" y="3144805"/>
                  <a:pt x="1382960" y="3136446"/>
                  <a:pt x="1389085" y="3130549"/>
                </a:cubicBezTo>
                <a:cubicBezTo>
                  <a:pt x="1392681" y="3127086"/>
                  <a:pt x="1400687" y="3129088"/>
                  <a:pt x="1405073" y="3126273"/>
                </a:cubicBezTo>
                <a:cubicBezTo>
                  <a:pt x="1410075" y="3123062"/>
                  <a:pt x="1412179" y="3117719"/>
                  <a:pt x="1415732" y="3113442"/>
                </a:cubicBezTo>
                <a:cubicBezTo>
                  <a:pt x="1421061" y="3116293"/>
                  <a:pt x="1425506" y="3123242"/>
                  <a:pt x="1431720" y="3121995"/>
                </a:cubicBezTo>
                <a:cubicBezTo>
                  <a:pt x="1437170" y="3120902"/>
                  <a:pt x="1434537" y="3113197"/>
                  <a:pt x="1437049" y="3109166"/>
                </a:cubicBezTo>
                <a:cubicBezTo>
                  <a:pt x="1439913" y="3104569"/>
                  <a:pt x="1442706" y="3099547"/>
                  <a:pt x="1447708" y="3096336"/>
                </a:cubicBezTo>
                <a:cubicBezTo>
                  <a:pt x="1452095" y="3093520"/>
                  <a:pt x="1458436" y="3093642"/>
                  <a:pt x="1463696" y="3092060"/>
                </a:cubicBezTo>
                <a:cubicBezTo>
                  <a:pt x="1472654" y="3089365"/>
                  <a:pt x="1481461" y="3086358"/>
                  <a:pt x="1490344" y="3083506"/>
                </a:cubicBezTo>
                <a:cubicBezTo>
                  <a:pt x="1495673" y="3087782"/>
                  <a:pt x="1498898" y="3095342"/>
                  <a:pt x="1506332" y="3096336"/>
                </a:cubicBezTo>
                <a:cubicBezTo>
                  <a:pt x="1520238" y="3098195"/>
                  <a:pt x="1530236" y="3075078"/>
                  <a:pt x="1532979" y="3070677"/>
                </a:cubicBezTo>
                <a:cubicBezTo>
                  <a:pt x="1535090" y="3075758"/>
                  <a:pt x="1543900" y="3098986"/>
                  <a:pt x="1548967" y="3100613"/>
                </a:cubicBezTo>
                <a:cubicBezTo>
                  <a:pt x="1554914" y="3102522"/>
                  <a:pt x="1559626" y="3094911"/>
                  <a:pt x="1564955" y="3092060"/>
                </a:cubicBezTo>
                <a:cubicBezTo>
                  <a:pt x="1566870" y="3096669"/>
                  <a:pt x="1576155" y="3121035"/>
                  <a:pt x="1580943" y="3121995"/>
                </a:cubicBezTo>
                <a:cubicBezTo>
                  <a:pt x="1587157" y="3123242"/>
                  <a:pt x="1588424" y="3113629"/>
                  <a:pt x="1591603" y="3109166"/>
                </a:cubicBezTo>
                <a:cubicBezTo>
                  <a:pt x="1595544" y="3103631"/>
                  <a:pt x="1598709" y="3097762"/>
                  <a:pt x="1602261" y="3092060"/>
                </a:cubicBezTo>
                <a:cubicBezTo>
                  <a:pt x="1627132" y="3121995"/>
                  <a:pt x="1612920" y="3123421"/>
                  <a:pt x="1639567" y="3109166"/>
                </a:cubicBezTo>
                <a:cubicBezTo>
                  <a:pt x="1641344" y="3119144"/>
                  <a:pt x="1639279" y="3130087"/>
                  <a:pt x="1644897" y="3139102"/>
                </a:cubicBezTo>
                <a:cubicBezTo>
                  <a:pt x="1647409" y="3143133"/>
                  <a:pt x="1656499" y="3146195"/>
                  <a:pt x="1660885" y="3143378"/>
                </a:cubicBezTo>
                <a:cubicBezTo>
                  <a:pt x="1668355" y="3138583"/>
                  <a:pt x="1667991" y="3129123"/>
                  <a:pt x="1671544" y="3121995"/>
                </a:cubicBezTo>
                <a:cubicBezTo>
                  <a:pt x="1673320" y="3126271"/>
                  <a:pt x="1675772" y="3130405"/>
                  <a:pt x="1676873" y="3134825"/>
                </a:cubicBezTo>
                <a:cubicBezTo>
                  <a:pt x="1679337" y="3144710"/>
                  <a:pt x="1674666" y="3156698"/>
                  <a:pt x="1682202" y="3164762"/>
                </a:cubicBezTo>
                <a:cubicBezTo>
                  <a:pt x="1686045" y="3168873"/>
                  <a:pt x="1687133" y="3154231"/>
                  <a:pt x="1692861" y="3151932"/>
                </a:cubicBezTo>
                <a:cubicBezTo>
                  <a:pt x="1705964" y="3146675"/>
                  <a:pt x="1735497" y="3143378"/>
                  <a:pt x="1735497" y="3143378"/>
                </a:cubicBezTo>
                <a:cubicBezTo>
                  <a:pt x="1740826" y="3144804"/>
                  <a:pt x="1746461" y="3149671"/>
                  <a:pt x="1751485" y="3147655"/>
                </a:cubicBezTo>
                <a:cubicBezTo>
                  <a:pt x="1768033" y="3141015"/>
                  <a:pt x="1743215" y="3118457"/>
                  <a:pt x="1767473" y="3147655"/>
                </a:cubicBezTo>
                <a:cubicBezTo>
                  <a:pt x="1769250" y="3141952"/>
                  <a:pt x="1765479" y="3130549"/>
                  <a:pt x="1772803" y="3130549"/>
                </a:cubicBezTo>
                <a:cubicBezTo>
                  <a:pt x="1785613" y="3130549"/>
                  <a:pt x="1804779" y="3147655"/>
                  <a:pt x="1804779" y="3147655"/>
                </a:cubicBezTo>
                <a:cubicBezTo>
                  <a:pt x="1810108" y="3146230"/>
                  <a:pt x="1815149" y="3143378"/>
                  <a:pt x="1820767" y="3143378"/>
                </a:cubicBezTo>
                <a:cubicBezTo>
                  <a:pt x="1853707" y="3143378"/>
                  <a:pt x="1824626" y="3170365"/>
                  <a:pt x="1852744" y="3117719"/>
                </a:cubicBezTo>
                <a:cubicBezTo>
                  <a:pt x="1856297" y="3121995"/>
                  <a:pt x="1857456" y="3128640"/>
                  <a:pt x="1863403" y="3130549"/>
                </a:cubicBezTo>
                <a:cubicBezTo>
                  <a:pt x="1890733" y="3139321"/>
                  <a:pt x="1871602" y="3107521"/>
                  <a:pt x="1884720" y="3139102"/>
                </a:cubicBezTo>
                <a:cubicBezTo>
                  <a:pt x="1888273" y="3134826"/>
                  <a:pt x="1889432" y="3128182"/>
                  <a:pt x="1895379" y="3126273"/>
                </a:cubicBezTo>
                <a:cubicBezTo>
                  <a:pt x="1900594" y="3124599"/>
                  <a:pt x="1906550" y="3132868"/>
                  <a:pt x="1911367" y="3130549"/>
                </a:cubicBezTo>
                <a:cubicBezTo>
                  <a:pt x="1918179" y="3127269"/>
                  <a:pt x="1918473" y="3119144"/>
                  <a:pt x="1922026" y="3113442"/>
                </a:cubicBezTo>
                <a:cubicBezTo>
                  <a:pt x="1925031" y="3118265"/>
                  <a:pt x="1932337" y="3140069"/>
                  <a:pt x="1948673" y="3134825"/>
                </a:cubicBezTo>
                <a:cubicBezTo>
                  <a:pt x="1954620" y="3132916"/>
                  <a:pt x="1955778" y="3126271"/>
                  <a:pt x="1959331" y="3121995"/>
                </a:cubicBezTo>
                <a:cubicBezTo>
                  <a:pt x="1964662" y="3126271"/>
                  <a:pt x="1967783" y="3134825"/>
                  <a:pt x="1975321" y="3134825"/>
                </a:cubicBezTo>
                <a:cubicBezTo>
                  <a:pt x="1980939" y="3134825"/>
                  <a:pt x="1975089" y="3122633"/>
                  <a:pt x="1980650" y="3121995"/>
                </a:cubicBezTo>
                <a:cubicBezTo>
                  <a:pt x="1991772" y="3120720"/>
                  <a:pt x="2012626" y="3130549"/>
                  <a:pt x="2012626" y="3130549"/>
                </a:cubicBezTo>
                <a:cubicBezTo>
                  <a:pt x="2017955" y="3129124"/>
                  <a:pt x="2022996" y="3126273"/>
                  <a:pt x="2028614" y="3126273"/>
                </a:cubicBezTo>
                <a:cubicBezTo>
                  <a:pt x="2034232" y="3126273"/>
                  <a:pt x="2039200" y="3131786"/>
                  <a:pt x="2044602" y="3130549"/>
                </a:cubicBezTo>
                <a:cubicBezTo>
                  <a:pt x="2053142" y="3128591"/>
                  <a:pt x="2058814" y="3121995"/>
                  <a:pt x="2065920" y="3117719"/>
                </a:cubicBezTo>
                <a:cubicBezTo>
                  <a:pt x="2069473" y="3112017"/>
                  <a:pt x="2068789" y="3101863"/>
                  <a:pt x="2076579" y="3100613"/>
                </a:cubicBezTo>
                <a:cubicBezTo>
                  <a:pt x="2083970" y="3099426"/>
                  <a:pt x="2086778" y="3109570"/>
                  <a:pt x="2092568" y="3113442"/>
                </a:cubicBezTo>
                <a:cubicBezTo>
                  <a:pt x="2097488" y="3116732"/>
                  <a:pt x="2103227" y="3119144"/>
                  <a:pt x="2108556" y="3121995"/>
                </a:cubicBezTo>
                <a:cubicBezTo>
                  <a:pt x="2114329" y="3118907"/>
                  <a:pt x="2136980" y="3104711"/>
                  <a:pt x="2145861" y="3109166"/>
                </a:cubicBezTo>
                <a:cubicBezTo>
                  <a:pt x="2156724" y="3114614"/>
                  <a:pt x="2156520" y="3129123"/>
                  <a:pt x="2167179" y="3134825"/>
                </a:cubicBezTo>
                <a:lnTo>
                  <a:pt x="2183168" y="3143378"/>
                </a:lnTo>
                <a:cubicBezTo>
                  <a:pt x="2186382" y="3139508"/>
                  <a:pt x="2202976" y="3117719"/>
                  <a:pt x="2209815" y="3117719"/>
                </a:cubicBezTo>
                <a:cubicBezTo>
                  <a:pt x="2216220" y="3117720"/>
                  <a:pt x="2216921" y="3126273"/>
                  <a:pt x="2220474" y="3130549"/>
                </a:cubicBezTo>
                <a:cubicBezTo>
                  <a:pt x="2224027" y="3126273"/>
                  <a:pt x="2224776" y="3117082"/>
                  <a:pt x="2231132" y="3117719"/>
                </a:cubicBezTo>
                <a:cubicBezTo>
                  <a:pt x="2243843" y="3118994"/>
                  <a:pt x="2263108" y="3134825"/>
                  <a:pt x="2263108" y="3134825"/>
                </a:cubicBezTo>
                <a:cubicBezTo>
                  <a:pt x="2268438" y="3133400"/>
                  <a:pt x="2274220" y="3128312"/>
                  <a:pt x="2279097" y="3130549"/>
                </a:cubicBezTo>
                <a:cubicBezTo>
                  <a:pt x="2285912" y="3133674"/>
                  <a:pt x="2304523" y="3156879"/>
                  <a:pt x="2311073" y="3164762"/>
                </a:cubicBezTo>
                <a:cubicBezTo>
                  <a:pt x="2316403" y="3163336"/>
                  <a:pt x="2321898" y="3162261"/>
                  <a:pt x="2327061" y="3160486"/>
                </a:cubicBezTo>
                <a:cubicBezTo>
                  <a:pt x="2334364" y="3157974"/>
                  <a:pt x="2340842" y="3149916"/>
                  <a:pt x="2348379" y="3151932"/>
                </a:cubicBezTo>
                <a:cubicBezTo>
                  <a:pt x="2355915" y="3153948"/>
                  <a:pt x="2355485" y="3163336"/>
                  <a:pt x="2359038" y="3169038"/>
                </a:cubicBezTo>
                <a:cubicBezTo>
                  <a:pt x="2366144" y="3166186"/>
                  <a:pt x="2373619" y="3163864"/>
                  <a:pt x="2380356" y="3160486"/>
                </a:cubicBezTo>
                <a:cubicBezTo>
                  <a:pt x="2387889" y="3156707"/>
                  <a:pt x="2393426" y="3145007"/>
                  <a:pt x="2401673" y="3147655"/>
                </a:cubicBezTo>
                <a:cubicBezTo>
                  <a:pt x="2410084" y="3150354"/>
                  <a:pt x="2405226" y="3161910"/>
                  <a:pt x="2407002" y="3169038"/>
                </a:cubicBezTo>
                <a:cubicBezTo>
                  <a:pt x="2458522" y="3155259"/>
                  <a:pt x="2386295" y="3169992"/>
                  <a:pt x="2433649" y="3177591"/>
                </a:cubicBezTo>
                <a:cubicBezTo>
                  <a:pt x="2439930" y="3178599"/>
                  <a:pt x="2443909" y="3171336"/>
                  <a:pt x="2449638" y="3169038"/>
                </a:cubicBezTo>
                <a:cubicBezTo>
                  <a:pt x="2454662" y="3167022"/>
                  <a:pt x="2460297" y="3166186"/>
                  <a:pt x="2465626" y="3164762"/>
                </a:cubicBezTo>
                <a:lnTo>
                  <a:pt x="2478373" y="3172174"/>
                </a:lnTo>
                <a:cubicBezTo>
                  <a:pt x="2481819" y="3170252"/>
                  <a:pt x="2482189" y="3166210"/>
                  <a:pt x="2486944" y="3160486"/>
                </a:cubicBezTo>
                <a:cubicBezTo>
                  <a:pt x="2491125" y="3155453"/>
                  <a:pt x="2497603" y="3151932"/>
                  <a:pt x="2502932" y="3147655"/>
                </a:cubicBezTo>
                <a:cubicBezTo>
                  <a:pt x="2504708" y="3151932"/>
                  <a:pt x="2504664" y="3157022"/>
                  <a:pt x="2508261" y="3160486"/>
                </a:cubicBezTo>
                <a:cubicBezTo>
                  <a:pt x="2540526" y="3191556"/>
                  <a:pt x="2522689" y="3156727"/>
                  <a:pt x="2534908" y="3186145"/>
                </a:cubicBezTo>
                <a:cubicBezTo>
                  <a:pt x="2597250" y="3148627"/>
                  <a:pt x="2520253" y="3186144"/>
                  <a:pt x="2572215" y="3186145"/>
                </a:cubicBezTo>
                <a:cubicBezTo>
                  <a:pt x="2585435" y="3186144"/>
                  <a:pt x="2598139" y="3167770"/>
                  <a:pt x="2604191" y="3160486"/>
                </a:cubicBezTo>
                <a:cubicBezTo>
                  <a:pt x="2609520" y="3163336"/>
                  <a:pt x="2613965" y="3170285"/>
                  <a:pt x="2620179" y="3169038"/>
                </a:cubicBezTo>
                <a:cubicBezTo>
                  <a:pt x="2636713" y="3165720"/>
                  <a:pt x="2653315" y="3144990"/>
                  <a:pt x="2662815" y="3134825"/>
                </a:cubicBezTo>
                <a:cubicBezTo>
                  <a:pt x="2709964" y="3147439"/>
                  <a:pt x="2639483" y="3133092"/>
                  <a:pt x="2694791" y="3121995"/>
                </a:cubicBezTo>
                <a:cubicBezTo>
                  <a:pt x="2700240" y="3120902"/>
                  <a:pt x="2696148" y="3131637"/>
                  <a:pt x="2700121" y="3134825"/>
                </a:cubicBezTo>
                <a:cubicBezTo>
                  <a:pt x="2704093" y="3138013"/>
                  <a:pt x="2710780" y="3137676"/>
                  <a:pt x="2716109" y="3139102"/>
                </a:cubicBezTo>
                <a:cubicBezTo>
                  <a:pt x="2723215" y="3137676"/>
                  <a:pt x="2730276" y="3136100"/>
                  <a:pt x="2737426" y="3134825"/>
                </a:cubicBezTo>
                <a:cubicBezTo>
                  <a:pt x="2746268" y="3133248"/>
                  <a:pt x="2755795" y="3133501"/>
                  <a:pt x="2764073" y="3130549"/>
                </a:cubicBezTo>
                <a:cubicBezTo>
                  <a:pt x="2772190" y="3127654"/>
                  <a:pt x="2778285" y="3121995"/>
                  <a:pt x="2785391" y="3117719"/>
                </a:cubicBezTo>
                <a:cubicBezTo>
                  <a:pt x="2790720" y="3121995"/>
                  <a:pt x="2795109" y="3127193"/>
                  <a:pt x="2801379" y="3130549"/>
                </a:cubicBezTo>
                <a:cubicBezTo>
                  <a:pt x="2806054" y="3133050"/>
                  <a:pt x="2813859" y="3131306"/>
                  <a:pt x="2817368" y="3134825"/>
                </a:cubicBezTo>
                <a:cubicBezTo>
                  <a:pt x="2821943" y="3139415"/>
                  <a:pt x="2819811" y="3146530"/>
                  <a:pt x="2822697" y="3151932"/>
                </a:cubicBezTo>
                <a:cubicBezTo>
                  <a:pt x="2825220" y="3156656"/>
                  <a:pt x="2829803" y="3160486"/>
                  <a:pt x="2833356" y="3164762"/>
                </a:cubicBezTo>
                <a:cubicBezTo>
                  <a:pt x="2840462" y="3161910"/>
                  <a:pt x="2848165" y="3159864"/>
                  <a:pt x="2854673" y="3156208"/>
                </a:cubicBezTo>
                <a:cubicBezTo>
                  <a:pt x="2866040" y="3149823"/>
                  <a:pt x="2873190" y="3137526"/>
                  <a:pt x="2886650" y="3134825"/>
                </a:cubicBezTo>
                <a:cubicBezTo>
                  <a:pt x="2892864" y="3133579"/>
                  <a:pt x="2893755" y="3143378"/>
                  <a:pt x="2897308" y="3147655"/>
                </a:cubicBezTo>
                <a:cubicBezTo>
                  <a:pt x="2913364" y="3139066"/>
                  <a:pt x="2915683" y="3137059"/>
                  <a:pt x="2934615" y="3130549"/>
                </a:cubicBezTo>
                <a:cubicBezTo>
                  <a:pt x="2939778" y="3128773"/>
                  <a:pt x="2945274" y="3127697"/>
                  <a:pt x="2950603" y="3126273"/>
                </a:cubicBezTo>
                <a:cubicBezTo>
                  <a:pt x="2987308" y="3145908"/>
                  <a:pt x="2942675" y="3128089"/>
                  <a:pt x="2987909" y="3117719"/>
                </a:cubicBezTo>
                <a:cubicBezTo>
                  <a:pt x="2994069" y="3116308"/>
                  <a:pt x="2998568" y="3123421"/>
                  <a:pt x="3003897" y="3126273"/>
                </a:cubicBezTo>
                <a:cubicBezTo>
                  <a:pt x="3029864" y="3095014"/>
                  <a:pt x="2998169" y="3125123"/>
                  <a:pt x="3025215" y="3130549"/>
                </a:cubicBezTo>
                <a:cubicBezTo>
                  <a:pt x="3031429" y="3131796"/>
                  <a:pt x="3032320" y="3121995"/>
                  <a:pt x="3035873" y="3117719"/>
                </a:cubicBezTo>
                <a:lnTo>
                  <a:pt x="3040172" y="3129196"/>
                </a:lnTo>
                <a:cubicBezTo>
                  <a:pt x="3042415" y="3129822"/>
                  <a:pt x="3045394" y="3124310"/>
                  <a:pt x="3062521" y="3126273"/>
                </a:cubicBezTo>
                <a:cubicBezTo>
                  <a:pt x="3068861" y="3126999"/>
                  <a:pt x="3073180" y="3131974"/>
                  <a:pt x="3078509" y="3134825"/>
                </a:cubicBezTo>
                <a:lnTo>
                  <a:pt x="3081446" y="3129462"/>
                </a:lnTo>
                <a:close/>
                <a:moveTo>
                  <a:pt x="79380" y="3204162"/>
                </a:moveTo>
              </a:path>
            </a:pathLst>
          </a:custGeom>
          <a:solidFill>
            <a:schemeClr val="tx1">
              <a:alpha val="21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108000" rIns="0" bIns="108000" rtlCol="0" anchor="ctr" anchorCtr="0"/>
          <a:lstStyle/>
          <a:p>
            <a:pPr algn="ctr">
              <a:lnSpc>
                <a:spcPct val="90000"/>
              </a:lnSpc>
              <a:spcAft>
                <a:spcPts val="200"/>
              </a:spcAft>
              <a:buClr>
                <a:srgbClr val="FFE600"/>
              </a:buClr>
            </a:pPr>
            <a:endParaRPr lang="it-IT" b="1" kern="0">
              <a:solidFill>
                <a:schemeClr val="tx2"/>
              </a:solidFill>
            </a:endParaRPr>
          </a:p>
        </p:txBody>
      </p:sp>
      <p:sp>
        <p:nvSpPr>
          <p:cNvPr id="66" name="Textfeld 7">
            <a:extLst>
              <a:ext uri="{FF2B5EF4-FFF2-40B4-BE49-F238E27FC236}">
                <a16:creationId xmlns:a16="http://schemas.microsoft.com/office/drawing/2014/main" id="{840FD7DC-7B08-5BA9-9192-3623C31C1E45}"/>
              </a:ext>
            </a:extLst>
          </p:cNvPr>
          <p:cNvSpPr txBox="1"/>
          <p:nvPr/>
        </p:nvSpPr>
        <p:spPr>
          <a:xfrm>
            <a:off x="6192045" y="2050431"/>
            <a:ext cx="5422137" cy="1789361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wrap="square" lIns="144000" tIns="0" rIns="144000" bIns="0" rtlCol="0" anchor="ctr" anchorCtr="0">
            <a:noAutofit/>
          </a:bodyPr>
          <a:lstStyle/>
          <a:p>
            <a:pPr lvl="0" algn="ctr" defTabSz="685434">
              <a:spcAft>
                <a:spcPts val="600"/>
              </a:spcAft>
              <a:buClr>
                <a:srgbClr val="FFE600"/>
              </a:buClr>
              <a:buSzPct val="80000"/>
              <a:defRPr/>
            </a:pPr>
            <a:r>
              <a:rPr lang="it-IT" sz="2000">
                <a:latin typeface="Segoe Print" panose="02000600000000000000" pitchFamily="2" charset="0"/>
              </a:rPr>
              <a:t>«Le </a:t>
            </a:r>
            <a:r>
              <a:rPr lang="it-IT" sz="2000" err="1">
                <a:latin typeface="Segoe Print" panose="02000600000000000000" pitchFamily="2" charset="0"/>
              </a:rPr>
              <a:t>stablecoin</a:t>
            </a:r>
            <a:r>
              <a:rPr lang="it-IT" sz="2000">
                <a:latin typeface="Segoe Print" panose="02000600000000000000" pitchFamily="2" charset="0"/>
              </a:rPr>
              <a:t> private regolamentate e il progetto del </a:t>
            </a:r>
            <a:r>
              <a:rPr lang="it-IT" sz="2000" err="1">
                <a:latin typeface="Segoe Print" panose="02000600000000000000" pitchFamily="2" charset="0"/>
              </a:rPr>
              <a:t>digital</a:t>
            </a:r>
            <a:r>
              <a:rPr lang="it-IT" sz="2000">
                <a:latin typeface="Segoe Print" panose="02000600000000000000" pitchFamily="2" charset="0"/>
              </a:rPr>
              <a:t> euro non sono visti come alternativi tra loro, ma come elementi complementari nel più ampio ecosistema europeo dei pagamenti»</a:t>
            </a:r>
            <a:endParaRPr lang="en-US" sz="2000">
              <a:latin typeface="Segoe Print" panose="02000600000000000000" pitchFamily="2" charset="0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489592B4-1158-1658-F96C-D65D492354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16739" y="1679945"/>
            <a:ext cx="364853" cy="333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D50A4D16-9752-2647-EE6C-A6342BDC4351}"/>
              </a:ext>
            </a:extLst>
          </p:cNvPr>
          <p:cNvGrpSpPr/>
          <p:nvPr/>
        </p:nvGrpSpPr>
        <p:grpSpPr>
          <a:xfrm>
            <a:off x="6506767" y="4156383"/>
            <a:ext cx="4865926" cy="1950688"/>
            <a:chOff x="6540702" y="4156383"/>
            <a:chExt cx="4865926" cy="1950688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2742308-FF3D-2B79-2584-FC4B61E4A5EF}"/>
                </a:ext>
              </a:extLst>
            </p:cNvPr>
            <p:cNvSpPr/>
            <p:nvPr/>
          </p:nvSpPr>
          <p:spPr>
            <a:xfrm>
              <a:off x="6540702" y="4669402"/>
              <a:ext cx="1443781" cy="1437669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288000" rIns="72000"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sz="1200" b="1">
                  <a:solidFill>
                    <a:schemeClr val="tx1"/>
                  </a:solidFill>
                  <a:latin typeface="EYInterstate Light"/>
                </a:rPr>
                <a:t>La BCE mira a garantire </a:t>
              </a:r>
              <a:r>
                <a:rPr lang="it-IT" sz="1200" b="1">
                  <a:solidFill>
                    <a:schemeClr val="tx2"/>
                  </a:solidFill>
                  <a:latin typeface="EYInterstate Light"/>
                </a:rPr>
                <a:t>stabilità e fiducia </a:t>
              </a:r>
              <a:r>
                <a:rPr lang="it-IT" sz="1200" b="1">
                  <a:solidFill>
                    <a:schemeClr val="tx1"/>
                  </a:solidFill>
                  <a:latin typeface="EYInterstate Light"/>
                </a:rPr>
                <a:t>nella </a:t>
              </a:r>
              <a:r>
                <a:rPr lang="it-IT" sz="1200" b="1">
                  <a:solidFill>
                    <a:schemeClr val="tx2"/>
                  </a:solidFill>
                  <a:latin typeface="EYInterstate Light"/>
                </a:rPr>
                <a:t>moneta della banca centrale</a:t>
              </a: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33B83610-956C-1B3D-96D4-ECB5CBF00697}"/>
                </a:ext>
              </a:extLst>
            </p:cNvPr>
            <p:cNvSpPr/>
            <p:nvPr/>
          </p:nvSpPr>
          <p:spPr>
            <a:xfrm>
              <a:off x="8257029" y="4669402"/>
              <a:ext cx="1443781" cy="1437669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288000" rIns="72000"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sz="1200" b="1">
                  <a:solidFill>
                    <a:schemeClr val="tx1"/>
                  </a:solidFill>
                  <a:latin typeface="EYInterstate Light"/>
                </a:rPr>
                <a:t>Sta sviluppando un </a:t>
              </a:r>
              <a:r>
                <a:rPr lang="it-IT" sz="1200" b="1">
                  <a:solidFill>
                    <a:schemeClr val="tx2"/>
                  </a:solidFill>
                  <a:latin typeface="EYInterstate Light"/>
                </a:rPr>
                <a:t>euro digitale </a:t>
              </a:r>
              <a:r>
                <a:rPr lang="it-IT" sz="1200" b="1">
                  <a:solidFill>
                    <a:schemeClr val="tx1"/>
                  </a:solidFill>
                  <a:latin typeface="EYInterstate Light"/>
                </a:rPr>
                <a:t>per i pagamenti e le transazioni</a:t>
              </a: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7A3DB4D3-28AE-C6C7-B24A-2F867BEF75E4}"/>
                </a:ext>
              </a:extLst>
            </p:cNvPr>
            <p:cNvSpPr/>
            <p:nvPr/>
          </p:nvSpPr>
          <p:spPr>
            <a:xfrm>
              <a:off x="9962847" y="4669402"/>
              <a:ext cx="1443781" cy="1437669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288000" rIns="36000"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sz="1200" b="1">
                  <a:solidFill>
                    <a:schemeClr val="tx1"/>
                  </a:solidFill>
                  <a:latin typeface="EYInterstate Light"/>
                </a:rPr>
                <a:t>I progetti “</a:t>
              </a:r>
              <a:r>
                <a:rPr lang="it-IT" sz="1200" b="1">
                  <a:solidFill>
                    <a:schemeClr val="tx2"/>
                  </a:solidFill>
                  <a:latin typeface="EYInterstate Light"/>
                </a:rPr>
                <a:t>Pontes</a:t>
              </a:r>
              <a:r>
                <a:rPr lang="it-IT" sz="1200" b="1">
                  <a:solidFill>
                    <a:schemeClr val="tx1"/>
                  </a:solidFill>
                  <a:latin typeface="EYInterstate Light"/>
                </a:rPr>
                <a:t>” e “</a:t>
              </a:r>
              <a:r>
                <a:rPr lang="it-IT" sz="1200" b="1">
                  <a:solidFill>
                    <a:schemeClr val="tx2"/>
                  </a:solidFill>
                  <a:latin typeface="EYInterstate Light"/>
                </a:rPr>
                <a:t>Appia</a:t>
              </a:r>
              <a:r>
                <a:rPr lang="it-IT" sz="1200" b="1">
                  <a:solidFill>
                    <a:schemeClr val="tx1"/>
                  </a:solidFill>
                  <a:latin typeface="EYInterstate Light"/>
                </a:rPr>
                <a:t>” puntano a creare ecosistemi finanziari innovativi </a:t>
              </a:r>
              <a:r>
                <a:rPr lang="it-IT" sz="1200" b="1">
                  <a:solidFill>
                    <a:schemeClr val="tx2"/>
                  </a:solidFill>
                  <a:latin typeface="EYInterstate Light"/>
                </a:rPr>
                <a:t>entro il 2026</a:t>
              </a:r>
            </a:p>
          </p:txBody>
        </p:sp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3D7D2156-8DD7-D8CA-FF5F-76198ADF20D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423" r="19423"/>
            <a:stretch/>
          </p:blipFill>
          <p:spPr>
            <a:xfrm>
              <a:off x="6947798" y="4156383"/>
              <a:ext cx="629589" cy="612000"/>
            </a:xfrm>
            <a:prstGeom prst="ellipse">
              <a:avLst/>
            </a:prstGeom>
            <a:ln>
              <a:noFill/>
            </a:ln>
            <a:effectLst>
              <a:glow rad="76200">
                <a:schemeClr val="tx2">
                  <a:alpha val="52000"/>
                </a:schemeClr>
              </a:glow>
            </a:effectLst>
          </p:spPr>
        </p:pic>
        <p:pic>
          <p:nvPicPr>
            <p:cNvPr id="71" name="Picture 70">
              <a:extLst>
                <a:ext uri="{FF2B5EF4-FFF2-40B4-BE49-F238E27FC236}">
                  <a16:creationId xmlns:a16="http://schemas.microsoft.com/office/drawing/2014/main" id="{06ABB25B-C174-AEC3-6C67-BC6AEC988E2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60" t="784" r="33932" b="5001"/>
            <a:stretch>
              <a:fillRect/>
            </a:stretch>
          </p:blipFill>
          <p:spPr>
            <a:xfrm>
              <a:off x="8688020" y="4174091"/>
              <a:ext cx="581800" cy="576584"/>
            </a:xfrm>
            <a:prstGeom prst="ellipse">
              <a:avLst/>
            </a:prstGeom>
            <a:ln>
              <a:noFill/>
            </a:ln>
            <a:effectLst>
              <a:glow rad="76200">
                <a:schemeClr val="tx2">
                  <a:alpha val="52000"/>
                </a:schemeClr>
              </a:glow>
            </a:effectLst>
          </p:spPr>
        </p:pic>
        <p:pic>
          <p:nvPicPr>
            <p:cNvPr id="72" name="Picture 71">
              <a:extLst>
                <a:ext uri="{FF2B5EF4-FFF2-40B4-BE49-F238E27FC236}">
                  <a16:creationId xmlns:a16="http://schemas.microsoft.com/office/drawing/2014/main" id="{ED054C4F-51B2-7974-B2B6-E90C1AF5370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956" r="7956"/>
            <a:stretch/>
          </p:blipFill>
          <p:spPr>
            <a:xfrm>
              <a:off x="10393837" y="4174091"/>
              <a:ext cx="581800" cy="576584"/>
            </a:xfrm>
            <a:prstGeom prst="ellipse">
              <a:avLst/>
            </a:prstGeom>
            <a:ln>
              <a:noFill/>
            </a:ln>
            <a:effectLst>
              <a:glow rad="76200">
                <a:schemeClr val="tx2">
                  <a:alpha val="52000"/>
                </a:schemeClr>
              </a:glow>
            </a:effectLst>
          </p:spPr>
        </p:pic>
      </p:grpSp>
    </p:spTree>
    <p:extLst>
      <p:ext uri="{BB962C8B-B14F-4D97-AF65-F5344CB8AC3E}">
        <p14:creationId xmlns:p14="http://schemas.microsoft.com/office/powerpoint/2010/main" val="30402005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E2B5B5-F2D7-782A-E70E-5797754F29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F0D70D-5E4E-3344-468A-0CEE0C46CD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541776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F0D70D-5E4E-3344-468A-0CEE0C46CD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76E36B7-6269-3E1E-CEAE-C42673DAE0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sz="2400">
                <a:latin typeface="+mn-lt"/>
              </a:rPr>
              <a:t>Agend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DB250DF-615B-92D2-FCB3-0B8D7190B71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F1BC30E3-FFE5-4B91-AA19-87A149EBB9EE}" type="slidenum">
              <a:rPr lang="it-IT" smtClean="0"/>
              <a:pPr/>
              <a:t>2</a:t>
            </a:fld>
            <a:endParaRPr lang="it-IT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1EEC12D-7BED-F3D9-E9CE-2D71AB9C02D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it-IT"/>
              <a:t>Le </a:t>
            </a:r>
            <a:r>
              <a:rPr lang="it-IT" err="1"/>
              <a:t>stablecoin</a:t>
            </a:r>
            <a:r>
              <a:rPr lang="it-IT"/>
              <a:t> e il futuro dei pagamenti digitali | Salone dei pagamenti | 30 ottobre 2025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42629B5-7073-7096-C1B8-506A306363EB}"/>
              </a:ext>
            </a:extLst>
          </p:cNvPr>
          <p:cNvSpPr txBox="1"/>
          <p:nvPr/>
        </p:nvSpPr>
        <p:spPr>
          <a:xfrm>
            <a:off x="1955800" y="1206500"/>
            <a:ext cx="6489700" cy="629916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  <a:spcAft>
                <a:spcPts val="1200"/>
              </a:spcAft>
              <a:buClr>
                <a:schemeClr val="tx2"/>
              </a:buClr>
              <a:buSzPct val="100000"/>
            </a:pPr>
            <a:r>
              <a:rPr lang="en-US" sz="1400">
                <a:solidFill>
                  <a:schemeClr val="tx2"/>
                </a:solidFill>
              </a:rPr>
              <a:t>Welcome: </a:t>
            </a:r>
            <a:r>
              <a:rPr lang="it-IT" sz="1400">
                <a:solidFill>
                  <a:schemeClr val="tx2"/>
                </a:solidFill>
              </a:rPr>
              <a:t>Introduzione e trend del mercato dei pagamenti </a:t>
            </a:r>
            <a:endParaRPr lang="en-US" sz="1400">
              <a:solidFill>
                <a:schemeClr val="tx2"/>
              </a:solidFill>
            </a:endParaRPr>
          </a:p>
          <a:p>
            <a:pPr>
              <a:lnSpc>
                <a:spcPct val="90000"/>
              </a:lnSpc>
              <a:spcBef>
                <a:spcPts val="400"/>
              </a:spcBef>
              <a:spcAft>
                <a:spcPts val="1200"/>
              </a:spcAft>
              <a:buClr>
                <a:schemeClr val="tx2"/>
              </a:buClr>
              <a:buSzPct val="100000"/>
            </a:pPr>
            <a:r>
              <a:rPr lang="it-IT" sz="1400" b="1"/>
              <a:t>Enrico Ugoletti</a:t>
            </a:r>
            <a:r>
              <a:rPr lang="it-IT" sz="1400"/>
              <a:t>, Payments and Technology </a:t>
            </a:r>
            <a:r>
              <a:rPr lang="it-IT" sz="1400" err="1"/>
              <a:t>Transformation</a:t>
            </a:r>
            <a:r>
              <a:rPr lang="it-IT" sz="1400"/>
              <a:t> Leader Italia, EY</a:t>
            </a:r>
            <a:endParaRPr lang="it-IT" sz="1400">
              <a:highlight>
                <a:srgbClr val="FF00FF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9F339A8-E25F-E6CE-AE65-9AEB85DEA174}"/>
              </a:ext>
            </a:extLst>
          </p:cNvPr>
          <p:cNvSpPr txBox="1"/>
          <p:nvPr/>
        </p:nvSpPr>
        <p:spPr>
          <a:xfrm>
            <a:off x="1955800" y="2105416"/>
            <a:ext cx="7481277" cy="629916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  <a:spcAft>
                <a:spcPts val="1200"/>
              </a:spcAft>
              <a:buClr>
                <a:schemeClr val="tx2"/>
              </a:buClr>
              <a:buSzPct val="100000"/>
            </a:pPr>
            <a:r>
              <a:rPr lang="it-IT" sz="1400" err="1">
                <a:solidFill>
                  <a:schemeClr val="tx2"/>
                </a:solidFill>
              </a:rPr>
              <a:t>Stablecoin</a:t>
            </a:r>
            <a:r>
              <a:rPr lang="it-IT" sz="1400">
                <a:solidFill>
                  <a:schemeClr val="tx2"/>
                </a:solidFill>
              </a:rPr>
              <a:t> in focus: </a:t>
            </a:r>
            <a:r>
              <a:rPr lang="it-IT" sz="1400"/>
              <a:t>orientarsi nel nuovo panorama finanziario digitale (ricerca EY)</a:t>
            </a:r>
            <a:endParaRPr lang="en-US" sz="1400"/>
          </a:p>
          <a:p>
            <a:pPr>
              <a:lnSpc>
                <a:spcPct val="90000"/>
              </a:lnSpc>
              <a:spcBef>
                <a:spcPts val="400"/>
              </a:spcBef>
              <a:spcAft>
                <a:spcPts val="1200"/>
              </a:spcAft>
              <a:buClr>
                <a:schemeClr val="tx2"/>
              </a:buClr>
              <a:buSzPct val="100000"/>
            </a:pPr>
            <a:r>
              <a:rPr lang="it-IT" sz="1400"/>
              <a:t>Andrea Chiarello, </a:t>
            </a:r>
            <a:r>
              <a:rPr lang="en-US" sz="1400"/>
              <a:t>Cards &amp; Payments Business Transformation Leader Italia, EY</a:t>
            </a:r>
            <a:endParaRPr lang="it-IT" sz="14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6F47D10-7D4B-BF64-F271-0E70C1A0DC3A}"/>
              </a:ext>
            </a:extLst>
          </p:cNvPr>
          <p:cNvSpPr txBox="1"/>
          <p:nvPr/>
        </p:nvSpPr>
        <p:spPr>
          <a:xfrm>
            <a:off x="1955800" y="3004332"/>
            <a:ext cx="7683500" cy="629916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  <a:spcAft>
                <a:spcPts val="1200"/>
              </a:spcAft>
              <a:buClr>
                <a:schemeClr val="tx2"/>
              </a:buClr>
              <a:buSzPct val="100000"/>
            </a:pPr>
            <a:r>
              <a:rPr lang="it-IT" sz="1400">
                <a:solidFill>
                  <a:schemeClr val="tx2"/>
                </a:solidFill>
              </a:rPr>
              <a:t>Il nuovo contesto Europeo tra </a:t>
            </a:r>
            <a:r>
              <a:rPr lang="it-IT" sz="1400" err="1">
                <a:solidFill>
                  <a:schemeClr val="tx2"/>
                </a:solidFill>
              </a:rPr>
              <a:t>MiCAR</a:t>
            </a:r>
            <a:r>
              <a:rPr lang="it-IT" sz="1400">
                <a:solidFill>
                  <a:schemeClr val="tx2"/>
                </a:solidFill>
              </a:rPr>
              <a:t> ed Euro Digitale</a:t>
            </a:r>
          </a:p>
          <a:p>
            <a:pPr>
              <a:lnSpc>
                <a:spcPct val="90000"/>
              </a:lnSpc>
              <a:spcBef>
                <a:spcPts val="400"/>
              </a:spcBef>
              <a:spcAft>
                <a:spcPts val="1200"/>
              </a:spcAft>
              <a:buClr>
                <a:schemeClr val="tx2"/>
              </a:buClr>
              <a:buSzPct val="100000"/>
            </a:pPr>
            <a:r>
              <a:rPr lang="it-IT" sz="1400" b="1"/>
              <a:t>Giuseppe Perrone</a:t>
            </a:r>
            <a:r>
              <a:rPr lang="it-IT" sz="1400"/>
              <a:t>, Technology Consulting </a:t>
            </a:r>
            <a:r>
              <a:rPr lang="it-IT" sz="1400" err="1"/>
              <a:t>AI&amp;Data</a:t>
            </a:r>
            <a:r>
              <a:rPr lang="it-IT" sz="1400"/>
              <a:t> Leader Italia, EMEIA Blockchain Leader, E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8057DBD-D319-8CFC-5B3C-C86AA50C7E42}"/>
              </a:ext>
            </a:extLst>
          </p:cNvPr>
          <p:cNvSpPr txBox="1"/>
          <p:nvPr/>
        </p:nvSpPr>
        <p:spPr>
          <a:xfrm>
            <a:off x="1955800" y="3903248"/>
            <a:ext cx="8429722" cy="1596334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  <a:spcAft>
                <a:spcPts val="1200"/>
              </a:spcAft>
              <a:buClr>
                <a:schemeClr val="tx2"/>
              </a:buClr>
              <a:buSzPct val="100000"/>
            </a:pPr>
            <a:r>
              <a:rPr lang="it-IT" sz="1400">
                <a:solidFill>
                  <a:schemeClr val="tx2"/>
                </a:solidFill>
              </a:rPr>
              <a:t>Panel</a:t>
            </a:r>
            <a:endParaRPr lang="it-IT" sz="1400"/>
          </a:p>
          <a:p>
            <a:pPr marL="173038" indent="-173038" algn="l">
              <a:lnSpc>
                <a:spcPct val="90000"/>
              </a:lnSpc>
              <a:spcBef>
                <a:spcPts val="400"/>
              </a:spcBef>
              <a:spcAft>
                <a:spcPts val="600"/>
              </a:spcAft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</a:pPr>
            <a:r>
              <a:rPr lang="it-IT" sz="1400" b="1"/>
              <a:t>Mico Curatolo</a:t>
            </a:r>
            <a:r>
              <a:rPr lang="it-IT" sz="1400"/>
              <a:t>, Head - DLT &amp; Digital Assets Competence Center, Banca Sella</a:t>
            </a:r>
          </a:p>
          <a:p>
            <a:pPr marL="173038" indent="-173038" algn="l">
              <a:lnSpc>
                <a:spcPct val="90000"/>
              </a:lnSpc>
              <a:spcBef>
                <a:spcPts val="400"/>
              </a:spcBef>
              <a:spcAft>
                <a:spcPts val="600"/>
              </a:spcAft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</a:pPr>
            <a:r>
              <a:rPr lang="it-IT" sz="1400" b="1"/>
              <a:t>Thibault Pelé</a:t>
            </a:r>
            <a:r>
              <a:rPr lang="it-IT" sz="1400"/>
              <a:t>, Head of Product, Digital </a:t>
            </a:r>
            <a:r>
              <a:rPr lang="it-IT" sz="1400" err="1"/>
              <a:t>Currency</a:t>
            </a:r>
            <a:r>
              <a:rPr lang="it-IT" sz="1400"/>
              <a:t> &amp; </a:t>
            </a:r>
            <a:r>
              <a:rPr lang="it-IT" sz="1400" err="1"/>
              <a:t>Stablecoin</a:t>
            </a:r>
            <a:r>
              <a:rPr lang="it-IT" sz="1400"/>
              <a:t>, </a:t>
            </a:r>
            <a:r>
              <a:rPr lang="it-IT" sz="1400" err="1"/>
              <a:t>Worldline</a:t>
            </a:r>
            <a:endParaRPr lang="it-IT" sz="1400"/>
          </a:p>
          <a:p>
            <a:pPr marL="173038" indent="-173038" algn="l">
              <a:lnSpc>
                <a:spcPct val="90000"/>
              </a:lnSpc>
              <a:spcBef>
                <a:spcPts val="400"/>
              </a:spcBef>
              <a:spcAft>
                <a:spcPts val="600"/>
              </a:spcAft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</a:pPr>
            <a:r>
              <a:rPr lang="it-IT" sz="1400" b="1"/>
              <a:t>Vincenzo Sibio</a:t>
            </a:r>
            <a:r>
              <a:rPr lang="it-IT" sz="1400"/>
              <a:t>, Head of Treasury, ITA Airways</a:t>
            </a:r>
          </a:p>
          <a:p>
            <a:pPr algn="l">
              <a:lnSpc>
                <a:spcPct val="90000"/>
              </a:lnSpc>
              <a:spcBef>
                <a:spcPts val="400"/>
              </a:spcBef>
              <a:spcAft>
                <a:spcPts val="1200"/>
              </a:spcAft>
              <a:buClr>
                <a:schemeClr val="tx2"/>
              </a:buClr>
              <a:buSzPct val="100000"/>
            </a:pPr>
            <a:r>
              <a:rPr lang="it-IT" sz="1400"/>
              <a:t>Modera: Enrico Ugoletti, Italy Financial Services Technology Strategy &amp; </a:t>
            </a:r>
            <a:r>
              <a:rPr lang="it-IT" sz="1400" err="1"/>
              <a:t>Transformation</a:t>
            </a:r>
            <a:r>
              <a:rPr lang="it-IT" sz="1400"/>
              <a:t> Leader, EY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AC2F103-7189-DF6D-C3F2-E1DA6C186E55}"/>
              </a:ext>
            </a:extLst>
          </p:cNvPr>
          <p:cNvCxnSpPr>
            <a:cxnSpLocks/>
          </p:cNvCxnSpPr>
          <p:nvPr/>
        </p:nvCxnSpPr>
        <p:spPr>
          <a:xfrm>
            <a:off x="485522" y="1970916"/>
            <a:ext cx="9900000" cy="0"/>
          </a:xfrm>
          <a:prstGeom prst="line">
            <a:avLst/>
          </a:prstGeom>
          <a:ln w="127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26A15FF-EA86-A183-D8D7-202CED46EACD}"/>
              </a:ext>
            </a:extLst>
          </p:cNvPr>
          <p:cNvCxnSpPr>
            <a:cxnSpLocks/>
          </p:cNvCxnSpPr>
          <p:nvPr/>
        </p:nvCxnSpPr>
        <p:spPr>
          <a:xfrm>
            <a:off x="485522" y="2869832"/>
            <a:ext cx="9900000" cy="0"/>
          </a:xfrm>
          <a:prstGeom prst="line">
            <a:avLst/>
          </a:prstGeom>
          <a:ln w="127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A74996F-A78A-09B8-FD2C-CF4BE2A25C9A}"/>
              </a:ext>
            </a:extLst>
          </p:cNvPr>
          <p:cNvCxnSpPr>
            <a:cxnSpLocks/>
          </p:cNvCxnSpPr>
          <p:nvPr/>
        </p:nvCxnSpPr>
        <p:spPr>
          <a:xfrm>
            <a:off x="485522" y="3768748"/>
            <a:ext cx="9900000" cy="0"/>
          </a:xfrm>
          <a:prstGeom prst="line">
            <a:avLst/>
          </a:prstGeom>
          <a:ln w="127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999949BA-9F9E-89CB-9ED4-6EDAE50606DE}"/>
              </a:ext>
            </a:extLst>
          </p:cNvPr>
          <p:cNvSpPr txBox="1"/>
          <p:nvPr/>
        </p:nvSpPr>
        <p:spPr>
          <a:xfrm>
            <a:off x="1955800" y="5859529"/>
            <a:ext cx="5410200" cy="230832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  <a:spcAft>
                <a:spcPts val="1200"/>
              </a:spcAft>
              <a:buClr>
                <a:schemeClr val="tx2"/>
              </a:buClr>
              <a:buSzPct val="100000"/>
            </a:pPr>
            <a:r>
              <a:rPr lang="it-IT" sz="1400">
                <a:solidFill>
                  <a:schemeClr val="tx2"/>
                </a:solidFill>
              </a:rPr>
              <a:t>Q&amp;A</a:t>
            </a:r>
            <a:endParaRPr lang="it-IT" sz="1400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9B79639-721E-823B-7421-296BDD99F275}"/>
              </a:ext>
            </a:extLst>
          </p:cNvPr>
          <p:cNvCxnSpPr>
            <a:cxnSpLocks/>
          </p:cNvCxnSpPr>
          <p:nvPr/>
        </p:nvCxnSpPr>
        <p:spPr>
          <a:xfrm>
            <a:off x="485522" y="5732529"/>
            <a:ext cx="9900000" cy="0"/>
          </a:xfrm>
          <a:prstGeom prst="line">
            <a:avLst/>
          </a:prstGeom>
          <a:ln w="127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1B88B238-7266-E17E-435B-C5D973767BA6}"/>
              </a:ext>
            </a:extLst>
          </p:cNvPr>
          <p:cNvSpPr txBox="1"/>
          <p:nvPr/>
        </p:nvSpPr>
        <p:spPr>
          <a:xfrm>
            <a:off x="485523" y="1206500"/>
            <a:ext cx="1332000" cy="230832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  <a:spcAft>
                <a:spcPts val="1200"/>
              </a:spcAft>
              <a:buClr>
                <a:schemeClr val="tx2"/>
              </a:buClr>
              <a:buSzPct val="100000"/>
            </a:pPr>
            <a:r>
              <a:rPr lang="en-US" sz="1400"/>
              <a:t>12:00-12:10</a:t>
            </a:r>
            <a:endParaRPr lang="it-IT" sz="140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2ED711C-E453-5CC0-F9F5-423015378858}"/>
              </a:ext>
            </a:extLst>
          </p:cNvPr>
          <p:cNvSpPr txBox="1"/>
          <p:nvPr/>
        </p:nvSpPr>
        <p:spPr>
          <a:xfrm>
            <a:off x="485523" y="2105416"/>
            <a:ext cx="1332000" cy="230832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  <a:spcAft>
                <a:spcPts val="1200"/>
              </a:spcAft>
              <a:buClr>
                <a:schemeClr val="tx2"/>
              </a:buClr>
              <a:buSzPct val="100000"/>
            </a:pPr>
            <a:r>
              <a:rPr lang="en-US" sz="1400"/>
              <a:t>12:10-12:20</a:t>
            </a:r>
            <a:endParaRPr lang="it-IT" sz="140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29DCF5C-7460-B704-02C5-0DCB32B901F0}"/>
              </a:ext>
            </a:extLst>
          </p:cNvPr>
          <p:cNvSpPr txBox="1"/>
          <p:nvPr/>
        </p:nvSpPr>
        <p:spPr>
          <a:xfrm>
            <a:off x="485523" y="3004332"/>
            <a:ext cx="1332000" cy="230832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  <a:spcAft>
                <a:spcPts val="1200"/>
              </a:spcAft>
              <a:buClr>
                <a:schemeClr val="tx2"/>
              </a:buClr>
              <a:buSzPct val="100000"/>
            </a:pPr>
            <a:r>
              <a:rPr lang="en-US" sz="1400"/>
              <a:t>12:20-12:30</a:t>
            </a:r>
            <a:endParaRPr lang="it-IT" sz="140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EA01D6A-CC5A-F5C0-F3CD-F6C20F6FEEE1}"/>
              </a:ext>
            </a:extLst>
          </p:cNvPr>
          <p:cNvSpPr txBox="1"/>
          <p:nvPr/>
        </p:nvSpPr>
        <p:spPr>
          <a:xfrm>
            <a:off x="485523" y="3903248"/>
            <a:ext cx="1332000" cy="230832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  <a:spcAft>
                <a:spcPts val="1200"/>
              </a:spcAft>
              <a:buClr>
                <a:schemeClr val="tx2"/>
              </a:buClr>
              <a:buSzPct val="100000"/>
            </a:pPr>
            <a:r>
              <a:rPr lang="en-US" sz="1400"/>
              <a:t>12:30-12:55</a:t>
            </a:r>
            <a:endParaRPr lang="it-IT" sz="140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3949CEC-756C-5945-3084-488FE65A4DBD}"/>
              </a:ext>
            </a:extLst>
          </p:cNvPr>
          <p:cNvSpPr txBox="1"/>
          <p:nvPr/>
        </p:nvSpPr>
        <p:spPr>
          <a:xfrm>
            <a:off x="485523" y="5859529"/>
            <a:ext cx="1332000" cy="230832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  <a:spcAft>
                <a:spcPts val="1200"/>
              </a:spcAft>
              <a:buClr>
                <a:schemeClr val="tx2"/>
              </a:buClr>
              <a:buSzPct val="100000"/>
            </a:pPr>
            <a:r>
              <a:rPr lang="en-US" sz="1400"/>
              <a:t>12:55-13:00</a:t>
            </a:r>
            <a:endParaRPr lang="it-IT" sz="1400"/>
          </a:p>
        </p:txBody>
      </p:sp>
    </p:spTree>
    <p:extLst>
      <p:ext uri="{BB962C8B-B14F-4D97-AF65-F5344CB8AC3E}">
        <p14:creationId xmlns:p14="http://schemas.microsoft.com/office/powerpoint/2010/main" val="130868005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DD60295-8997-D474-10C0-9897A1D329E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it-IT"/>
              <a:t>Le stablecoin e il futuro dei pagamenti digitali | Salone dei pagamenti | 30 ottobre 2025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1C0EA2-0E15-CA3F-525E-0A4AAB23153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20</a:t>
            </a:fld>
            <a:endParaRPr lang="en-GB"/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9B76C3C0-7337-4A72-FBDB-2D90032BADAB}"/>
              </a:ext>
            </a:extLst>
          </p:cNvPr>
          <p:cNvCxnSpPr>
            <a:cxnSpLocks/>
            <a:stCxn id="70" idx="0"/>
            <a:endCxn id="59" idx="4"/>
          </p:cNvCxnSpPr>
          <p:nvPr/>
        </p:nvCxnSpPr>
        <p:spPr>
          <a:xfrm flipV="1">
            <a:off x="10397027" y="2967645"/>
            <a:ext cx="0" cy="284609"/>
          </a:xfrm>
          <a:prstGeom prst="line">
            <a:avLst/>
          </a:prstGeom>
          <a:ln w="3175">
            <a:solidFill>
              <a:schemeClr val="tx2"/>
            </a:solidFill>
            <a:prstDash val="lg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DB0C3586-7949-D998-6BB6-A7B00AA22485}"/>
              </a:ext>
            </a:extLst>
          </p:cNvPr>
          <p:cNvCxnSpPr>
            <a:cxnSpLocks/>
            <a:stCxn id="67" idx="0"/>
            <a:endCxn id="60" idx="4"/>
          </p:cNvCxnSpPr>
          <p:nvPr/>
        </p:nvCxnSpPr>
        <p:spPr>
          <a:xfrm flipV="1">
            <a:off x="3787895" y="2967645"/>
            <a:ext cx="1" cy="284609"/>
          </a:xfrm>
          <a:prstGeom prst="line">
            <a:avLst/>
          </a:prstGeom>
          <a:ln w="3175">
            <a:solidFill>
              <a:schemeClr val="tx2"/>
            </a:solidFill>
            <a:prstDash val="lg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43FF0D6-778E-8FBF-B1DD-FE217C6EF306}"/>
              </a:ext>
            </a:extLst>
          </p:cNvPr>
          <p:cNvCxnSpPr>
            <a:cxnSpLocks/>
            <a:stCxn id="68" idx="0"/>
            <a:endCxn id="58" idx="4"/>
          </p:cNvCxnSpPr>
          <p:nvPr/>
        </p:nvCxnSpPr>
        <p:spPr>
          <a:xfrm flipV="1">
            <a:off x="5992548" y="3018721"/>
            <a:ext cx="0" cy="233533"/>
          </a:xfrm>
          <a:prstGeom prst="line">
            <a:avLst/>
          </a:prstGeom>
          <a:ln w="3175">
            <a:solidFill>
              <a:schemeClr val="tx2"/>
            </a:solidFill>
            <a:prstDash val="lg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A3DF725F-6236-8ABF-8206-1419793D67EF}"/>
              </a:ext>
            </a:extLst>
          </p:cNvPr>
          <p:cNvCxnSpPr>
            <a:cxnSpLocks/>
            <a:stCxn id="69" idx="0"/>
            <a:endCxn id="61" idx="4"/>
          </p:cNvCxnSpPr>
          <p:nvPr/>
        </p:nvCxnSpPr>
        <p:spPr>
          <a:xfrm flipV="1">
            <a:off x="8197200" y="2967645"/>
            <a:ext cx="0" cy="284609"/>
          </a:xfrm>
          <a:prstGeom prst="line">
            <a:avLst/>
          </a:prstGeom>
          <a:ln w="3175">
            <a:solidFill>
              <a:schemeClr val="tx2"/>
            </a:solidFill>
            <a:prstDash val="lg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CA6BE4F2-444F-3179-29B0-D22300CC4B10}"/>
              </a:ext>
            </a:extLst>
          </p:cNvPr>
          <p:cNvCxnSpPr>
            <a:cxnSpLocks/>
            <a:endCxn id="66" idx="0"/>
          </p:cNvCxnSpPr>
          <p:nvPr/>
        </p:nvCxnSpPr>
        <p:spPr>
          <a:xfrm>
            <a:off x="1588069" y="3061429"/>
            <a:ext cx="0" cy="284609"/>
          </a:xfrm>
          <a:prstGeom prst="line">
            <a:avLst/>
          </a:prstGeom>
          <a:ln w="3175">
            <a:solidFill>
              <a:schemeClr val="tx2"/>
            </a:solidFill>
            <a:prstDash val="lg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itle 5">
            <a:extLst>
              <a:ext uri="{FF2B5EF4-FFF2-40B4-BE49-F238E27FC236}">
                <a16:creationId xmlns:a16="http://schemas.microsoft.com/office/drawing/2014/main" id="{A32F79A1-FFE9-5C39-6396-3D5AFE7D6E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69888"/>
            <a:ext cx="11329106" cy="451470"/>
          </a:xfr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 sz="2400">
                <a:latin typeface="+mn-lt"/>
              </a:rPr>
              <a:t>L’esperienza EY nei pagamenti tramite </a:t>
            </a:r>
            <a:r>
              <a:rPr lang="it-IT" sz="2400" err="1">
                <a:latin typeface="+mn-lt"/>
              </a:rPr>
              <a:t>Stablecoin</a:t>
            </a:r>
            <a:endParaRPr lang="it-IT" sz="2400">
              <a:latin typeface="+mn-lt"/>
            </a:endParaRPr>
          </a:p>
        </p:txBody>
      </p:sp>
      <p:sp>
        <p:nvSpPr>
          <p:cNvPr id="53" name="Flowchart: Process 140">
            <a:extLst>
              <a:ext uri="{FF2B5EF4-FFF2-40B4-BE49-F238E27FC236}">
                <a16:creationId xmlns:a16="http://schemas.microsoft.com/office/drawing/2014/main" id="{57AA3585-BE93-2AFA-9430-CFF2CF1E3EAB}"/>
              </a:ext>
            </a:extLst>
          </p:cNvPr>
          <p:cNvSpPr/>
          <p:nvPr/>
        </p:nvSpPr>
        <p:spPr>
          <a:xfrm>
            <a:off x="485522" y="780873"/>
            <a:ext cx="11224347" cy="651457"/>
          </a:xfrm>
          <a:prstGeom prst="flowChartProcess">
            <a:avLst/>
          </a:prstGeom>
          <a:noFill/>
          <a:ln w="9525" cap="flat" cmpd="sng" algn="ctr">
            <a:noFill/>
            <a:prstDash val="solid"/>
          </a:ln>
          <a:effectLst>
            <a:innerShdw blurRad="114300">
              <a:prstClr val="black"/>
            </a:innerShdw>
            <a:softEdge rad="63500"/>
          </a:effectLst>
        </p:spPr>
        <p:txBody>
          <a:bodyPr lIns="0" tIns="180000" rIns="180000" bIns="10800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tabLst/>
              <a:defRPr/>
            </a:pP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EY ha </a:t>
            </a:r>
            <a:r>
              <a:rPr lang="it-IT" sz="1600">
                <a:solidFill>
                  <a:prstClr val="white"/>
                </a:solidFill>
              </a:rPr>
              <a:t>supportato lo 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sviluppato di una soluzione di incasso fatture di PayPal 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utilizzando la </a:t>
            </a:r>
            <a:r>
              <a:rPr kumimoji="0" lang="it-IT" sz="1600" b="0" i="0" u="none" strike="noStrike" kern="1200" cap="none" spc="0" normalizeH="0" baseline="0" noProof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stablecoin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 PYUSD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, basata su </a:t>
            </a:r>
            <a:r>
              <a:rPr kumimoji="0" lang="it-IT" sz="16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Ethereum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, tramite </a:t>
            </a:r>
            <a:r>
              <a:rPr lang="it-IT" sz="1600">
                <a:solidFill>
                  <a:prstClr val="white"/>
                </a:solidFill>
              </a:rPr>
              <a:t>il 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prodotto Digital </a:t>
            </a:r>
            <a:r>
              <a:rPr kumimoji="0" lang="it-IT" sz="1600" b="0" i="0" u="none" strike="noStrike" kern="1200" cap="none" spc="0" normalizeH="0" baseline="0" noProof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Currency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 Hub 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di SAP, per dimostrare le possibilità di utilizzo delle tecnologie di pagamento su blockchain anche in ambito business</a:t>
            </a:r>
          </a:p>
        </p:txBody>
      </p:sp>
      <p:cxnSp>
        <p:nvCxnSpPr>
          <p:cNvPr id="54" name="Straight Connector 6">
            <a:extLst>
              <a:ext uri="{FF2B5EF4-FFF2-40B4-BE49-F238E27FC236}">
                <a16:creationId xmlns:a16="http://schemas.microsoft.com/office/drawing/2014/main" id="{E8581377-02E4-B0F9-68CF-89A3F708FBAD}"/>
              </a:ext>
            </a:extLst>
          </p:cNvPr>
          <p:cNvCxnSpPr/>
          <p:nvPr/>
        </p:nvCxnSpPr>
        <p:spPr>
          <a:xfrm flipV="1">
            <a:off x="2681438" y="2217048"/>
            <a:ext cx="1" cy="104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tailEnd type="none"/>
          </a:ln>
          <a:effectLst/>
        </p:spPr>
      </p:cxnSp>
      <p:cxnSp>
        <p:nvCxnSpPr>
          <p:cNvPr id="55" name="Straight Connector 10">
            <a:extLst>
              <a:ext uri="{FF2B5EF4-FFF2-40B4-BE49-F238E27FC236}">
                <a16:creationId xmlns:a16="http://schemas.microsoft.com/office/drawing/2014/main" id="{D9CDED50-4C6C-2730-5525-B6D244464FC5}"/>
              </a:ext>
            </a:extLst>
          </p:cNvPr>
          <p:cNvCxnSpPr/>
          <p:nvPr/>
        </p:nvCxnSpPr>
        <p:spPr>
          <a:xfrm flipV="1">
            <a:off x="4327871" y="2591786"/>
            <a:ext cx="1" cy="104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tailEnd type="none"/>
          </a:ln>
          <a:effectLst/>
        </p:spPr>
      </p:cxnSp>
      <p:cxnSp>
        <p:nvCxnSpPr>
          <p:cNvPr id="56" name="Straight Connector 12">
            <a:extLst>
              <a:ext uri="{FF2B5EF4-FFF2-40B4-BE49-F238E27FC236}">
                <a16:creationId xmlns:a16="http://schemas.microsoft.com/office/drawing/2014/main" id="{E56A8C96-CA76-E3B0-5D86-C78D410F54A1}"/>
              </a:ext>
            </a:extLst>
          </p:cNvPr>
          <p:cNvCxnSpPr/>
          <p:nvPr/>
        </p:nvCxnSpPr>
        <p:spPr>
          <a:xfrm flipV="1">
            <a:off x="6908800" y="2827303"/>
            <a:ext cx="1" cy="104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tailEnd type="none"/>
          </a:ln>
          <a:effectLst/>
        </p:spPr>
      </p:cxnSp>
      <p:cxnSp>
        <p:nvCxnSpPr>
          <p:cNvPr id="57" name="Straight Connector 11">
            <a:extLst>
              <a:ext uri="{FF2B5EF4-FFF2-40B4-BE49-F238E27FC236}">
                <a16:creationId xmlns:a16="http://schemas.microsoft.com/office/drawing/2014/main" id="{6DBCEB5F-C8E3-6E66-E44E-B940483A4EBB}"/>
              </a:ext>
            </a:extLst>
          </p:cNvPr>
          <p:cNvCxnSpPr/>
          <p:nvPr/>
        </p:nvCxnSpPr>
        <p:spPr>
          <a:xfrm flipV="1">
            <a:off x="10251367" y="2669203"/>
            <a:ext cx="1" cy="104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tailEnd type="none"/>
          </a:ln>
          <a:effectLst/>
        </p:spPr>
      </p:cxnSp>
      <p:pic>
        <p:nvPicPr>
          <p:cNvPr id="58" name="Picture 4">
            <a:extLst>
              <a:ext uri="{FF2B5EF4-FFF2-40B4-BE49-F238E27FC236}">
                <a16:creationId xmlns:a16="http://schemas.microsoft.com/office/drawing/2014/main" id="{D802D5B5-1518-143E-AF89-7A240E4A53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92" r="22792"/>
          <a:stretch/>
        </p:blipFill>
        <p:spPr bwMode="auto">
          <a:xfrm>
            <a:off x="5444110" y="1895045"/>
            <a:ext cx="1096875" cy="1123676"/>
          </a:xfrm>
          <a:prstGeom prst="ellipse">
            <a:avLst/>
          </a:prstGeom>
          <a:noFill/>
          <a:ln w="28575">
            <a:solidFill>
              <a:srgbClr val="36414C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4">
            <a:extLst>
              <a:ext uri="{FF2B5EF4-FFF2-40B4-BE49-F238E27FC236}">
                <a16:creationId xmlns:a16="http://schemas.microsoft.com/office/drawing/2014/main" id="{8D48E97F-4ECB-43A3-D884-4E850151DA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23" r="14523"/>
          <a:stretch/>
        </p:blipFill>
        <p:spPr bwMode="auto">
          <a:xfrm>
            <a:off x="9853414" y="1946121"/>
            <a:ext cx="1087225" cy="1021524"/>
          </a:xfrm>
          <a:prstGeom prst="ellipse">
            <a:avLst/>
          </a:prstGeom>
          <a:noFill/>
          <a:ln w="28575">
            <a:solidFill>
              <a:srgbClr val="36414C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4">
            <a:extLst>
              <a:ext uri="{FF2B5EF4-FFF2-40B4-BE49-F238E27FC236}">
                <a16:creationId xmlns:a16="http://schemas.microsoft.com/office/drawing/2014/main" id="{156C73EA-1667-DEE6-C75E-DBBA7F88F1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76" r="7376"/>
          <a:stretch/>
        </p:blipFill>
        <p:spPr bwMode="auto">
          <a:xfrm>
            <a:off x="3244283" y="1946121"/>
            <a:ext cx="1087225" cy="1021524"/>
          </a:xfrm>
          <a:prstGeom prst="ellipse">
            <a:avLst/>
          </a:prstGeom>
          <a:noFill/>
          <a:ln w="28575">
            <a:solidFill>
              <a:srgbClr val="36414C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4">
            <a:extLst>
              <a:ext uri="{FF2B5EF4-FFF2-40B4-BE49-F238E27FC236}">
                <a16:creationId xmlns:a16="http://schemas.microsoft.com/office/drawing/2014/main" id="{589BE0DF-39DF-C418-6BD1-7F62211CAC2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-2762" r="13882" b="2762"/>
          <a:stretch>
            <a:fillRect/>
          </a:stretch>
        </p:blipFill>
        <p:spPr bwMode="auto">
          <a:xfrm>
            <a:off x="7653587" y="1946121"/>
            <a:ext cx="1087225" cy="1021524"/>
          </a:xfrm>
          <a:prstGeom prst="ellipse">
            <a:avLst/>
          </a:prstGeom>
          <a:noFill/>
          <a:ln w="28575">
            <a:solidFill>
              <a:srgbClr val="36414C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2" name="Group 61">
            <a:extLst>
              <a:ext uri="{FF2B5EF4-FFF2-40B4-BE49-F238E27FC236}">
                <a16:creationId xmlns:a16="http://schemas.microsoft.com/office/drawing/2014/main" id="{227ECAB8-29E1-D393-8A6F-514AB3DB7AC1}"/>
              </a:ext>
            </a:extLst>
          </p:cNvPr>
          <p:cNvGrpSpPr/>
          <p:nvPr/>
        </p:nvGrpSpPr>
        <p:grpSpPr>
          <a:xfrm>
            <a:off x="1044456" y="1946121"/>
            <a:ext cx="1087225" cy="1021524"/>
            <a:chOff x="1790763" y="2165733"/>
            <a:chExt cx="1087225" cy="1021524"/>
          </a:xfrm>
        </p:grpSpPr>
        <p:pic>
          <p:nvPicPr>
            <p:cNvPr id="63" name="Picture 4">
              <a:extLst>
                <a:ext uri="{FF2B5EF4-FFF2-40B4-BE49-F238E27FC236}">
                  <a16:creationId xmlns:a16="http://schemas.microsoft.com/office/drawing/2014/main" id="{8B91408C-5D56-7840-8285-D7123B07F71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523" r="14523"/>
            <a:stretch/>
          </p:blipFill>
          <p:spPr bwMode="auto">
            <a:xfrm>
              <a:off x="1790763" y="2165733"/>
              <a:ext cx="1087225" cy="1021524"/>
            </a:xfrm>
            <a:prstGeom prst="ellipse">
              <a:avLst/>
            </a:prstGeom>
            <a:noFill/>
            <a:ln w="28575">
              <a:solidFill>
                <a:srgbClr val="36414C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4" name="Picture 63">
              <a:extLst>
                <a:ext uri="{FF2B5EF4-FFF2-40B4-BE49-F238E27FC236}">
                  <a16:creationId xmlns:a16="http://schemas.microsoft.com/office/drawing/2014/main" id="{22C1CB52-F404-DA39-E41C-033FA8192E4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487701" y="2407627"/>
              <a:ext cx="149729" cy="149729"/>
            </a:xfrm>
            <a:prstGeom prst="rect">
              <a:avLst/>
            </a:prstGeom>
          </p:spPr>
        </p:pic>
      </p:grpSp>
      <p:sp>
        <p:nvSpPr>
          <p:cNvPr id="65" name="Arrow: Pentagon 36">
            <a:extLst>
              <a:ext uri="{FF2B5EF4-FFF2-40B4-BE49-F238E27FC236}">
                <a16:creationId xmlns:a16="http://schemas.microsoft.com/office/drawing/2014/main" id="{B5FD39DC-5428-56B5-547D-A08DCC3DF1B6}"/>
              </a:ext>
            </a:extLst>
          </p:cNvPr>
          <p:cNvSpPr/>
          <p:nvPr/>
        </p:nvSpPr>
        <p:spPr>
          <a:xfrm>
            <a:off x="652545" y="3380873"/>
            <a:ext cx="10964336" cy="111257"/>
          </a:xfrm>
          <a:prstGeom prst="homePlate">
            <a:avLst/>
          </a:prstGeom>
          <a:solidFill>
            <a:schemeClr val="tx2">
              <a:alpha val="40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t" anchorCtr="0"/>
          <a:lstStyle/>
          <a:p>
            <a:pPr marL="252000" marR="0" indent="-252000" algn="l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  <a:buSzTx/>
              <a:buFont typeface="Wingdings" pitchFamily="2" charset="2"/>
              <a:buChar char="§"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1A1A24"/>
              </a:solidFill>
              <a:effectLst/>
              <a:uLnTx/>
              <a:uFillTx/>
            </a:endParaRPr>
          </a:p>
        </p:txBody>
      </p:sp>
      <p:sp>
        <p:nvSpPr>
          <p:cNvPr id="66" name="Diamond 65">
            <a:extLst>
              <a:ext uri="{FF2B5EF4-FFF2-40B4-BE49-F238E27FC236}">
                <a16:creationId xmlns:a16="http://schemas.microsoft.com/office/drawing/2014/main" id="{51709438-2DE1-A302-48E3-66433456CE9E}"/>
              </a:ext>
            </a:extLst>
          </p:cNvPr>
          <p:cNvSpPr/>
          <p:nvPr/>
        </p:nvSpPr>
        <p:spPr>
          <a:xfrm>
            <a:off x="1428531" y="3252254"/>
            <a:ext cx="319075" cy="319075"/>
          </a:xfrm>
          <a:prstGeom prst="diamond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108000" rIns="108000" bIns="108000" rtlCol="0" anchor="t" anchorCtr="0"/>
          <a:lstStyle/>
          <a:p>
            <a:pPr marL="252000" marR="0" indent="-252000" algn="l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  <a:buSzTx/>
              <a:buFont typeface="Wingdings" pitchFamily="2" charset="2"/>
              <a:buChar char="§"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1A1A24"/>
              </a:solidFill>
              <a:effectLst/>
              <a:uLnTx/>
              <a:uFillTx/>
            </a:endParaRPr>
          </a:p>
        </p:txBody>
      </p:sp>
      <p:sp>
        <p:nvSpPr>
          <p:cNvPr id="67" name="Diamond 66">
            <a:extLst>
              <a:ext uri="{FF2B5EF4-FFF2-40B4-BE49-F238E27FC236}">
                <a16:creationId xmlns:a16="http://schemas.microsoft.com/office/drawing/2014/main" id="{4833476B-ACEE-22C4-D7F6-5EC9E38A9840}"/>
              </a:ext>
            </a:extLst>
          </p:cNvPr>
          <p:cNvSpPr/>
          <p:nvPr/>
        </p:nvSpPr>
        <p:spPr>
          <a:xfrm>
            <a:off x="3628357" y="3252254"/>
            <a:ext cx="319075" cy="319075"/>
          </a:xfrm>
          <a:prstGeom prst="diamond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108000" rIns="108000" bIns="108000" rtlCol="0" anchor="t" anchorCtr="0"/>
          <a:lstStyle/>
          <a:p>
            <a:pPr marL="252000" marR="0" indent="-252000" algn="l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  <a:buSzTx/>
              <a:buFont typeface="Wingdings" pitchFamily="2" charset="2"/>
              <a:buChar char="§"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1A1A24"/>
              </a:solidFill>
              <a:effectLst/>
              <a:uLnTx/>
              <a:uFillTx/>
            </a:endParaRPr>
          </a:p>
        </p:txBody>
      </p:sp>
      <p:sp>
        <p:nvSpPr>
          <p:cNvPr id="68" name="Diamond 67">
            <a:extLst>
              <a:ext uri="{FF2B5EF4-FFF2-40B4-BE49-F238E27FC236}">
                <a16:creationId xmlns:a16="http://schemas.microsoft.com/office/drawing/2014/main" id="{4DA14A2D-98FA-4A00-E20E-0E732229D166}"/>
              </a:ext>
            </a:extLst>
          </p:cNvPr>
          <p:cNvSpPr/>
          <p:nvPr/>
        </p:nvSpPr>
        <p:spPr>
          <a:xfrm>
            <a:off x="5833010" y="3252254"/>
            <a:ext cx="319075" cy="319075"/>
          </a:xfrm>
          <a:prstGeom prst="diamond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108000" rIns="108000" bIns="108000" rtlCol="0" anchor="t" anchorCtr="0"/>
          <a:lstStyle/>
          <a:p>
            <a:pPr marL="252000" marR="0" indent="-252000" algn="l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  <a:buSzTx/>
              <a:buFont typeface="Wingdings" pitchFamily="2" charset="2"/>
              <a:buChar char="§"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1A1A24"/>
              </a:solidFill>
              <a:effectLst/>
              <a:uLnTx/>
              <a:uFillTx/>
            </a:endParaRPr>
          </a:p>
        </p:txBody>
      </p:sp>
      <p:sp>
        <p:nvSpPr>
          <p:cNvPr id="69" name="Diamond 68">
            <a:extLst>
              <a:ext uri="{FF2B5EF4-FFF2-40B4-BE49-F238E27FC236}">
                <a16:creationId xmlns:a16="http://schemas.microsoft.com/office/drawing/2014/main" id="{CE3677FD-1C06-97B2-6288-E8B06017C3C9}"/>
              </a:ext>
            </a:extLst>
          </p:cNvPr>
          <p:cNvSpPr/>
          <p:nvPr/>
        </p:nvSpPr>
        <p:spPr>
          <a:xfrm>
            <a:off x="8037662" y="3252254"/>
            <a:ext cx="319075" cy="319075"/>
          </a:xfrm>
          <a:prstGeom prst="diamond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108000" rIns="108000" bIns="108000" rtlCol="0" anchor="t" anchorCtr="0"/>
          <a:lstStyle/>
          <a:p>
            <a:pPr marL="252000" marR="0" indent="-252000" algn="l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  <a:buSzTx/>
              <a:buFont typeface="Wingdings" pitchFamily="2" charset="2"/>
              <a:buChar char="§"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1A1A24"/>
              </a:solidFill>
              <a:effectLst/>
              <a:uLnTx/>
              <a:uFillTx/>
            </a:endParaRPr>
          </a:p>
        </p:txBody>
      </p:sp>
      <p:sp>
        <p:nvSpPr>
          <p:cNvPr id="70" name="Diamond 69">
            <a:extLst>
              <a:ext uri="{FF2B5EF4-FFF2-40B4-BE49-F238E27FC236}">
                <a16:creationId xmlns:a16="http://schemas.microsoft.com/office/drawing/2014/main" id="{F1ACA342-1519-8CF5-5301-5664D58ED363}"/>
              </a:ext>
            </a:extLst>
          </p:cNvPr>
          <p:cNvSpPr/>
          <p:nvPr/>
        </p:nvSpPr>
        <p:spPr>
          <a:xfrm>
            <a:off x="10237489" y="3252254"/>
            <a:ext cx="319075" cy="319075"/>
          </a:xfrm>
          <a:prstGeom prst="diamond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108000" rIns="108000" bIns="108000" rtlCol="0" anchor="t" anchorCtr="0"/>
          <a:lstStyle/>
          <a:p>
            <a:pPr marL="252000" marR="0" indent="-252000" algn="l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  <a:buSzTx/>
              <a:buFont typeface="Wingdings" pitchFamily="2" charset="2"/>
              <a:buChar char="§"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1A1A24"/>
              </a:solidFill>
              <a:effectLst/>
              <a:uLnTx/>
              <a:uFillTx/>
            </a:endParaRPr>
          </a:p>
        </p:txBody>
      </p:sp>
      <p:sp>
        <p:nvSpPr>
          <p:cNvPr id="71" name="Rounded Rectangle 42">
            <a:extLst>
              <a:ext uri="{FF2B5EF4-FFF2-40B4-BE49-F238E27FC236}">
                <a16:creationId xmlns:a16="http://schemas.microsoft.com/office/drawing/2014/main" id="{141FEE19-08E1-DA90-8A89-07379DF67357}"/>
              </a:ext>
            </a:extLst>
          </p:cNvPr>
          <p:cNvSpPr/>
          <p:nvPr/>
        </p:nvSpPr>
        <p:spPr>
          <a:xfrm>
            <a:off x="479425" y="4839021"/>
            <a:ext cx="11233150" cy="1373429"/>
          </a:xfrm>
          <a:prstGeom prst="roundRect">
            <a:avLst>
              <a:gd name="adj" fmla="val 0"/>
            </a:avLst>
          </a:prstGeom>
          <a:solidFill>
            <a:schemeClr val="tx2">
              <a:alpha val="10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108000" rIns="108000" bIns="108000" rtlCol="0" anchor="t" anchorCtr="0"/>
          <a:lstStyle/>
          <a:p>
            <a:pPr marL="252000" marR="0" indent="-252000" algn="l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  <a:buSzTx/>
              <a:buFont typeface="Wingdings" pitchFamily="2" charset="2"/>
              <a:buChar char="§"/>
              <a:tabLst/>
            </a:pPr>
            <a:endParaRPr kumimoji="0" lang="it-IT" sz="20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72C2B093-0C95-24FC-487F-4AB5282F411C}"/>
              </a:ext>
            </a:extLst>
          </p:cNvPr>
          <p:cNvGrpSpPr/>
          <p:nvPr/>
        </p:nvGrpSpPr>
        <p:grpSpPr>
          <a:xfrm>
            <a:off x="3558597" y="4942584"/>
            <a:ext cx="1996364" cy="1079215"/>
            <a:chOff x="1905231" y="4986128"/>
            <a:chExt cx="1996364" cy="1079215"/>
          </a:xfrm>
        </p:grpSpPr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A315745A-3883-6FDF-09B6-E1375121F723}"/>
                </a:ext>
              </a:extLst>
            </p:cNvPr>
            <p:cNvSpPr txBox="1"/>
            <p:nvPr/>
          </p:nvSpPr>
          <p:spPr>
            <a:xfrm>
              <a:off x="1905231" y="5662156"/>
              <a:ext cx="1996364" cy="403187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kumimoji="0" lang="it-IT" sz="1400" b="1" i="0" u="none" strike="noStrike" kern="1200" cap="none" spc="0" normalizeH="0" baseline="0" noProof="0">
                  <a:ln>
                    <a:noFill/>
                  </a:ln>
                  <a:solidFill>
                    <a:srgbClr val="FFEB32"/>
                  </a:solidFill>
                  <a:effectLst/>
                  <a:uLnTx/>
                  <a:uFillTx/>
                  <a:ea typeface="+mn-ea"/>
                  <a:cs typeface="+mn-cs"/>
                </a:rPr>
                <a:t>Riduzione dei costi</a:t>
              </a:r>
              <a:r>
                <a:rPr kumimoji="0" lang="it-IT" sz="14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di transazione</a:t>
              </a: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CE4D114A-EDDD-F18D-6F44-209D4D3EDE07}"/>
                </a:ext>
              </a:extLst>
            </p:cNvPr>
            <p:cNvSpPr/>
            <p:nvPr/>
          </p:nvSpPr>
          <p:spPr>
            <a:xfrm>
              <a:off x="2631135" y="4986128"/>
              <a:ext cx="593125" cy="603504"/>
            </a:xfrm>
            <a:prstGeom prst="ellipse">
              <a:avLst/>
            </a:prstGeom>
            <a:solidFill>
              <a:srgbClr val="FFE700"/>
            </a:solidFill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108000" tIns="108000" rIns="108000" bIns="108000" rtlCol="0" anchor="t" anchorCtr="0"/>
            <a:lstStyle/>
            <a:p>
              <a:pPr marL="252000" marR="0" indent="-252000" algn="l" defTabSz="91440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FFE600"/>
                </a:buClr>
                <a:buSzTx/>
                <a:buFont typeface="Wingdings" pitchFamily="2" charset="2"/>
                <a:buChar char="§"/>
                <a:tabLst/>
              </a:pPr>
              <a:endParaRPr kumimoji="0" lang="en-US" sz="2000" b="0" i="0" u="none" strike="noStrike" kern="0" cap="none" spc="0" normalizeH="0" baseline="0" noProof="0" err="1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pic>
          <p:nvPicPr>
            <p:cNvPr id="74" name="Picture 73">
              <a:extLst>
                <a:ext uri="{FF2B5EF4-FFF2-40B4-BE49-F238E27FC236}">
                  <a16:creationId xmlns:a16="http://schemas.microsoft.com/office/drawing/2014/main" id="{51B22DEC-AA7C-4A97-DD16-BDF8DF37D65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713440" y="5062144"/>
              <a:ext cx="451471" cy="451471"/>
            </a:xfrm>
            <a:prstGeom prst="rect">
              <a:avLst/>
            </a:prstGeom>
          </p:spPr>
        </p:pic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DD8B0137-1433-C712-ECB1-706B8972B19B}"/>
              </a:ext>
            </a:extLst>
          </p:cNvPr>
          <p:cNvGrpSpPr/>
          <p:nvPr/>
        </p:nvGrpSpPr>
        <p:grpSpPr>
          <a:xfrm>
            <a:off x="6037651" y="4936873"/>
            <a:ext cx="1996364" cy="1090637"/>
            <a:chOff x="5304421" y="4980417"/>
            <a:chExt cx="1996364" cy="1090637"/>
          </a:xfrm>
        </p:grpSpPr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20941C4E-7052-0C6A-6C89-3BBADC0953D7}"/>
                </a:ext>
              </a:extLst>
            </p:cNvPr>
            <p:cNvSpPr txBox="1"/>
            <p:nvPr/>
          </p:nvSpPr>
          <p:spPr>
            <a:xfrm>
              <a:off x="5304421" y="5667867"/>
              <a:ext cx="1996364" cy="403187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lang="it-IT" sz="1400" b="1"/>
                <a:t>Disponibilità</a:t>
              </a:r>
              <a:br>
                <a:rPr lang="it-IT" sz="1400" b="1"/>
              </a:br>
              <a:r>
                <a:rPr kumimoji="0" lang="it-IT" sz="1400" b="1" i="0" u="none" strike="noStrike" kern="1200" cap="none" spc="0" normalizeH="0" baseline="0" noProof="0">
                  <a:ln>
                    <a:noFill/>
                  </a:ln>
                  <a:solidFill>
                    <a:srgbClr val="FFEB32"/>
                  </a:solidFill>
                  <a:effectLst/>
                  <a:uLnTx/>
                  <a:uFillTx/>
                  <a:ea typeface="+mn-ea"/>
                  <a:cs typeface="+mn-cs"/>
                </a:rPr>
                <a:t>24-7</a:t>
              </a:r>
              <a:r>
                <a:rPr kumimoji="0" lang="it-IT" sz="14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</a:t>
              </a: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75FB49C8-38AD-DA3C-D19C-E7CD96229B52}"/>
                </a:ext>
              </a:extLst>
            </p:cNvPr>
            <p:cNvSpPr/>
            <p:nvPr/>
          </p:nvSpPr>
          <p:spPr>
            <a:xfrm>
              <a:off x="5986780" y="4980417"/>
              <a:ext cx="593125" cy="603504"/>
            </a:xfrm>
            <a:prstGeom prst="ellipse">
              <a:avLst/>
            </a:prstGeom>
            <a:solidFill>
              <a:srgbClr val="FFE700"/>
            </a:solidFill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108000" tIns="108000" rIns="108000" bIns="108000" rtlCol="0" anchor="t" anchorCtr="0"/>
            <a:lstStyle/>
            <a:p>
              <a:pPr marL="252000" marR="0" indent="-252000" algn="l" defTabSz="91440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FFE600"/>
                </a:buClr>
                <a:buSzTx/>
                <a:buFont typeface="Wingdings" pitchFamily="2" charset="2"/>
                <a:buChar char="§"/>
                <a:tabLst/>
              </a:pPr>
              <a:endParaRPr kumimoji="0" lang="en-US" sz="2000" b="0" i="0" u="none" strike="noStrike" kern="0" cap="none" spc="0" normalizeH="0" baseline="0" noProof="0" err="1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pic>
          <p:nvPicPr>
            <p:cNvPr id="77" name="Picture 76">
              <a:extLst>
                <a:ext uri="{FF2B5EF4-FFF2-40B4-BE49-F238E27FC236}">
                  <a16:creationId xmlns:a16="http://schemas.microsoft.com/office/drawing/2014/main" id="{E069F9D3-5C3D-F38C-93C4-4E6EBFE45A4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040180" y="5063291"/>
              <a:ext cx="437756" cy="437756"/>
            </a:xfrm>
            <a:prstGeom prst="rect">
              <a:avLst/>
            </a:prstGeom>
          </p:spPr>
        </p:pic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393E5708-96BD-1E69-50CF-1E29A4B550CD}"/>
              </a:ext>
            </a:extLst>
          </p:cNvPr>
          <p:cNvGrpSpPr/>
          <p:nvPr/>
        </p:nvGrpSpPr>
        <p:grpSpPr>
          <a:xfrm>
            <a:off x="8516705" y="4948850"/>
            <a:ext cx="2196000" cy="1066682"/>
            <a:chOff x="8516705" y="4992394"/>
            <a:chExt cx="2196000" cy="1066682"/>
          </a:xfrm>
        </p:grpSpPr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0ADE7A48-E75B-59D3-ED14-222B089FFFBA}"/>
                </a:ext>
              </a:extLst>
            </p:cNvPr>
            <p:cNvSpPr txBox="1"/>
            <p:nvPr/>
          </p:nvSpPr>
          <p:spPr>
            <a:xfrm>
              <a:off x="8516705" y="5655889"/>
              <a:ext cx="2196000" cy="403187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kumimoji="0" lang="it-IT" sz="14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Pagamenti </a:t>
              </a:r>
              <a:r>
                <a:rPr lang="it-IT" sz="1400" b="1">
                  <a:solidFill>
                    <a:srgbClr val="FFEB32"/>
                  </a:solidFill>
                </a:rPr>
                <a:t>cross-</a:t>
              </a:r>
              <a:r>
                <a:rPr lang="it-IT" sz="1400" b="1" err="1">
                  <a:solidFill>
                    <a:srgbClr val="FFEB32"/>
                  </a:solidFill>
                </a:rPr>
                <a:t>border</a:t>
              </a:r>
              <a:r>
                <a:rPr kumimoji="0" lang="it-IT" sz="14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lang="it-IT" sz="1400" b="1"/>
                <a:t>disintermediati</a:t>
              </a:r>
              <a:endParaRPr kumimoji="0" lang="it-IT" sz="1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A78FC9C4-C991-D3DB-B658-565D02317053}"/>
                </a:ext>
              </a:extLst>
            </p:cNvPr>
            <p:cNvSpPr/>
            <p:nvPr/>
          </p:nvSpPr>
          <p:spPr>
            <a:xfrm>
              <a:off x="9338964" y="4992394"/>
              <a:ext cx="593125" cy="603504"/>
            </a:xfrm>
            <a:prstGeom prst="ellipse">
              <a:avLst/>
            </a:prstGeom>
            <a:solidFill>
              <a:srgbClr val="FFE700"/>
            </a:solidFill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108000" tIns="108000" rIns="108000" bIns="108000" rtlCol="0" anchor="t" anchorCtr="0"/>
            <a:lstStyle/>
            <a:p>
              <a:pPr marL="252000" marR="0" indent="-252000" algn="l" defTabSz="91440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FFE600"/>
                </a:buClr>
                <a:buSzTx/>
                <a:buFont typeface="Wingdings" pitchFamily="2" charset="2"/>
                <a:buChar char="§"/>
                <a:tabLst/>
              </a:pPr>
              <a:endParaRPr kumimoji="0" lang="en-US" sz="2000" b="0" i="0" u="none" strike="noStrike" kern="0" cap="none" spc="0" normalizeH="0" baseline="0" noProof="0" err="1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pic>
          <p:nvPicPr>
            <p:cNvPr id="80" name="Picture 79">
              <a:extLst>
                <a:ext uri="{FF2B5EF4-FFF2-40B4-BE49-F238E27FC236}">
                  <a16:creationId xmlns:a16="http://schemas.microsoft.com/office/drawing/2014/main" id="{46D999EB-82C4-73FC-797F-49BC4FA1D47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421269" y="5083464"/>
              <a:ext cx="451470" cy="451470"/>
            </a:xfrm>
            <a:prstGeom prst="rect">
              <a:avLst/>
            </a:prstGeom>
          </p:spPr>
        </p:pic>
      </p:grpSp>
      <p:sp>
        <p:nvSpPr>
          <p:cNvPr id="81" name="TextBox 80">
            <a:extLst>
              <a:ext uri="{FF2B5EF4-FFF2-40B4-BE49-F238E27FC236}">
                <a16:creationId xmlns:a16="http://schemas.microsoft.com/office/drawing/2014/main" id="{E74E1945-107C-E35E-12F7-E38347C83CDF}"/>
              </a:ext>
            </a:extLst>
          </p:cNvPr>
          <p:cNvSpPr txBox="1"/>
          <p:nvPr/>
        </p:nvSpPr>
        <p:spPr>
          <a:xfrm>
            <a:off x="1607016" y="3712872"/>
            <a:ext cx="1106424" cy="468590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lang="it-IT" sz="1100">
                <a:solidFill>
                  <a:schemeClr val="tx1">
                    <a:lumMod val="75000"/>
                  </a:schemeClr>
                </a:solidFill>
              </a:rPr>
              <a:t>Emissione delle </a:t>
            </a:r>
            <a:r>
              <a:rPr kumimoji="0" lang="it-IT" sz="110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fattura da EY a PayPal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4258A860-E0FA-77F3-BBBA-6DAD1AFE5D88}"/>
              </a:ext>
            </a:extLst>
          </p:cNvPr>
          <p:cNvSpPr txBox="1"/>
          <p:nvPr/>
        </p:nvSpPr>
        <p:spPr>
          <a:xfrm>
            <a:off x="3746826" y="3712872"/>
            <a:ext cx="1808135" cy="468590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lvl="0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  <a:defRPr/>
            </a:pPr>
            <a:r>
              <a:rPr lang="it-IT" sz="1100">
                <a:solidFill>
                  <a:schemeClr val="tx1">
                    <a:lumMod val="75000"/>
                  </a:schemeClr>
                </a:solidFill>
              </a:rPr>
              <a:t>Esecuzione del </a:t>
            </a:r>
            <a:r>
              <a:rPr lang="it-IT" sz="1100" err="1">
                <a:solidFill>
                  <a:schemeClr val="tx1">
                    <a:lumMod val="75000"/>
                  </a:schemeClr>
                </a:solidFill>
              </a:rPr>
              <a:t>p</a:t>
            </a:r>
            <a:r>
              <a:rPr kumimoji="0" lang="it-IT" sz="1100" i="0" u="none" strike="noStrike" kern="1200" cap="none" spc="0" normalizeH="0" baseline="0" noProof="0" err="1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agamento</a:t>
            </a:r>
            <a:r>
              <a:rPr kumimoji="0" lang="it-IT" sz="110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 tramite PYUSD </a:t>
            </a:r>
            <a:r>
              <a:rPr lang="it-IT" sz="1100">
                <a:solidFill>
                  <a:schemeClr val="tx1">
                    <a:lumMod val="75000"/>
                  </a:schemeClr>
                </a:solidFill>
              </a:rPr>
              <a:t>utilizzando DCH</a:t>
            </a:r>
            <a:endParaRPr kumimoji="0" lang="it-IT" sz="110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</a:schemeClr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F7F88543-090E-AFBD-FB3D-42259FD0C1EA}"/>
              </a:ext>
            </a:extLst>
          </p:cNvPr>
          <p:cNvSpPr txBox="1"/>
          <p:nvPr/>
        </p:nvSpPr>
        <p:spPr>
          <a:xfrm>
            <a:off x="8197199" y="3712872"/>
            <a:ext cx="1734889" cy="324704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lvl="0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  <a:defRPr/>
            </a:pPr>
            <a:r>
              <a:rPr lang="it-IT" sz="1100">
                <a:solidFill>
                  <a:schemeClr val="tx1">
                    <a:lumMod val="75000"/>
                  </a:schemeClr>
                </a:solidFill>
              </a:rPr>
              <a:t>Creazione dell’estratto conto da parte di SAP DCH</a:t>
            </a:r>
            <a:endParaRPr kumimoji="0" lang="it-IT" sz="110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</a:schemeClr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74D270A9-33D0-6A05-3508-D99026F79E4C}"/>
              </a:ext>
            </a:extLst>
          </p:cNvPr>
          <p:cNvSpPr txBox="1"/>
          <p:nvPr/>
        </p:nvSpPr>
        <p:spPr>
          <a:xfrm>
            <a:off x="5993934" y="3712872"/>
            <a:ext cx="1808134" cy="468590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kumimoji="0" lang="it-IT" sz="110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Transazione ricevuta tramite conto PayPal/EY </a:t>
            </a:r>
            <a:r>
              <a:rPr kumimoji="0" lang="it-IT" sz="1100" i="0" u="none" strike="noStrike" kern="1200" cap="none" spc="0" normalizeH="0" baseline="0" noProof="0" err="1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Coinbas</a:t>
            </a:r>
            <a:r>
              <a:rPr lang="it-IT" sz="1100">
                <a:solidFill>
                  <a:schemeClr val="tx1">
                    <a:lumMod val="75000"/>
                  </a:schemeClr>
                </a:solidFill>
              </a:rPr>
              <a:t>e Prime</a:t>
            </a:r>
            <a:endParaRPr kumimoji="0" lang="it-IT" sz="110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</a:schemeClr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B1E77973-C93B-7431-D2F8-39D9708660DF}"/>
              </a:ext>
            </a:extLst>
          </p:cNvPr>
          <p:cNvSpPr txBox="1"/>
          <p:nvPr/>
        </p:nvSpPr>
        <p:spPr>
          <a:xfrm>
            <a:off x="10386657" y="3712872"/>
            <a:ext cx="1427972" cy="612475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kumimoji="0" lang="it-IT" sz="110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Conversione della PYUSD in USD da parte della tesoreria EYUS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7A45EEF7-387A-B578-466B-A5145F670F33}"/>
              </a:ext>
            </a:extLst>
          </p:cNvPr>
          <p:cNvSpPr txBox="1"/>
          <p:nvPr/>
        </p:nvSpPr>
        <p:spPr>
          <a:xfrm>
            <a:off x="578352" y="4992394"/>
            <a:ext cx="132687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BENEFICI</a:t>
            </a:r>
            <a:endParaRPr lang="en-IT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17778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3D5BFC-893D-41CB-C86F-4CC76038C1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9C0D02C-E847-3295-67CF-8520F04DA7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260801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C0D02C-E847-3295-67CF-8520F04DA7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A0418C-38B1-2AAF-F2BF-2718769444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>
                <a:solidFill>
                  <a:schemeClr val="tx2"/>
                </a:solidFill>
              </a:rPr>
              <a:t>PANEL</a:t>
            </a:r>
            <a:endParaRPr lang="it-I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039B45-343A-10BE-87B1-E76EC19CF64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it-IT">
                <a:solidFill>
                  <a:schemeClr val="tx1">
                    <a:alpha val="50000"/>
                  </a:schemeClr>
                </a:solidFill>
              </a:rPr>
              <a:t>05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CA22A4C9-AFED-4301-BECA-5D18A5EC1FC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051325" y="6520888"/>
            <a:ext cx="4222633" cy="123111"/>
          </a:xfrm>
        </p:spPr>
        <p:txBody>
          <a:bodyPr/>
          <a:lstStyle/>
          <a:p>
            <a:r>
              <a:rPr lang="it-IT"/>
              <a:t>Le stablecoin e il futuro dei pagamenti digitali | Salone dei pagamenti | 30 ottobre 2025</a:t>
            </a:r>
            <a:endParaRPr lang="en-US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C602173-7EA9-871B-BD49-0E4D2542FC3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485747" y="6520888"/>
            <a:ext cx="509098" cy="123111"/>
          </a:xfrm>
        </p:spPr>
        <p:txBody>
          <a:bodyPr/>
          <a:lstStyle/>
          <a:p>
            <a:fld id="{F1BC30E3-FFE5-4B91-AA19-87A149EBB9EE}" type="slidenum">
              <a:rPr lang="en-GB" smtClean="0"/>
              <a:pPr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330560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18FEC3-D83C-4A6A-E4BE-4D1F85AD88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643A18D9-C545-7D5B-0647-4EB65AD39D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2785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3A18D9-C545-7D5B-0647-4EB65AD39D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A person in a suit holding a microphone&#10;&#10;AI-generated content may be incorrect.">
            <a:extLst>
              <a:ext uri="{FF2B5EF4-FFF2-40B4-BE49-F238E27FC236}">
                <a16:creationId xmlns:a16="http://schemas.microsoft.com/office/drawing/2014/main" id="{B3993010-C5A9-471A-8280-99D8471C725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94" t="14526" r="22732" b="27901"/>
          <a:stretch>
            <a:fillRect/>
          </a:stretch>
        </p:blipFill>
        <p:spPr>
          <a:xfrm>
            <a:off x="5006005" y="628422"/>
            <a:ext cx="1554480" cy="1554480"/>
          </a:xfrm>
          <a:prstGeom prst="ellipse">
            <a:avLst/>
          </a:prstGeom>
        </p:spPr>
      </p:pic>
      <p:pic>
        <p:nvPicPr>
          <p:cNvPr id="18" name="Picture 17" descr="A person in a suit&#10;&#10;AI-generated content may be incorrect.">
            <a:extLst>
              <a:ext uri="{FF2B5EF4-FFF2-40B4-BE49-F238E27FC236}">
                <a16:creationId xmlns:a16="http://schemas.microsoft.com/office/drawing/2014/main" id="{E7C4FE59-469E-09E9-69A9-DAA0FE4DEA7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87" r="14750" b="20037"/>
          <a:stretch>
            <a:fillRect/>
          </a:stretch>
        </p:blipFill>
        <p:spPr>
          <a:xfrm>
            <a:off x="9037320" y="628422"/>
            <a:ext cx="1554480" cy="1554480"/>
          </a:xfrm>
          <a:prstGeom prst="ellipse">
            <a:avLst/>
          </a:prstGeom>
        </p:spPr>
      </p:pic>
      <p:pic>
        <p:nvPicPr>
          <p:cNvPr id="6" name="Picture 5" descr="A person with a beard and mustache wearing a vest&#10;&#10;AI-generated content may be incorrect.">
            <a:extLst>
              <a:ext uri="{FF2B5EF4-FFF2-40B4-BE49-F238E27FC236}">
                <a16:creationId xmlns:a16="http://schemas.microsoft.com/office/drawing/2014/main" id="{13700841-7DE2-A7D7-1C29-265C542D2D5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61" r="11777" b="40849"/>
          <a:stretch>
            <a:fillRect/>
          </a:stretch>
        </p:blipFill>
        <p:spPr>
          <a:xfrm>
            <a:off x="974690" y="628422"/>
            <a:ext cx="1554480" cy="1554480"/>
          </a:xfrm>
          <a:prstGeom prst="ellipse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9EA59B3D-0FA8-0C76-B580-D994C5804651}"/>
              </a:ext>
            </a:extLst>
          </p:cNvPr>
          <p:cNvGrpSpPr/>
          <p:nvPr/>
        </p:nvGrpSpPr>
        <p:grpSpPr>
          <a:xfrm>
            <a:off x="8527335" y="629562"/>
            <a:ext cx="3199960" cy="3214241"/>
            <a:chOff x="8527335" y="629562"/>
            <a:chExt cx="3199960" cy="3214241"/>
          </a:xfrm>
        </p:grpSpPr>
        <p:sp>
          <p:nvSpPr>
            <p:cNvPr id="10" name="Text Placeholder 2">
              <a:extLst>
                <a:ext uri="{FF2B5EF4-FFF2-40B4-BE49-F238E27FC236}">
                  <a16:creationId xmlns:a16="http://schemas.microsoft.com/office/drawing/2014/main" id="{34153C4B-9B21-21A7-0F1E-DB4915C187A3}"/>
                </a:ext>
              </a:extLst>
            </p:cNvPr>
            <p:cNvSpPr txBox="1">
              <a:spLocks/>
            </p:cNvSpPr>
            <p:nvPr/>
          </p:nvSpPr>
          <p:spPr>
            <a:xfrm>
              <a:off x="8527335" y="2598043"/>
              <a:ext cx="3199960" cy="290904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252000" indent="-252000" algn="l" defTabSz="914400" rtl="0" eaLnBrk="1" latinLnBrk="0" hangingPunct="1"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4000" indent="-252000" algn="l" defTabSz="914400" rtl="0" eaLnBrk="1" latinLnBrk="0" hangingPunct="1"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56000" indent="-2520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08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60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12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Wingdings" pitchFamily="2" charset="2"/>
                <a:buChar char="§"/>
                <a:tabLst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6pPr>
              <a:lvl7pPr marL="1764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Wingdings" pitchFamily="2" charset="2"/>
                <a:buChar char="§"/>
                <a:tabLst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7pPr>
              <a:lvl8pPr marL="2016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Wingdings" pitchFamily="2" charset="2"/>
                <a:buChar char="§"/>
                <a:tabLst/>
                <a:defRPr sz="1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8pPr>
              <a:lvl9pPr marL="2268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Wingdings" pitchFamily="2" charset="2"/>
                <a:buChar char="§"/>
                <a:tabLst/>
                <a:defRPr sz="1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it-IT" sz="1800" b="1"/>
                <a:t>Mico Curatolo</a:t>
              </a:r>
              <a:endParaRPr lang="it-IT" sz="1800"/>
            </a:p>
          </p:txBody>
        </p:sp>
        <p:sp>
          <p:nvSpPr>
            <p:cNvPr id="11" name="Text Placeholder 2">
              <a:extLst>
                <a:ext uri="{FF2B5EF4-FFF2-40B4-BE49-F238E27FC236}">
                  <a16:creationId xmlns:a16="http://schemas.microsoft.com/office/drawing/2014/main" id="{D3DF8E56-21F4-FFBE-531A-48DD9BD4667F}"/>
                </a:ext>
              </a:extLst>
            </p:cNvPr>
            <p:cNvSpPr txBox="1">
              <a:spLocks/>
            </p:cNvSpPr>
            <p:nvPr/>
          </p:nvSpPr>
          <p:spPr>
            <a:xfrm>
              <a:off x="8527335" y="3114456"/>
              <a:ext cx="3199960" cy="729347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252000" indent="-252000" algn="l" defTabSz="914400" rtl="0" eaLnBrk="1" latinLnBrk="0" hangingPunct="1"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4000" indent="-252000" algn="l" defTabSz="914400" rtl="0" eaLnBrk="1" latinLnBrk="0" hangingPunct="1"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56000" indent="-2520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08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60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12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Wingdings" pitchFamily="2" charset="2"/>
                <a:buChar char="§"/>
                <a:tabLst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6pPr>
              <a:lvl7pPr marL="1764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Wingdings" pitchFamily="2" charset="2"/>
                <a:buChar char="§"/>
                <a:tabLst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7pPr>
              <a:lvl8pPr marL="2016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Wingdings" pitchFamily="2" charset="2"/>
                <a:buChar char="§"/>
                <a:tabLst/>
                <a:defRPr sz="1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8pPr>
              <a:lvl9pPr marL="2268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Wingdings" pitchFamily="2" charset="2"/>
                <a:buChar char="§"/>
                <a:tabLst/>
                <a:defRPr sz="1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Wingdings" pitchFamily="2" charset="2"/>
                <a:buNone/>
              </a:pPr>
              <a:r>
                <a:rPr lang="it-IT" sz="1800">
                  <a:solidFill>
                    <a:srgbClr val="FFE600"/>
                  </a:solidFill>
                </a:rPr>
                <a:t>Head - DLT &amp; Digital Assets Competence </a:t>
              </a:r>
              <a:r>
                <a:rPr lang="it-IT" sz="1800" err="1">
                  <a:solidFill>
                    <a:srgbClr val="FFE600"/>
                  </a:solidFill>
                </a:rPr>
                <a:t>Center</a:t>
              </a:r>
              <a:r>
                <a:rPr lang="it-IT" sz="1800">
                  <a:solidFill>
                    <a:srgbClr val="FFE600"/>
                  </a:solidFill>
                </a:rPr>
                <a:t>, Banca Sella</a:t>
              </a: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3B3D1E00-CFD2-3F3A-79C6-E0F44F8A14EA}"/>
                </a:ext>
              </a:extLst>
            </p:cNvPr>
            <p:cNvSpPr/>
            <p:nvPr/>
          </p:nvSpPr>
          <p:spPr>
            <a:xfrm>
              <a:off x="9037320" y="629562"/>
              <a:ext cx="1554480" cy="1554480"/>
            </a:xfrm>
            <a:prstGeom prst="ellipse">
              <a:avLst/>
            </a:prstGeom>
            <a:noFill/>
            <a:ln w="12700" cap="flat" cmpd="sng" algn="ctr">
              <a:solidFill>
                <a:srgbClr val="74748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108000" tIns="108000" rIns="108000" bIns="108000" rtlCol="0" anchor="t" anchorCtr="0"/>
            <a:lstStyle/>
            <a:p>
              <a:pPr marL="252000" marR="0" indent="-252000" algn="l" defTabSz="91440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FFE600"/>
                </a:buClr>
                <a:buSzTx/>
                <a:buFont typeface="Wingdings" pitchFamily="2" charset="2"/>
                <a:buChar char="§"/>
                <a:tabLst/>
              </a:pPr>
              <a:endParaRPr kumimoji="0" lang="en-US" sz="2000" b="0" i="0" u="none" strike="noStrike" kern="0" cap="none" spc="0" normalizeH="0" baseline="0" noProof="0" err="1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401FDCE-6B87-A093-DB47-92EAA6999EDC}"/>
              </a:ext>
            </a:extLst>
          </p:cNvPr>
          <p:cNvSpPr txBox="1">
            <a:spLocks/>
          </p:cNvSpPr>
          <p:nvPr/>
        </p:nvSpPr>
        <p:spPr>
          <a:xfrm>
            <a:off x="5654610" y="4915727"/>
            <a:ext cx="3199960" cy="2909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</a:pPr>
            <a:r>
              <a:rPr lang="it-IT" sz="1800" b="1"/>
              <a:t>Enrico Ugoletti</a:t>
            </a:r>
            <a:endParaRPr lang="it-IT" sz="180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B6DBD568-B19D-BC5D-B5B9-FF1B7662D596}"/>
              </a:ext>
            </a:extLst>
          </p:cNvPr>
          <p:cNvSpPr txBox="1">
            <a:spLocks/>
          </p:cNvSpPr>
          <p:nvPr/>
        </p:nvSpPr>
        <p:spPr>
          <a:xfrm>
            <a:off x="5654610" y="5432140"/>
            <a:ext cx="3199960" cy="7293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800" dirty="0">
                <a:solidFill>
                  <a:srgbClr val="FFE600"/>
                </a:solidFill>
              </a:rPr>
              <a:t>Partner EY Italia  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4286B540-E096-64A1-7543-C7BD189B9818}"/>
              </a:ext>
            </a:extLst>
          </p:cNvPr>
          <p:cNvCxnSpPr>
            <a:cxnSpLocks/>
          </p:cNvCxnSpPr>
          <p:nvPr/>
        </p:nvCxnSpPr>
        <p:spPr>
          <a:xfrm flipV="1">
            <a:off x="1600200" y="4213448"/>
            <a:ext cx="8991600" cy="11527"/>
          </a:xfrm>
          <a:prstGeom prst="line">
            <a:avLst/>
          </a:prstGeom>
          <a:ln w="3175">
            <a:solidFill>
              <a:srgbClr val="FFE7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665CBB9B-2AE4-4796-3FDB-7176D33A8877}"/>
              </a:ext>
            </a:extLst>
          </p:cNvPr>
          <p:cNvSpPr txBox="1">
            <a:spLocks/>
          </p:cNvSpPr>
          <p:nvPr/>
        </p:nvSpPr>
        <p:spPr>
          <a:xfrm>
            <a:off x="5465632" y="4055070"/>
            <a:ext cx="1260737" cy="290904"/>
          </a:xfrm>
          <a:prstGeom prst="rect">
            <a:avLst/>
          </a:prstGeom>
          <a:solidFill>
            <a:srgbClr val="2E1E11"/>
          </a:solidFill>
        </p:spPr>
        <p:txBody>
          <a:bodyPr vert="horz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pitchFamily="2" charset="2"/>
              <a:buNone/>
            </a:pPr>
            <a:r>
              <a:rPr lang="it-IT" sz="1800" i="1"/>
              <a:t>modera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34C640B-8902-F136-29C1-9EBBB8D6661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" r="45"/>
          <a:stretch/>
        </p:blipFill>
        <p:spPr>
          <a:xfrm>
            <a:off x="4071988" y="4701393"/>
            <a:ext cx="1213956" cy="1180043"/>
          </a:xfrm>
          <a:prstGeom prst="ellipse">
            <a:avLst/>
          </a:prstGeom>
          <a:ln>
            <a:noFill/>
          </a:ln>
        </p:spPr>
      </p:pic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EF95508F-7C5B-5C90-3CB1-BEF1A25DCA6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051325" y="6520888"/>
            <a:ext cx="4222633" cy="123111"/>
          </a:xfrm>
        </p:spPr>
        <p:txBody>
          <a:bodyPr/>
          <a:lstStyle/>
          <a:p>
            <a:r>
              <a:rPr lang="it-IT"/>
              <a:t>Le stablecoin e il futuro dei pagamenti digitali | Salone dei pagamenti | 30 ottobre 2025</a:t>
            </a:r>
            <a:endParaRPr lang="en-US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109B8B3-E0B4-6FAC-D6AF-83AC8CC0913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485747" y="6520888"/>
            <a:ext cx="509098" cy="123111"/>
          </a:xfrm>
        </p:spPr>
        <p:txBody>
          <a:bodyPr/>
          <a:lstStyle/>
          <a:p>
            <a:fld id="{F1BC30E3-FFE5-4B91-AA19-87A149EBB9EE}" type="slidenum">
              <a:rPr lang="en-GB" smtClean="0"/>
              <a:pPr/>
              <a:t>22</a:t>
            </a:fld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0AC58B1-EFD1-7DA5-2929-6D792E990C97}"/>
              </a:ext>
            </a:extLst>
          </p:cNvPr>
          <p:cNvGrpSpPr/>
          <p:nvPr/>
        </p:nvGrpSpPr>
        <p:grpSpPr>
          <a:xfrm>
            <a:off x="4496020" y="629562"/>
            <a:ext cx="3199960" cy="3214241"/>
            <a:chOff x="4178407" y="629562"/>
            <a:chExt cx="3199960" cy="3214241"/>
          </a:xfrm>
        </p:grpSpPr>
        <p:sp>
          <p:nvSpPr>
            <p:cNvPr id="5" name="Text Placeholder 2">
              <a:extLst>
                <a:ext uri="{FF2B5EF4-FFF2-40B4-BE49-F238E27FC236}">
                  <a16:creationId xmlns:a16="http://schemas.microsoft.com/office/drawing/2014/main" id="{7FB3F347-B329-AFF6-2924-266548F1B0AF}"/>
                </a:ext>
              </a:extLst>
            </p:cNvPr>
            <p:cNvSpPr txBox="1">
              <a:spLocks/>
            </p:cNvSpPr>
            <p:nvPr/>
          </p:nvSpPr>
          <p:spPr>
            <a:xfrm>
              <a:off x="4178407" y="2598043"/>
              <a:ext cx="3199960" cy="290904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252000" indent="-252000" algn="l" defTabSz="914400" rtl="0" eaLnBrk="1" latinLnBrk="0" hangingPunct="1"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4000" indent="-252000" algn="l" defTabSz="914400" rtl="0" eaLnBrk="1" latinLnBrk="0" hangingPunct="1"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56000" indent="-2520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08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60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12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Wingdings" pitchFamily="2" charset="2"/>
                <a:buChar char="§"/>
                <a:tabLst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6pPr>
              <a:lvl7pPr marL="1764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Wingdings" pitchFamily="2" charset="2"/>
                <a:buChar char="§"/>
                <a:tabLst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7pPr>
              <a:lvl8pPr marL="2016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Wingdings" pitchFamily="2" charset="2"/>
                <a:buChar char="§"/>
                <a:tabLst/>
                <a:defRPr sz="1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8pPr>
              <a:lvl9pPr marL="2268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Wingdings" pitchFamily="2" charset="2"/>
                <a:buChar char="§"/>
                <a:tabLst/>
                <a:defRPr sz="1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Wingdings" pitchFamily="2" charset="2"/>
                <a:buNone/>
              </a:pPr>
              <a:r>
                <a:rPr lang="it-IT" sz="1800" b="1"/>
                <a:t>Thibault </a:t>
              </a:r>
              <a:r>
                <a:rPr lang="it-IT" sz="1800" b="1" err="1"/>
                <a:t>Pele</a:t>
              </a:r>
              <a:endParaRPr lang="it-IT" sz="1800"/>
            </a:p>
          </p:txBody>
        </p:sp>
        <p:sp>
          <p:nvSpPr>
            <p:cNvPr id="7" name="Text Placeholder 2">
              <a:extLst>
                <a:ext uri="{FF2B5EF4-FFF2-40B4-BE49-F238E27FC236}">
                  <a16:creationId xmlns:a16="http://schemas.microsoft.com/office/drawing/2014/main" id="{851FCFB6-3708-862B-2C8A-98727AAADC0D}"/>
                </a:ext>
              </a:extLst>
            </p:cNvPr>
            <p:cNvSpPr txBox="1">
              <a:spLocks/>
            </p:cNvSpPr>
            <p:nvPr/>
          </p:nvSpPr>
          <p:spPr>
            <a:xfrm>
              <a:off x="4178407" y="3114456"/>
              <a:ext cx="3199960" cy="729347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252000" indent="-252000" algn="l" defTabSz="914400" rtl="0" eaLnBrk="1" latinLnBrk="0" hangingPunct="1"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4000" indent="-252000" algn="l" defTabSz="914400" rtl="0" eaLnBrk="1" latinLnBrk="0" hangingPunct="1"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56000" indent="-2520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08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60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12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Wingdings" pitchFamily="2" charset="2"/>
                <a:buChar char="§"/>
                <a:tabLst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6pPr>
              <a:lvl7pPr marL="1764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Wingdings" pitchFamily="2" charset="2"/>
                <a:buChar char="§"/>
                <a:tabLst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7pPr>
              <a:lvl8pPr marL="2016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Wingdings" pitchFamily="2" charset="2"/>
                <a:buChar char="§"/>
                <a:tabLst/>
                <a:defRPr sz="1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8pPr>
              <a:lvl9pPr marL="2268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Wingdings" pitchFamily="2" charset="2"/>
                <a:buChar char="§"/>
                <a:tabLst/>
                <a:defRPr sz="1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Wingdings" pitchFamily="2" charset="2"/>
                <a:buNone/>
              </a:pPr>
              <a:r>
                <a:rPr lang="en-US" sz="1800">
                  <a:solidFill>
                    <a:srgbClr val="FFE600"/>
                  </a:solidFill>
                </a:rPr>
                <a:t>Head of Product Digital Currency, Worldline</a:t>
              </a:r>
              <a:endParaRPr lang="it-IT" sz="1800">
                <a:solidFill>
                  <a:srgbClr val="FFE600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D161708A-1DD2-2E95-6B0A-09882E06174C}"/>
                </a:ext>
              </a:extLst>
            </p:cNvPr>
            <p:cNvSpPr/>
            <p:nvPr/>
          </p:nvSpPr>
          <p:spPr>
            <a:xfrm>
              <a:off x="4688392" y="629562"/>
              <a:ext cx="1554480" cy="1554480"/>
            </a:xfrm>
            <a:prstGeom prst="ellipse">
              <a:avLst/>
            </a:prstGeom>
            <a:noFill/>
            <a:ln w="12700" cap="flat" cmpd="sng" algn="ctr">
              <a:solidFill>
                <a:srgbClr val="74748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108000" tIns="108000" rIns="108000" bIns="108000" rtlCol="0" anchor="t" anchorCtr="0"/>
            <a:lstStyle/>
            <a:p>
              <a:pPr marL="252000" marR="0" indent="-252000" algn="l" defTabSz="91440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FFE600"/>
                </a:buClr>
                <a:buSzTx/>
                <a:buFont typeface="Wingdings" pitchFamily="2" charset="2"/>
                <a:buChar char="§"/>
                <a:tabLst/>
              </a:pPr>
              <a:endParaRPr kumimoji="0" lang="en-US" sz="2000" b="0" i="0" u="none" strike="noStrike" kern="0" cap="none" spc="0" normalizeH="0" baseline="0" noProof="0" err="1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0478FAF-B376-4F1B-1E1D-765DA31EF418}"/>
              </a:ext>
            </a:extLst>
          </p:cNvPr>
          <p:cNvGrpSpPr/>
          <p:nvPr/>
        </p:nvGrpSpPr>
        <p:grpSpPr>
          <a:xfrm>
            <a:off x="464705" y="629562"/>
            <a:ext cx="3199960" cy="3214241"/>
            <a:chOff x="4178407" y="629562"/>
            <a:chExt cx="3199960" cy="3214241"/>
          </a:xfrm>
        </p:grpSpPr>
        <p:sp>
          <p:nvSpPr>
            <p:cNvPr id="21" name="Text Placeholder 2">
              <a:extLst>
                <a:ext uri="{FF2B5EF4-FFF2-40B4-BE49-F238E27FC236}">
                  <a16:creationId xmlns:a16="http://schemas.microsoft.com/office/drawing/2014/main" id="{F0EDA309-862C-7AF8-DA01-B7D71FA434C1}"/>
                </a:ext>
              </a:extLst>
            </p:cNvPr>
            <p:cNvSpPr txBox="1">
              <a:spLocks/>
            </p:cNvSpPr>
            <p:nvPr/>
          </p:nvSpPr>
          <p:spPr>
            <a:xfrm>
              <a:off x="4178407" y="2598043"/>
              <a:ext cx="3199960" cy="290904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252000" indent="-252000" algn="l" defTabSz="914400" rtl="0" eaLnBrk="1" latinLnBrk="0" hangingPunct="1"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4000" indent="-252000" algn="l" defTabSz="914400" rtl="0" eaLnBrk="1" latinLnBrk="0" hangingPunct="1"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56000" indent="-2520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08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60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12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Wingdings" pitchFamily="2" charset="2"/>
                <a:buChar char="§"/>
                <a:tabLst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6pPr>
              <a:lvl7pPr marL="1764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Wingdings" pitchFamily="2" charset="2"/>
                <a:buChar char="§"/>
                <a:tabLst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7pPr>
              <a:lvl8pPr marL="2016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Wingdings" pitchFamily="2" charset="2"/>
                <a:buChar char="§"/>
                <a:tabLst/>
                <a:defRPr sz="1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8pPr>
              <a:lvl9pPr marL="2268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Wingdings" pitchFamily="2" charset="2"/>
                <a:buChar char="§"/>
                <a:tabLst/>
                <a:defRPr sz="1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Wingdings" pitchFamily="2" charset="2"/>
                <a:buNone/>
              </a:pPr>
              <a:r>
                <a:rPr lang="it-IT" sz="1800" b="1"/>
                <a:t>Vincenzo Sibio</a:t>
              </a:r>
              <a:endParaRPr lang="it-IT" sz="1800"/>
            </a:p>
          </p:txBody>
        </p:sp>
        <p:sp>
          <p:nvSpPr>
            <p:cNvPr id="22" name="Text Placeholder 2">
              <a:extLst>
                <a:ext uri="{FF2B5EF4-FFF2-40B4-BE49-F238E27FC236}">
                  <a16:creationId xmlns:a16="http://schemas.microsoft.com/office/drawing/2014/main" id="{F9B46B27-3440-134C-667B-D2B24502E561}"/>
                </a:ext>
              </a:extLst>
            </p:cNvPr>
            <p:cNvSpPr txBox="1">
              <a:spLocks/>
            </p:cNvSpPr>
            <p:nvPr/>
          </p:nvSpPr>
          <p:spPr>
            <a:xfrm>
              <a:off x="4178407" y="3114456"/>
              <a:ext cx="3199960" cy="729347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252000" indent="-252000" algn="l" defTabSz="914400" rtl="0" eaLnBrk="1" latinLnBrk="0" hangingPunct="1"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4000" indent="-252000" algn="l" defTabSz="914400" rtl="0" eaLnBrk="1" latinLnBrk="0" hangingPunct="1"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56000" indent="-2520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08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60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12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Wingdings" pitchFamily="2" charset="2"/>
                <a:buChar char="§"/>
                <a:tabLst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6pPr>
              <a:lvl7pPr marL="1764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Wingdings" pitchFamily="2" charset="2"/>
                <a:buChar char="§"/>
                <a:tabLst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7pPr>
              <a:lvl8pPr marL="2016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Wingdings" pitchFamily="2" charset="2"/>
                <a:buChar char="§"/>
                <a:tabLst/>
                <a:defRPr sz="1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8pPr>
              <a:lvl9pPr marL="2268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Wingdings" pitchFamily="2" charset="2"/>
                <a:buChar char="§"/>
                <a:tabLst/>
                <a:defRPr sz="1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Wingdings" pitchFamily="2" charset="2"/>
                <a:buNone/>
              </a:pPr>
              <a:r>
                <a:rPr lang="it-IT" sz="1800">
                  <a:solidFill>
                    <a:srgbClr val="FFE600"/>
                  </a:solidFill>
                </a:rPr>
                <a:t>Head of Treasury, ITA Airways</a:t>
              </a: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499FFE13-2E69-9072-51C3-2F86B1FDFB01}"/>
                </a:ext>
              </a:extLst>
            </p:cNvPr>
            <p:cNvSpPr/>
            <p:nvPr/>
          </p:nvSpPr>
          <p:spPr>
            <a:xfrm>
              <a:off x="4688392" y="629562"/>
              <a:ext cx="1554480" cy="1554480"/>
            </a:xfrm>
            <a:prstGeom prst="ellipse">
              <a:avLst/>
            </a:prstGeom>
            <a:noFill/>
            <a:ln w="12700" cap="flat" cmpd="sng" algn="ctr">
              <a:solidFill>
                <a:srgbClr val="74748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108000" tIns="108000" rIns="108000" bIns="108000" rtlCol="0" anchor="t" anchorCtr="0"/>
            <a:lstStyle/>
            <a:p>
              <a:pPr marL="252000" marR="0" indent="-252000" algn="l" defTabSz="91440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FFE600"/>
                </a:buClr>
                <a:buSzTx/>
                <a:buFont typeface="Wingdings" pitchFamily="2" charset="2"/>
                <a:buChar char="§"/>
                <a:tabLst/>
              </a:pPr>
              <a:endParaRPr kumimoji="0" lang="en-US" sz="2000" b="0" i="0" u="none" strike="noStrike" kern="0" cap="none" spc="0" normalizeH="0" baseline="0" noProof="0" err="1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0787003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893EF-46A4-8672-E03A-BB51B9ED40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</a:t>
            </a:r>
            <a:endParaRPr lang="it-IT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8F0BB2-8653-21D2-524D-AA90C3B4508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270531" y="6437115"/>
            <a:ext cx="4315204" cy="138872"/>
          </a:xfrm>
        </p:spPr>
        <p:txBody>
          <a:bodyPr/>
          <a:lstStyle/>
          <a:p>
            <a:r>
              <a:rPr lang="it-IT" dirty="0"/>
              <a:t>Le </a:t>
            </a:r>
            <a:r>
              <a:rPr lang="it-IT" dirty="0" err="1"/>
              <a:t>stablecoin</a:t>
            </a:r>
            <a:r>
              <a:rPr lang="it-IT" dirty="0"/>
              <a:t> e il futuro dei pagamenti digitali | Salone dei pagamenti | 30 ottobre 2025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61C65E-CC17-5AEE-A7A4-81616E98C0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611924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78FB7BD-9FEC-95C2-16E3-54FF3DFD02F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Grazie</a:t>
            </a:r>
            <a:endParaRPr lang="it-IT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9236A8E-B83F-AA30-4E14-EAE050452AD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270530" y="6437115"/>
            <a:ext cx="4407671" cy="141847"/>
          </a:xfrm>
        </p:spPr>
        <p:txBody>
          <a:bodyPr/>
          <a:lstStyle/>
          <a:p>
            <a:r>
              <a:rPr lang="it-IT" dirty="0"/>
              <a:t>Le </a:t>
            </a:r>
            <a:r>
              <a:rPr lang="it-IT" dirty="0" err="1"/>
              <a:t>stablecoin</a:t>
            </a:r>
            <a:r>
              <a:rPr lang="it-IT" dirty="0"/>
              <a:t> e il futuro dei pagamenti digitali | Salone dei pagamenti | 30 ottobre 2025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C6CBCF-820B-A659-5DAA-CA05F9B017A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157623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E0623C-EC24-2BC1-F613-A947FBBA53D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it-IT"/>
              <a:t>Le stablecoin e il futuro dei pagamenti digitali | Salone dei pagamenti | 30 ottobre 2025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44E2D1-CE75-1328-D6B9-A624EE87584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25</a:t>
            </a:fld>
            <a:endParaRPr lang="en-GB"/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4BB7B00C-F3AC-77EB-ADAC-D49D504F07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69888"/>
            <a:ext cx="11329106" cy="451470"/>
          </a:xfrm>
        </p:spPr>
        <p:txBody>
          <a:bodyPr/>
          <a:lstStyle/>
          <a:p>
            <a:r>
              <a:rPr lang="it-IT" sz="2400"/>
              <a:t>I regolatori globali accelerano per la definizione di normative sull’introduzione e l’utilizzo delle </a:t>
            </a:r>
            <a:r>
              <a:rPr lang="it-IT" sz="2400" err="1"/>
              <a:t>stablecoin</a:t>
            </a:r>
            <a:endParaRPr lang="it-IT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2B47FD1-F97A-F438-1E23-6E214C21A59D}"/>
              </a:ext>
            </a:extLst>
          </p:cNvPr>
          <p:cNvSpPr/>
          <p:nvPr/>
        </p:nvSpPr>
        <p:spPr>
          <a:xfrm>
            <a:off x="571434" y="1990952"/>
            <a:ext cx="5456695" cy="3791641"/>
          </a:xfrm>
          <a:prstGeom prst="rect">
            <a:avLst/>
          </a:prstGeom>
          <a:solidFill>
            <a:srgbClr val="1A1A24"/>
          </a:solidFill>
          <a:ln w="12700" cap="flat" cmpd="sng" algn="ctr">
            <a:solidFill>
              <a:srgbClr val="FFE600"/>
            </a:solidFill>
            <a:prstDash val="solid"/>
          </a:ln>
          <a:effectLst/>
        </p:spPr>
        <p:txBody>
          <a:bodyPr lIns="72000" tIns="108000" rIns="7200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2400"/>
              </a:spcBef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PANORAMICA GLOBA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FC2C574-5531-AB5F-58CA-5C22C20A2D2F}"/>
              </a:ext>
            </a:extLst>
          </p:cNvPr>
          <p:cNvSpPr/>
          <p:nvPr/>
        </p:nvSpPr>
        <p:spPr>
          <a:xfrm>
            <a:off x="6148594" y="1998309"/>
            <a:ext cx="5456695" cy="3791641"/>
          </a:xfrm>
          <a:prstGeom prst="rect">
            <a:avLst/>
          </a:prstGeom>
          <a:solidFill>
            <a:srgbClr val="1A1A24"/>
          </a:solidFill>
          <a:ln w="12700" cap="flat" cmpd="sng" algn="ctr">
            <a:solidFill>
              <a:srgbClr val="FFE600"/>
            </a:solidFill>
            <a:prstDash val="solid"/>
          </a:ln>
          <a:effectLst/>
        </p:spPr>
        <p:txBody>
          <a:bodyPr lIns="72000" tIns="108000" rIns="7200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FOCUS EUROPEO</a:t>
            </a:r>
          </a:p>
        </p:txBody>
      </p:sp>
      <p:pic>
        <p:nvPicPr>
          <p:cNvPr id="12" name="Grafik 167" descr="150px-Flag_of_Europe.svg.png">
            <a:extLst>
              <a:ext uri="{FF2B5EF4-FFF2-40B4-BE49-F238E27FC236}">
                <a16:creationId xmlns:a16="http://schemas.microsoft.com/office/drawing/2014/main" id="{DD7AE1A3-E55D-4E19-CBFB-C708786E2C91}"/>
              </a:ext>
            </a:extLst>
          </p:cNvPr>
          <p:cNvPicPr>
            <a:picLocks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931368" y="2116667"/>
            <a:ext cx="555189" cy="399966"/>
          </a:xfrm>
          <a:prstGeom prst="rect">
            <a:avLst/>
          </a:prstGeom>
          <a:ln w="6350">
            <a:solidFill>
              <a:srgbClr val="3D108A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</p:pic>
      <p:grpSp>
        <p:nvGrpSpPr>
          <p:cNvPr id="32" name="Group 31">
            <a:extLst>
              <a:ext uri="{FF2B5EF4-FFF2-40B4-BE49-F238E27FC236}">
                <a16:creationId xmlns:a16="http://schemas.microsoft.com/office/drawing/2014/main" id="{F22FCC74-58A2-0DBA-6FA7-69E5D63942C1}"/>
              </a:ext>
            </a:extLst>
          </p:cNvPr>
          <p:cNvGrpSpPr/>
          <p:nvPr/>
        </p:nvGrpSpPr>
        <p:grpSpPr>
          <a:xfrm>
            <a:off x="6800436" y="2799073"/>
            <a:ext cx="4085743" cy="2743951"/>
            <a:chOff x="7874616" y="2511844"/>
            <a:chExt cx="2505544" cy="3039642"/>
          </a:xfrm>
        </p:grpSpPr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C1D5A9F8-9938-2270-E3A9-34277E1B331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161929" y="2511844"/>
              <a:ext cx="0" cy="2985573"/>
            </a:xfrm>
            <a:prstGeom prst="straightConnector1">
              <a:avLst/>
            </a:prstGeom>
            <a:ln w="3175">
              <a:solidFill>
                <a:srgbClr val="FFE7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FDCC83DD-7463-F2CD-E9A0-9A7CBADEE3CB}"/>
                </a:ext>
              </a:extLst>
            </p:cNvPr>
            <p:cNvCxnSpPr>
              <a:cxnSpLocks/>
            </p:cNvCxnSpPr>
            <p:nvPr/>
          </p:nvCxnSpPr>
          <p:spPr>
            <a:xfrm>
              <a:off x="8871095" y="3781619"/>
              <a:ext cx="290684" cy="0"/>
            </a:xfrm>
            <a:prstGeom prst="line">
              <a:avLst/>
            </a:prstGeom>
            <a:ln w="3175">
              <a:solidFill>
                <a:srgbClr val="FFE700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5D28E092-182F-57E9-7736-075831B36800}"/>
                </a:ext>
              </a:extLst>
            </p:cNvPr>
            <p:cNvCxnSpPr>
              <a:cxnSpLocks/>
            </p:cNvCxnSpPr>
            <p:nvPr/>
          </p:nvCxnSpPr>
          <p:spPr>
            <a:xfrm>
              <a:off x="9161929" y="4559187"/>
              <a:ext cx="290684" cy="0"/>
            </a:xfrm>
            <a:prstGeom prst="line">
              <a:avLst/>
            </a:prstGeom>
            <a:ln w="3175">
              <a:solidFill>
                <a:srgbClr val="FFE700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9EF22478-D67E-0456-C890-4B956B7DB562}"/>
                </a:ext>
              </a:extLst>
            </p:cNvPr>
            <p:cNvCxnSpPr>
              <a:cxnSpLocks/>
            </p:cNvCxnSpPr>
            <p:nvPr/>
          </p:nvCxnSpPr>
          <p:spPr>
            <a:xfrm>
              <a:off x="8871245" y="5336754"/>
              <a:ext cx="290684" cy="0"/>
            </a:xfrm>
            <a:prstGeom prst="line">
              <a:avLst/>
            </a:prstGeom>
            <a:ln w="3175">
              <a:solidFill>
                <a:srgbClr val="FFE700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tangular Callout 291">
              <a:extLst>
                <a:ext uri="{FF2B5EF4-FFF2-40B4-BE49-F238E27FC236}">
                  <a16:creationId xmlns:a16="http://schemas.microsoft.com/office/drawing/2014/main" id="{1835A61B-92CB-7A8B-DEBA-F85F6D75A47C}"/>
                </a:ext>
              </a:extLst>
            </p:cNvPr>
            <p:cNvSpPr/>
            <p:nvPr/>
          </p:nvSpPr>
          <p:spPr>
            <a:xfrm>
              <a:off x="7960092" y="5132156"/>
              <a:ext cx="914899" cy="419330"/>
            </a:xfrm>
            <a:prstGeom prst="rect">
              <a:avLst/>
            </a:prstGeom>
            <a:noFill/>
            <a:ln w="9525" cap="flat" cmpd="sng" algn="ctr">
              <a:solidFill>
                <a:srgbClr val="FFE600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Giugno 2023</a:t>
              </a:r>
            </a:p>
          </p:txBody>
        </p: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583259C3-B451-3533-FA6E-EFB0445B5AAD}"/>
                </a:ext>
              </a:extLst>
            </p:cNvPr>
            <p:cNvCxnSpPr>
              <a:cxnSpLocks/>
            </p:cNvCxnSpPr>
            <p:nvPr/>
          </p:nvCxnSpPr>
          <p:spPr>
            <a:xfrm>
              <a:off x="9174576" y="3004051"/>
              <a:ext cx="290684" cy="0"/>
            </a:xfrm>
            <a:prstGeom prst="line">
              <a:avLst/>
            </a:prstGeom>
            <a:ln w="3175">
              <a:solidFill>
                <a:srgbClr val="FFE700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Rectangular Callout 291">
              <a:extLst>
                <a:ext uri="{FF2B5EF4-FFF2-40B4-BE49-F238E27FC236}">
                  <a16:creationId xmlns:a16="http://schemas.microsoft.com/office/drawing/2014/main" id="{223AADFC-54A5-1CB6-9E33-6815F56DDA15}"/>
                </a:ext>
              </a:extLst>
            </p:cNvPr>
            <p:cNvSpPr/>
            <p:nvPr/>
          </p:nvSpPr>
          <p:spPr>
            <a:xfrm>
              <a:off x="9161837" y="5127089"/>
              <a:ext cx="1218323" cy="41933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MICA pubblicato ed entrato in vigore</a:t>
              </a:r>
            </a:p>
          </p:txBody>
        </p:sp>
        <p:sp>
          <p:nvSpPr>
            <p:cNvPr id="26" name="Rectangular Callout 291">
              <a:extLst>
                <a:ext uri="{FF2B5EF4-FFF2-40B4-BE49-F238E27FC236}">
                  <a16:creationId xmlns:a16="http://schemas.microsoft.com/office/drawing/2014/main" id="{BB1CF8ED-89E9-EB24-B02C-DDA9106C33CA}"/>
                </a:ext>
              </a:extLst>
            </p:cNvPr>
            <p:cNvSpPr/>
            <p:nvPr/>
          </p:nvSpPr>
          <p:spPr>
            <a:xfrm>
              <a:off x="7960092" y="3579729"/>
              <a:ext cx="914899" cy="419330"/>
            </a:xfrm>
            <a:prstGeom prst="rect">
              <a:avLst/>
            </a:prstGeom>
            <a:noFill/>
            <a:ln w="9525" cap="flat" cmpd="sng" algn="ctr">
              <a:solidFill>
                <a:srgbClr val="FFE600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Dicembre 2024</a:t>
              </a:r>
            </a:p>
          </p:txBody>
        </p:sp>
        <p:sp>
          <p:nvSpPr>
            <p:cNvPr id="27" name="Rectangular Callout 291">
              <a:extLst>
                <a:ext uri="{FF2B5EF4-FFF2-40B4-BE49-F238E27FC236}">
                  <a16:creationId xmlns:a16="http://schemas.microsoft.com/office/drawing/2014/main" id="{3B3C0F99-2705-90E9-D329-7FA167E85A78}"/>
                </a:ext>
              </a:extLst>
            </p:cNvPr>
            <p:cNvSpPr/>
            <p:nvPr/>
          </p:nvSpPr>
          <p:spPr>
            <a:xfrm>
              <a:off x="9161837" y="3574662"/>
              <a:ext cx="1218323" cy="41933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MICA effettivamente in vigore per </a:t>
              </a:r>
              <a:r>
                <a:rPr kumimoji="0" lang="it-IT" sz="1200" b="0" i="0" u="none" strike="noStrike" kern="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CASPs</a:t>
              </a:r>
              <a:endParaRPr kumimoji="0" lang="it-IT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Rectangular Callout 291">
              <a:extLst>
                <a:ext uri="{FF2B5EF4-FFF2-40B4-BE49-F238E27FC236}">
                  <a16:creationId xmlns:a16="http://schemas.microsoft.com/office/drawing/2014/main" id="{A456DFE3-ED8F-6647-A038-32639A4E1F19}"/>
                </a:ext>
              </a:extLst>
            </p:cNvPr>
            <p:cNvSpPr/>
            <p:nvPr/>
          </p:nvSpPr>
          <p:spPr>
            <a:xfrm>
              <a:off x="9465260" y="4349522"/>
              <a:ext cx="914899" cy="419330"/>
            </a:xfrm>
            <a:prstGeom prst="rect">
              <a:avLst/>
            </a:prstGeom>
            <a:noFill/>
            <a:ln w="9525" cap="flat" cmpd="sng" algn="ctr">
              <a:solidFill>
                <a:srgbClr val="FFE600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Giugno 2024</a:t>
              </a:r>
            </a:p>
          </p:txBody>
        </p:sp>
        <p:sp>
          <p:nvSpPr>
            <p:cNvPr id="29" name="Rectangular Callout 291">
              <a:extLst>
                <a:ext uri="{FF2B5EF4-FFF2-40B4-BE49-F238E27FC236}">
                  <a16:creationId xmlns:a16="http://schemas.microsoft.com/office/drawing/2014/main" id="{69AA9025-3250-5E45-AEBD-F3A273B6AE44}"/>
                </a:ext>
              </a:extLst>
            </p:cNvPr>
            <p:cNvSpPr/>
            <p:nvPr/>
          </p:nvSpPr>
          <p:spPr>
            <a:xfrm>
              <a:off x="7960092" y="4342124"/>
              <a:ext cx="1202910" cy="41933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Regole per </a:t>
              </a:r>
              <a:r>
                <a:rPr kumimoji="0" lang="it-IT" sz="1200" b="0" i="0" u="none" strike="noStrike" kern="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ARTs</a:t>
              </a:r>
              <a:r>
                <a:rPr kumimoji="0" lang="it-IT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 e </a:t>
              </a:r>
              <a:r>
                <a:rPr kumimoji="0" lang="it-IT" sz="1200" b="0" i="0" u="none" strike="noStrike" kern="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EMTs</a:t>
              </a:r>
              <a:r>
                <a:rPr kumimoji="0" lang="it-IT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 applicabili</a:t>
              </a:r>
            </a:p>
          </p:txBody>
        </p:sp>
        <p:sp>
          <p:nvSpPr>
            <p:cNvPr id="30" name="Rectangular Callout 291">
              <a:extLst>
                <a:ext uri="{FF2B5EF4-FFF2-40B4-BE49-F238E27FC236}">
                  <a16:creationId xmlns:a16="http://schemas.microsoft.com/office/drawing/2014/main" id="{73101502-6DC2-CAAE-591E-973242B0CB31}"/>
                </a:ext>
              </a:extLst>
            </p:cNvPr>
            <p:cNvSpPr/>
            <p:nvPr/>
          </p:nvSpPr>
          <p:spPr>
            <a:xfrm>
              <a:off x="9465260" y="2784630"/>
              <a:ext cx="914899" cy="419330"/>
            </a:xfrm>
            <a:prstGeom prst="rect">
              <a:avLst/>
            </a:prstGeom>
            <a:noFill/>
            <a:ln w="9525" cap="flat" cmpd="sng" algn="ctr">
              <a:solidFill>
                <a:srgbClr val="FFE600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Luglio 2026</a:t>
              </a:r>
            </a:p>
          </p:txBody>
        </p:sp>
        <p:sp>
          <p:nvSpPr>
            <p:cNvPr id="31" name="Rectangular Callout 291">
              <a:extLst>
                <a:ext uri="{FF2B5EF4-FFF2-40B4-BE49-F238E27FC236}">
                  <a16:creationId xmlns:a16="http://schemas.microsoft.com/office/drawing/2014/main" id="{E0804F98-1D39-A06C-9E72-702FEF560707}"/>
                </a:ext>
              </a:extLst>
            </p:cNvPr>
            <p:cNvSpPr/>
            <p:nvPr/>
          </p:nvSpPr>
          <p:spPr>
            <a:xfrm>
              <a:off x="7874616" y="2777233"/>
              <a:ext cx="1317896" cy="405881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Fine periodo transitorio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per operatori esistenti</a:t>
              </a:r>
            </a:p>
          </p:txBody>
        </p:sp>
      </p:grpSp>
      <p:sp>
        <p:nvSpPr>
          <p:cNvPr id="33" name="Rectangular Callout 291">
            <a:extLst>
              <a:ext uri="{FF2B5EF4-FFF2-40B4-BE49-F238E27FC236}">
                <a16:creationId xmlns:a16="http://schemas.microsoft.com/office/drawing/2014/main" id="{23FEEC3B-6162-28DE-9832-E52ED7E56C4D}"/>
              </a:ext>
            </a:extLst>
          </p:cNvPr>
          <p:cNvSpPr/>
          <p:nvPr/>
        </p:nvSpPr>
        <p:spPr>
          <a:xfrm rot="16200000">
            <a:off x="5609195" y="3946625"/>
            <a:ext cx="1656000" cy="31888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400" b="1" kern="0">
                <a:solidFill>
                  <a:schemeClr val="tx2"/>
                </a:solidFill>
              </a:rPr>
              <a:t>Roadmap sviluppi</a:t>
            </a:r>
            <a:endParaRPr kumimoji="0" lang="it-IT" sz="1400" b="1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7" name="Rectangular Callout 291">
            <a:extLst>
              <a:ext uri="{FF2B5EF4-FFF2-40B4-BE49-F238E27FC236}">
                <a16:creationId xmlns:a16="http://schemas.microsoft.com/office/drawing/2014/main" id="{284B313F-16C1-1924-6936-F5DF675755D1}"/>
              </a:ext>
            </a:extLst>
          </p:cNvPr>
          <p:cNvSpPr/>
          <p:nvPr/>
        </p:nvSpPr>
        <p:spPr>
          <a:xfrm>
            <a:off x="798897" y="2511196"/>
            <a:ext cx="4870383" cy="478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200" kern="0">
                <a:solidFill>
                  <a:srgbClr val="FFFFFF"/>
                </a:solidFill>
              </a:rPr>
              <a:t>I regolatori USA, UE, Asia e Medio Oriente stanno sviluppando regimi dedicati, tutti però accomunati da 3 elementi principali</a:t>
            </a:r>
            <a:endParaRPr kumimoji="0" lang="it-IT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8284528-738A-BAF9-B5F7-B55126A7F32A}"/>
              </a:ext>
            </a:extLst>
          </p:cNvPr>
          <p:cNvGrpSpPr/>
          <p:nvPr/>
        </p:nvGrpSpPr>
        <p:grpSpPr>
          <a:xfrm>
            <a:off x="1519173" y="3063321"/>
            <a:ext cx="4923994" cy="2391358"/>
            <a:chOff x="259090" y="3008891"/>
            <a:chExt cx="4923994" cy="2391358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EBE0AC25-6045-9B5D-1EE2-11C356A5BF03}"/>
                </a:ext>
              </a:extLst>
            </p:cNvPr>
            <p:cNvSpPr/>
            <p:nvPr/>
          </p:nvSpPr>
          <p:spPr>
            <a:xfrm>
              <a:off x="1656451" y="3902818"/>
              <a:ext cx="593125" cy="603504"/>
            </a:xfrm>
            <a:prstGeom prst="ellipse">
              <a:avLst/>
            </a:prstGeom>
            <a:solidFill>
              <a:srgbClr val="FFE700"/>
            </a:solidFill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108000" tIns="108000" rIns="108000" bIns="108000" rtlCol="0" anchor="t" anchorCtr="0"/>
            <a:lstStyle/>
            <a:p>
              <a:pPr marL="252000" marR="0" indent="-252000" algn="l" defTabSz="91440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FFE600"/>
                </a:buClr>
                <a:buSzTx/>
                <a:buFont typeface="Wingdings" pitchFamily="2" charset="2"/>
                <a:buChar char="§"/>
                <a:tabLst/>
              </a:pPr>
              <a:endParaRPr kumimoji="0" lang="en-US" sz="2000" b="0" i="0" u="none" strike="noStrike" kern="0" cap="none" spc="0" normalizeH="0" baseline="0" noProof="0" err="1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22BDA166-9DBA-61DD-DDB7-5DFE320A2B08}"/>
                </a:ext>
              </a:extLst>
            </p:cNvPr>
            <p:cNvSpPr/>
            <p:nvPr/>
          </p:nvSpPr>
          <p:spPr>
            <a:xfrm>
              <a:off x="1349031" y="4796745"/>
              <a:ext cx="593125" cy="603504"/>
            </a:xfrm>
            <a:prstGeom prst="ellipse">
              <a:avLst/>
            </a:prstGeom>
            <a:solidFill>
              <a:srgbClr val="FFE700"/>
            </a:solidFill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108000" tIns="108000" rIns="108000" bIns="108000" rtlCol="0" anchor="t" anchorCtr="0"/>
            <a:lstStyle/>
            <a:p>
              <a:pPr marL="252000" marR="0" indent="-252000" algn="l" defTabSz="91440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FFE600"/>
                </a:buClr>
                <a:buSzTx/>
                <a:buFont typeface="Wingdings" pitchFamily="2" charset="2"/>
                <a:buChar char="§"/>
                <a:tabLst/>
              </a:pPr>
              <a:endParaRPr kumimoji="0" lang="en-US" sz="2000" b="0" i="0" u="none" strike="noStrike" kern="0" cap="none" spc="0" normalizeH="0" baseline="0" noProof="0" err="1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Rectangular Callout 291">
              <a:extLst>
                <a:ext uri="{FF2B5EF4-FFF2-40B4-BE49-F238E27FC236}">
                  <a16:creationId xmlns:a16="http://schemas.microsoft.com/office/drawing/2014/main" id="{16FAB849-0F01-2102-BF0F-6C346FE2CCA7}"/>
                </a:ext>
              </a:extLst>
            </p:cNvPr>
            <p:cNvSpPr/>
            <p:nvPr/>
          </p:nvSpPr>
          <p:spPr>
            <a:xfrm>
              <a:off x="2047343" y="3126505"/>
              <a:ext cx="2828321" cy="47823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sz="1200" kern="0">
                  <a:solidFill>
                    <a:srgbClr val="FFE700"/>
                  </a:solidFill>
                </a:rPr>
                <a:t>Riserva piena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sz="1200" kern="0">
                  <a:solidFill>
                    <a:srgbClr val="FFFFFF"/>
                  </a:solidFill>
                </a:rPr>
                <a:t>a copertura delle </a:t>
              </a:r>
              <a:r>
                <a:rPr lang="it-IT" sz="1200" kern="0" err="1">
                  <a:solidFill>
                    <a:srgbClr val="FFFFFF"/>
                  </a:solidFill>
                </a:rPr>
                <a:t>stablecoins</a:t>
              </a:r>
              <a:endParaRPr kumimoji="0" lang="it-IT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48" name="Rectangular Callout 291">
              <a:extLst>
                <a:ext uri="{FF2B5EF4-FFF2-40B4-BE49-F238E27FC236}">
                  <a16:creationId xmlns:a16="http://schemas.microsoft.com/office/drawing/2014/main" id="{79D00495-B1E6-3CDC-CCE9-1E94B07860C1}"/>
                </a:ext>
              </a:extLst>
            </p:cNvPr>
            <p:cNvSpPr/>
            <p:nvPr/>
          </p:nvSpPr>
          <p:spPr>
            <a:xfrm>
              <a:off x="2354763" y="3978255"/>
              <a:ext cx="2828321" cy="47823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0" i="0" u="none" strike="noStrike" kern="0" cap="none" spc="0" normalizeH="0" baseline="0" noProof="0">
                  <a:ln>
                    <a:noFill/>
                  </a:ln>
                  <a:solidFill>
                    <a:srgbClr val="FFE700"/>
                  </a:solidFill>
                  <a:effectLst/>
                  <a:uLnTx/>
                  <a:uFillTx/>
                </a:rPr>
                <a:t>Diritto di rimborso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sz="1200" kern="0">
                  <a:solidFill>
                    <a:srgbClr val="FFFFFF"/>
                  </a:solidFill>
                </a:rPr>
                <a:t>chiaro </a:t>
              </a:r>
              <a:endParaRPr kumimoji="0" lang="it-IT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49" name="Rectangular Callout 291">
              <a:extLst>
                <a:ext uri="{FF2B5EF4-FFF2-40B4-BE49-F238E27FC236}">
                  <a16:creationId xmlns:a16="http://schemas.microsoft.com/office/drawing/2014/main" id="{46B43E93-3EB1-0924-5824-2B44D748D55E}"/>
                </a:ext>
              </a:extLst>
            </p:cNvPr>
            <p:cNvSpPr/>
            <p:nvPr/>
          </p:nvSpPr>
          <p:spPr>
            <a:xfrm>
              <a:off x="2047343" y="4867048"/>
              <a:ext cx="2828321" cy="47823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sz="1200" kern="0">
                  <a:solidFill>
                    <a:srgbClr val="FFE700"/>
                  </a:solidFill>
                </a:rPr>
                <a:t>Custodia sicura</a:t>
              </a:r>
              <a:r>
                <a:rPr lang="it-IT" sz="1200" kern="0">
                  <a:solidFill>
                    <a:srgbClr val="FFFFFF"/>
                  </a:solidFill>
                </a:rPr>
                <a:t>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sz="1200" kern="0">
                  <a:solidFill>
                    <a:srgbClr val="FFFFFF"/>
                  </a:solidFill>
                </a:rPr>
                <a:t>d</a:t>
              </a:r>
              <a:r>
                <a:rPr kumimoji="0" lang="it-IT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egli asset dei clienti</a:t>
              </a:r>
            </a:p>
          </p:txBody>
        </p:sp>
        <p:sp>
          <p:nvSpPr>
            <p:cNvPr id="2" name="Arc 1">
              <a:extLst>
                <a:ext uri="{FF2B5EF4-FFF2-40B4-BE49-F238E27FC236}">
                  <a16:creationId xmlns:a16="http://schemas.microsoft.com/office/drawing/2014/main" id="{75943DA4-74F0-D968-B7B7-194EC07F574D}"/>
                </a:ext>
              </a:extLst>
            </p:cNvPr>
            <p:cNvSpPr/>
            <p:nvPr/>
          </p:nvSpPr>
          <p:spPr>
            <a:xfrm>
              <a:off x="259090" y="3124327"/>
              <a:ext cx="1729906" cy="2201729"/>
            </a:xfrm>
            <a:prstGeom prst="arc">
              <a:avLst>
                <a:gd name="adj1" fmla="val 16200000"/>
                <a:gd name="adj2" fmla="val 5439766"/>
              </a:avLst>
            </a:prstGeom>
            <a:ln w="19050">
              <a:solidFill>
                <a:srgbClr val="FFE700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B1BA999E-AA8A-53EB-F118-9B7195C605F1}"/>
                </a:ext>
              </a:extLst>
            </p:cNvPr>
            <p:cNvSpPr/>
            <p:nvPr/>
          </p:nvSpPr>
          <p:spPr>
            <a:xfrm>
              <a:off x="1349031" y="3008891"/>
              <a:ext cx="593125" cy="603504"/>
            </a:xfrm>
            <a:prstGeom prst="ellipse">
              <a:avLst/>
            </a:prstGeom>
            <a:solidFill>
              <a:srgbClr val="FFE700"/>
            </a:solidFill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108000" tIns="108000" rIns="108000" bIns="108000" rtlCol="0" anchor="t" anchorCtr="0"/>
            <a:lstStyle/>
            <a:p>
              <a:pPr marL="252000" marR="0" indent="-252000" algn="l" defTabSz="91440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FFE600"/>
                </a:buClr>
                <a:buSzTx/>
                <a:buFont typeface="Wingdings" pitchFamily="2" charset="2"/>
                <a:buChar char="§"/>
                <a:tabLst/>
              </a:pPr>
              <a:endParaRPr kumimoji="0" lang="en-US" sz="2000" b="0" i="0" u="none" strike="noStrike" kern="0" cap="none" spc="0" normalizeH="0" baseline="0" noProof="0" err="1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pic>
          <p:nvPicPr>
            <p:cNvPr id="42" name="Picture 41" descr="A black background with a black square&#10;&#10;AI-generated content may be incorrect.">
              <a:extLst>
                <a:ext uri="{FF2B5EF4-FFF2-40B4-BE49-F238E27FC236}">
                  <a16:creationId xmlns:a16="http://schemas.microsoft.com/office/drawing/2014/main" id="{AC05F6EB-D290-710F-E3EB-2A2563A0AAF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7464"/>
            <a:stretch>
              <a:fillRect/>
            </a:stretch>
          </p:blipFill>
          <p:spPr>
            <a:xfrm>
              <a:off x="1437630" y="3126505"/>
              <a:ext cx="409575" cy="338046"/>
            </a:xfrm>
            <a:prstGeom prst="rect">
              <a:avLst/>
            </a:prstGeom>
          </p:spPr>
        </p:pic>
        <p:pic>
          <p:nvPicPr>
            <p:cNvPr id="44" name="Picture 43" descr="A black background with a black square&#10;&#10;AI-generated content may be incorrect.">
              <a:extLst>
                <a:ext uri="{FF2B5EF4-FFF2-40B4-BE49-F238E27FC236}">
                  <a16:creationId xmlns:a16="http://schemas.microsoft.com/office/drawing/2014/main" id="{26F76C83-1142-F7C8-8BD5-6A02A7E7882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4489"/>
            <a:stretch>
              <a:fillRect/>
            </a:stretch>
          </p:blipFill>
          <p:spPr>
            <a:xfrm>
              <a:off x="1751282" y="3954177"/>
              <a:ext cx="479659" cy="410157"/>
            </a:xfrm>
            <a:prstGeom prst="rect">
              <a:avLst/>
            </a:prstGeom>
          </p:spPr>
        </p:pic>
        <p:pic>
          <p:nvPicPr>
            <p:cNvPr id="46" name="Picture 45" descr="A black background with a black square&#10;&#10;AI-generated content may be incorrect.">
              <a:extLst>
                <a:ext uri="{FF2B5EF4-FFF2-40B4-BE49-F238E27FC236}">
                  <a16:creationId xmlns:a16="http://schemas.microsoft.com/office/drawing/2014/main" id="{2E3E4EAD-A0F4-987C-8796-AD30D9695AE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3780"/>
            <a:stretch>
              <a:fillRect/>
            </a:stretch>
          </p:blipFill>
          <p:spPr>
            <a:xfrm>
              <a:off x="1306097" y="4765494"/>
              <a:ext cx="682165" cy="588161"/>
            </a:xfrm>
            <a:prstGeom prst="rect">
              <a:avLst/>
            </a:prstGeom>
          </p:spPr>
        </p:pic>
      </p:grpSp>
      <p:sp>
        <p:nvSpPr>
          <p:cNvPr id="55" name="Rectangular Callout 291">
            <a:extLst>
              <a:ext uri="{FF2B5EF4-FFF2-40B4-BE49-F238E27FC236}">
                <a16:creationId xmlns:a16="http://schemas.microsoft.com/office/drawing/2014/main" id="{B2388AF5-A944-A364-F426-D5F06040668B}"/>
              </a:ext>
            </a:extLst>
          </p:cNvPr>
          <p:cNvSpPr/>
          <p:nvPr/>
        </p:nvSpPr>
        <p:spPr>
          <a:xfrm>
            <a:off x="998755" y="4102365"/>
            <a:ext cx="1423144" cy="318889"/>
          </a:xfrm>
          <a:prstGeom prst="rect">
            <a:avLst/>
          </a:prstGeom>
          <a:noFill/>
          <a:ln w="9525" cap="flat" cmpd="sng" algn="ctr">
            <a:solidFill>
              <a:srgbClr val="FFE600"/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000" kern="0">
                <a:solidFill>
                  <a:srgbClr val="FFFFFF"/>
                </a:solidFill>
              </a:rPr>
              <a:t>Key </a:t>
            </a:r>
            <a:r>
              <a:rPr lang="it-IT" sz="1000" kern="0" err="1">
                <a:solidFill>
                  <a:srgbClr val="FFFFFF"/>
                </a:solidFill>
              </a:rPr>
              <a:t>element</a:t>
            </a:r>
            <a:r>
              <a:rPr lang="it-IT" sz="1000" kern="0">
                <a:solidFill>
                  <a:srgbClr val="FFFFFF"/>
                </a:solidFill>
              </a:rPr>
              <a:t> </a:t>
            </a:r>
            <a:endParaRPr kumimoji="0" lang="it-IT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D3B5708-9546-56B9-058C-28A5AB1E7BD1}"/>
              </a:ext>
            </a:extLst>
          </p:cNvPr>
          <p:cNvSpPr txBox="1"/>
          <p:nvPr/>
        </p:nvSpPr>
        <p:spPr>
          <a:xfrm>
            <a:off x="452703" y="1140471"/>
            <a:ext cx="1103385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/>
              <a:t>La crescita globale delle </a:t>
            </a:r>
            <a:r>
              <a:rPr lang="it-IT" sz="1400" err="1"/>
              <a:t>stablecoin</a:t>
            </a:r>
            <a:r>
              <a:rPr lang="it-IT" sz="1400"/>
              <a:t> spinge i regolatori a introdurre norme comuni su riserve, rimborso e custodia, ma le differenze locali creano frammentazione normativa; EY aiuta le aziende a navigare questo contesto complesso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EB9A9C3D-FEAB-D9AC-7604-58DB75B7CDDB}"/>
              </a:ext>
            </a:extLst>
          </p:cNvPr>
          <p:cNvSpPr txBox="1">
            <a:spLocks/>
          </p:cNvSpPr>
          <p:nvPr/>
        </p:nvSpPr>
        <p:spPr>
          <a:xfrm>
            <a:off x="6671472" y="6520888"/>
            <a:ext cx="470986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lang="en-IN"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/>
              <a:t>Fonte: Global approaches to stablecoin regulation </a:t>
            </a:r>
            <a:r>
              <a:rPr lang="en-IN"/>
              <a:t> (</a:t>
            </a:r>
            <a:r>
              <a:rPr lang="en-IN" err="1"/>
              <a:t>Luglio</a:t>
            </a:r>
            <a:r>
              <a:rPr lang="en-IN"/>
              <a:t> 2025 )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0305718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01" name="think-cell data - do not delete" hidden="1">
            <a:extLst>
              <a:ext uri="{FF2B5EF4-FFF2-40B4-BE49-F238E27FC236}">
                <a16:creationId xmlns:a16="http://schemas.microsoft.com/office/drawing/2014/main" id="{180592D1-470A-F7F4-D3E1-A71B0AB951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9181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10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0592D1-470A-F7F4-D3E1-A71B0AB951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100" name="Straight Connector 2099">
            <a:extLst>
              <a:ext uri="{FF2B5EF4-FFF2-40B4-BE49-F238E27FC236}">
                <a16:creationId xmlns:a16="http://schemas.microsoft.com/office/drawing/2014/main" id="{DEAAD21C-9E0F-499C-BBC6-F743460F223E}"/>
              </a:ext>
            </a:extLst>
          </p:cNvPr>
          <p:cNvCxnSpPr>
            <a:cxnSpLocks/>
          </p:cNvCxnSpPr>
          <p:nvPr/>
        </p:nvCxnSpPr>
        <p:spPr>
          <a:xfrm>
            <a:off x="798971" y="2849912"/>
            <a:ext cx="5156259" cy="0"/>
          </a:xfrm>
          <a:prstGeom prst="line">
            <a:avLst/>
          </a:prstGeom>
          <a:ln w="3175">
            <a:solidFill>
              <a:srgbClr val="FFE60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9A7E0A-F681-56B8-2422-F20A6FA61BB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26</a:t>
            </a:fld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C11B318-FA46-0A67-C69C-D4140AA4DC95}"/>
              </a:ext>
            </a:extLst>
          </p:cNvPr>
          <p:cNvCxnSpPr>
            <a:cxnSpLocks/>
          </p:cNvCxnSpPr>
          <p:nvPr/>
        </p:nvCxnSpPr>
        <p:spPr>
          <a:xfrm>
            <a:off x="7133761" y="2722798"/>
            <a:ext cx="0" cy="3773467"/>
          </a:xfrm>
          <a:prstGeom prst="line">
            <a:avLst/>
          </a:prstGeom>
          <a:ln w="28575">
            <a:solidFill>
              <a:srgbClr val="FFE6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A47EE47-EBF8-1356-5C05-97699818D6A0}"/>
              </a:ext>
            </a:extLst>
          </p:cNvPr>
          <p:cNvCxnSpPr>
            <a:cxnSpLocks/>
          </p:cNvCxnSpPr>
          <p:nvPr/>
        </p:nvCxnSpPr>
        <p:spPr>
          <a:xfrm>
            <a:off x="7133761" y="2722798"/>
            <a:ext cx="4687508" cy="0"/>
          </a:xfrm>
          <a:prstGeom prst="line">
            <a:avLst/>
          </a:prstGeom>
          <a:ln w="28575">
            <a:solidFill>
              <a:srgbClr val="FFE6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val 9">
            <a:extLst>
              <a:ext uri="{FF2B5EF4-FFF2-40B4-BE49-F238E27FC236}">
                <a16:creationId xmlns:a16="http://schemas.microsoft.com/office/drawing/2014/main" id="{0FBA2E42-916D-2153-4730-DE1B95E06729}"/>
              </a:ext>
            </a:extLst>
          </p:cNvPr>
          <p:cNvSpPr/>
          <p:nvPr/>
        </p:nvSpPr>
        <p:spPr>
          <a:xfrm>
            <a:off x="6798462" y="2387501"/>
            <a:ext cx="670595" cy="670595"/>
          </a:xfrm>
          <a:prstGeom prst="ellipse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it-IT" sz="2400" b="1">
              <a:solidFill>
                <a:schemeClr val="tx1"/>
              </a:solidFill>
            </a:endParaRPr>
          </a:p>
        </p:txBody>
      </p:sp>
      <p:sp>
        <p:nvSpPr>
          <p:cNvPr id="11" name="_content" descr="© INSCALE GmbH, 26.05.2010&#10;http://www.presentationload.com/">
            <a:extLst>
              <a:ext uri="{FF2B5EF4-FFF2-40B4-BE49-F238E27FC236}">
                <a16:creationId xmlns:a16="http://schemas.microsoft.com/office/drawing/2014/main" id="{7A416F9E-492B-0130-6856-681DA926DCE3}"/>
              </a:ext>
            </a:extLst>
          </p:cNvPr>
          <p:cNvSpPr>
            <a:spLocks noChangeArrowheads="1"/>
          </p:cNvSpPr>
          <p:nvPr/>
        </p:nvSpPr>
        <p:spPr bwMode="gray">
          <a:xfrm>
            <a:off x="8059069" y="2545194"/>
            <a:ext cx="3269402" cy="355208"/>
          </a:xfrm>
          <a:prstGeom prst="rect">
            <a:avLst/>
          </a:prstGeom>
          <a:solidFill>
            <a:srgbClr val="000000"/>
          </a:solidFill>
          <a:ln w="19050">
            <a:noFill/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 defTabSz="801688" fontAlgn="base"/>
            <a:r>
              <a:rPr lang="en-IN" sz="1600" b="1" noProof="1">
                <a:solidFill>
                  <a:schemeClr val="tx2"/>
                </a:solidFill>
                <a:latin typeface="+mj-lt"/>
                <a:cs typeface="Arial" pitchFamily="34" charset="0"/>
              </a:rPr>
              <a:t>MODELLO DI FUNZIONAMENTO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D86D8FD1-0FC2-8ED6-1215-03E32A177EB3}"/>
              </a:ext>
            </a:extLst>
          </p:cNvPr>
          <p:cNvCxnSpPr>
            <a:cxnSpLocks/>
            <a:stCxn id="21" idx="6"/>
            <a:endCxn id="24" idx="2"/>
          </p:cNvCxnSpPr>
          <p:nvPr/>
        </p:nvCxnSpPr>
        <p:spPr>
          <a:xfrm>
            <a:off x="8330404" y="4917230"/>
            <a:ext cx="2879333" cy="0"/>
          </a:xfrm>
          <a:prstGeom prst="straightConnector1">
            <a:avLst/>
          </a:prstGeom>
          <a:ln w="9525" cap="flat" cmpd="sng" algn="ctr">
            <a:solidFill>
              <a:srgbClr val="74748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80E002C5-70F5-7E0D-073D-5DAE633EE54B}"/>
              </a:ext>
            </a:extLst>
          </p:cNvPr>
          <p:cNvSpPr txBox="1"/>
          <p:nvPr/>
        </p:nvSpPr>
        <p:spPr>
          <a:xfrm>
            <a:off x="7778320" y="3284368"/>
            <a:ext cx="811659" cy="2092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User A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F1FA01A-6E67-C9E4-AA1F-04E3F23DC728}"/>
              </a:ext>
            </a:extLst>
          </p:cNvPr>
          <p:cNvGrpSpPr>
            <a:grpSpLocks/>
          </p:cNvGrpSpPr>
          <p:nvPr/>
        </p:nvGrpSpPr>
        <p:grpSpPr>
          <a:xfrm>
            <a:off x="11209737" y="3558673"/>
            <a:ext cx="360000" cy="360000"/>
            <a:chOff x="2780411" y="2746823"/>
            <a:chExt cx="360000" cy="360000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870A2A3D-D20C-AA63-DF04-088983145EF7}"/>
                </a:ext>
              </a:extLst>
            </p:cNvPr>
            <p:cNvSpPr/>
            <p:nvPr/>
          </p:nvSpPr>
          <p:spPr>
            <a:xfrm>
              <a:off x="2780411" y="2746823"/>
              <a:ext cx="360000" cy="360000"/>
            </a:xfrm>
            <a:prstGeom prst="ellipse">
              <a:avLst/>
            </a:prstGeom>
            <a:noFill/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36B937E6-A0DB-F3A8-72D1-7F28B401E4BD}"/>
                </a:ext>
              </a:extLst>
            </p:cNvPr>
            <p:cNvPicPr>
              <a:picLocks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2798411" y="2764823"/>
              <a:ext cx="324000" cy="324000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3373" cap="flat">
                  <a:solidFill>
                    <a:schemeClr val="tx1"/>
                  </a:solidFill>
                  <a:prstDash val="solid"/>
                  <a:miter/>
                </a14:hiddenLine>
              </a:ext>
            </a:extLst>
          </p:spPr>
        </p:pic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28278CED-7B58-84A6-4A32-48D6546FEE9A}"/>
              </a:ext>
            </a:extLst>
          </p:cNvPr>
          <p:cNvSpPr txBox="1"/>
          <p:nvPr/>
        </p:nvSpPr>
        <p:spPr>
          <a:xfrm>
            <a:off x="10983908" y="3284368"/>
            <a:ext cx="811659" cy="2092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User B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7075A3B-E6A5-3A83-EA23-798FA5DC3053}"/>
              </a:ext>
            </a:extLst>
          </p:cNvPr>
          <p:cNvGrpSpPr/>
          <p:nvPr/>
        </p:nvGrpSpPr>
        <p:grpSpPr>
          <a:xfrm>
            <a:off x="7970404" y="4737230"/>
            <a:ext cx="360000" cy="360000"/>
            <a:chOff x="2474815" y="2960628"/>
            <a:chExt cx="360000" cy="360000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BB28653B-D304-C192-F099-A7BE3D494EBC}"/>
                </a:ext>
              </a:extLst>
            </p:cNvPr>
            <p:cNvSpPr/>
            <p:nvPr/>
          </p:nvSpPr>
          <p:spPr>
            <a:xfrm>
              <a:off x="2474815" y="2960628"/>
              <a:ext cx="360000" cy="360000"/>
            </a:xfrm>
            <a:prstGeom prst="ellipse">
              <a:avLst/>
            </a:prstGeom>
            <a:noFill/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pic>
          <p:nvPicPr>
            <p:cNvPr id="22" name="Picture 6" descr="Wallet ">
              <a:extLst>
                <a:ext uri="{FF2B5EF4-FFF2-40B4-BE49-F238E27FC236}">
                  <a16:creationId xmlns:a16="http://schemas.microsoft.com/office/drawing/2014/main" id="{EC0FF8C0-1B17-41DA-1CAC-801D8F2FF4E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45780" y="3022271"/>
              <a:ext cx="221295" cy="212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6AD236C-CBFB-16C3-0F3D-EF58E86FC3B1}"/>
              </a:ext>
            </a:extLst>
          </p:cNvPr>
          <p:cNvGrpSpPr/>
          <p:nvPr/>
        </p:nvGrpSpPr>
        <p:grpSpPr>
          <a:xfrm>
            <a:off x="11209737" y="4737230"/>
            <a:ext cx="360000" cy="360000"/>
            <a:chOff x="2474815" y="2960628"/>
            <a:chExt cx="360000" cy="360000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EC5F3DD9-D628-03D8-939E-1F1A8B7FF447}"/>
                </a:ext>
              </a:extLst>
            </p:cNvPr>
            <p:cNvSpPr/>
            <p:nvPr/>
          </p:nvSpPr>
          <p:spPr>
            <a:xfrm>
              <a:off x="2474815" y="2960628"/>
              <a:ext cx="360000" cy="360000"/>
            </a:xfrm>
            <a:prstGeom prst="ellipse">
              <a:avLst/>
            </a:prstGeom>
            <a:noFill/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pic>
          <p:nvPicPr>
            <p:cNvPr id="25" name="Picture 6" descr="Wallet ">
              <a:extLst>
                <a:ext uri="{FF2B5EF4-FFF2-40B4-BE49-F238E27FC236}">
                  <a16:creationId xmlns:a16="http://schemas.microsoft.com/office/drawing/2014/main" id="{315A10D2-C3D9-E6AF-5502-912DA2F1423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45780" y="3022271"/>
              <a:ext cx="221295" cy="212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0688B2C7-2970-48DE-930A-3B25B379F746}"/>
              </a:ext>
            </a:extLst>
          </p:cNvPr>
          <p:cNvSpPr txBox="1"/>
          <p:nvPr/>
        </p:nvSpPr>
        <p:spPr>
          <a:xfrm>
            <a:off x="7737737" y="5177611"/>
            <a:ext cx="892825" cy="36625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Account A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90835AE-42E1-C24C-97A4-8C7D2E6FAC2E}"/>
              </a:ext>
            </a:extLst>
          </p:cNvPr>
          <p:cNvSpPr txBox="1"/>
          <p:nvPr/>
        </p:nvSpPr>
        <p:spPr>
          <a:xfrm>
            <a:off x="10943325" y="5177611"/>
            <a:ext cx="892825" cy="36625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Account B</a:t>
            </a: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EB3D192C-E6E7-5D01-A575-8F9381BE798A}"/>
              </a:ext>
            </a:extLst>
          </p:cNvPr>
          <p:cNvCxnSpPr>
            <a:cxnSpLocks/>
            <a:stCxn id="53" idx="4"/>
            <a:endCxn id="21" idx="0"/>
          </p:cNvCxnSpPr>
          <p:nvPr/>
        </p:nvCxnSpPr>
        <p:spPr>
          <a:xfrm>
            <a:off x="8150403" y="3918673"/>
            <a:ext cx="1" cy="818557"/>
          </a:xfrm>
          <a:prstGeom prst="straightConnector1">
            <a:avLst/>
          </a:prstGeom>
          <a:ln w="9525" cap="flat" cmpd="sng" algn="ctr">
            <a:solidFill>
              <a:srgbClr val="74748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0D8989FE-AE1B-C47C-87F6-57979DB9F0ED}"/>
              </a:ext>
            </a:extLst>
          </p:cNvPr>
          <p:cNvCxnSpPr>
            <a:cxnSpLocks/>
          </p:cNvCxnSpPr>
          <p:nvPr/>
        </p:nvCxnSpPr>
        <p:spPr>
          <a:xfrm flipV="1">
            <a:off x="11389737" y="3918673"/>
            <a:ext cx="0" cy="818557"/>
          </a:xfrm>
          <a:prstGeom prst="straightConnector1">
            <a:avLst/>
          </a:prstGeom>
          <a:ln w="9525" cap="flat" cmpd="sng" algn="ctr">
            <a:solidFill>
              <a:srgbClr val="74748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BB77C824-BB50-1F52-6258-78EDF1CC5C9F}"/>
              </a:ext>
            </a:extLst>
          </p:cNvPr>
          <p:cNvSpPr txBox="1"/>
          <p:nvPr/>
        </p:nvSpPr>
        <p:spPr>
          <a:xfrm>
            <a:off x="8307847" y="4127764"/>
            <a:ext cx="1107842" cy="39241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Ricarica account e cash in </a:t>
            </a:r>
            <a:r>
              <a:rPr kumimoji="0" lang="it-IT" sz="10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Stablecoin</a:t>
            </a:r>
            <a:endParaRPr kumimoji="0" lang="it-IT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74A9C38-6B18-BD2D-3E8A-40A351F1B5DD}"/>
              </a:ext>
            </a:extLst>
          </p:cNvPr>
          <p:cNvSpPr txBox="1"/>
          <p:nvPr/>
        </p:nvSpPr>
        <p:spPr>
          <a:xfrm>
            <a:off x="10246998" y="4127764"/>
            <a:ext cx="967014" cy="39241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Conversione </a:t>
            </a:r>
            <a:r>
              <a:rPr kumimoji="0" lang="it-IT" sz="10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Stablecoin</a:t>
            </a: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in valuta Fiat</a:t>
            </a: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FFD7CEA-E4D5-EDF5-256A-1CFB0E9AF114}"/>
              </a:ext>
            </a:extLst>
          </p:cNvPr>
          <p:cNvGrpSpPr/>
          <p:nvPr/>
        </p:nvGrpSpPr>
        <p:grpSpPr>
          <a:xfrm>
            <a:off x="9102371" y="4800324"/>
            <a:ext cx="1335400" cy="632667"/>
            <a:chOff x="8913683" y="4800324"/>
            <a:chExt cx="1335400" cy="632667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C9D7CDF9-A303-3ADA-DF5E-2AEC98DDC636}"/>
                </a:ext>
              </a:extLst>
            </p:cNvPr>
            <p:cNvSpPr txBox="1"/>
            <p:nvPr/>
          </p:nvSpPr>
          <p:spPr>
            <a:xfrm>
              <a:off x="8913683" y="5079817"/>
              <a:ext cx="1335400" cy="35317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kumimoji="0" lang="it-IT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Invio P2P </a:t>
              </a:r>
              <a:r>
                <a:rPr kumimoji="0" lang="it-IT" sz="9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Stablecoin</a:t>
              </a:r>
              <a:r>
                <a:rPr kumimoji="0" lang="it-IT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 tramite infrastruttura dedicata</a:t>
              </a: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5C89EAC9-BE47-53F8-041D-AF798FD60928}"/>
                </a:ext>
              </a:extLst>
            </p:cNvPr>
            <p:cNvSpPr/>
            <p:nvPr/>
          </p:nvSpPr>
          <p:spPr>
            <a:xfrm>
              <a:off x="9458837" y="4800324"/>
              <a:ext cx="245093" cy="23381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FFE600"/>
                </a:buClr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>
                  <a:ln>
                    <a:noFill/>
                  </a:ln>
                  <a:solidFill>
                    <a:srgbClr val="1A1A24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2</a:t>
              </a:r>
            </a:p>
          </p:txBody>
        </p:sp>
      </p:grpSp>
      <p:sp>
        <p:nvSpPr>
          <p:cNvPr id="34" name="Oval 33">
            <a:extLst>
              <a:ext uri="{FF2B5EF4-FFF2-40B4-BE49-F238E27FC236}">
                <a16:creationId xmlns:a16="http://schemas.microsoft.com/office/drawing/2014/main" id="{DE3FEF39-47FF-AF9C-B216-63BF41BFAEAA}"/>
              </a:ext>
            </a:extLst>
          </p:cNvPr>
          <p:cNvSpPr/>
          <p:nvPr/>
        </p:nvSpPr>
        <p:spPr>
          <a:xfrm>
            <a:off x="8027857" y="4173341"/>
            <a:ext cx="245093" cy="233812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1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02C4CEF3-7C70-FBA1-E6E3-30615BF17C6D}"/>
              </a:ext>
            </a:extLst>
          </p:cNvPr>
          <p:cNvSpPr/>
          <p:nvPr/>
        </p:nvSpPr>
        <p:spPr>
          <a:xfrm>
            <a:off x="11267191" y="4173341"/>
            <a:ext cx="245093" cy="233812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3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E9D8C2F-C1D9-94CE-BBD3-972BEB2FD713}"/>
              </a:ext>
            </a:extLst>
          </p:cNvPr>
          <p:cNvSpPr/>
          <p:nvPr/>
        </p:nvSpPr>
        <p:spPr>
          <a:xfrm>
            <a:off x="7580116" y="4566769"/>
            <a:ext cx="4368043" cy="1287218"/>
          </a:xfrm>
          <a:prstGeom prst="rect">
            <a:avLst/>
          </a:prstGeom>
          <a:noFill/>
          <a:ln w="12700">
            <a:solidFill>
              <a:schemeClr val="tx2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/>
          <a:lstStyle/>
          <a:p>
            <a:pPr marL="252000" marR="0" lvl="0" indent="-252000" algn="l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it-IT" sz="2000" b="0" i="0" u="none" strike="noStrike" kern="1200" cap="none" spc="0" normalizeH="0" baseline="0" noProof="0" err="1">
              <a:ln>
                <a:noFill/>
              </a:ln>
              <a:solidFill>
                <a:srgbClr val="1A1A24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37" name="Arrow: Left-Right 36">
            <a:extLst>
              <a:ext uri="{FF2B5EF4-FFF2-40B4-BE49-F238E27FC236}">
                <a16:creationId xmlns:a16="http://schemas.microsoft.com/office/drawing/2014/main" id="{CD3655F9-949C-9BB1-D17B-7ECEB3147B4F}"/>
              </a:ext>
            </a:extLst>
          </p:cNvPr>
          <p:cNvSpPr/>
          <p:nvPr/>
        </p:nvSpPr>
        <p:spPr>
          <a:xfrm>
            <a:off x="8328055" y="5757004"/>
            <a:ext cx="2872164" cy="165623"/>
          </a:xfrm>
          <a:prstGeom prst="leftRightArrow">
            <a:avLst>
              <a:gd name="adj1" fmla="val 100000"/>
              <a:gd name="adj2" fmla="val 0"/>
            </a:avLst>
          </a:prstGeom>
          <a:solidFill>
            <a:srgbClr val="000000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>
            <a:spAutoFit/>
          </a:bodyPr>
          <a:lstStyle/>
          <a:p>
            <a:pPr marL="0" marR="0" lvl="0" indent="0" algn="ctr" defTabSz="441794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STABLECOIN PAYMENT INFRASTRUCTURE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46DF1659-33F3-5D21-F34F-0D4E155250F0}"/>
              </a:ext>
            </a:extLst>
          </p:cNvPr>
          <p:cNvGrpSpPr/>
          <p:nvPr/>
        </p:nvGrpSpPr>
        <p:grpSpPr>
          <a:xfrm>
            <a:off x="543585" y="1269629"/>
            <a:ext cx="11166285" cy="781415"/>
            <a:chOff x="543585" y="1154458"/>
            <a:chExt cx="11166285" cy="781415"/>
          </a:xfrm>
        </p:grpSpPr>
        <p:sp>
          <p:nvSpPr>
            <p:cNvPr id="40" name="Content Placeholder 6">
              <a:extLst>
                <a:ext uri="{FF2B5EF4-FFF2-40B4-BE49-F238E27FC236}">
                  <a16:creationId xmlns:a16="http://schemas.microsoft.com/office/drawing/2014/main" id="{EE3152E2-0DF8-CA8E-48A9-3E76D5D057D0}"/>
                </a:ext>
              </a:extLst>
            </p:cNvPr>
            <p:cNvSpPr txBox="1">
              <a:spLocks/>
            </p:cNvSpPr>
            <p:nvPr/>
          </p:nvSpPr>
          <p:spPr>
            <a:xfrm>
              <a:off x="543585" y="1154458"/>
              <a:ext cx="2565375" cy="781415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252000" indent="-252000" algn="l" defTabSz="914400" rtl="0" eaLnBrk="1" latinLnBrk="0" hangingPunct="1"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20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504000" indent="-252000" algn="l" defTabSz="914400" rtl="0" eaLnBrk="1" latinLnBrk="0" hangingPunct="1"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20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56000" indent="-2520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1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1008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1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260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1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1512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Wingdings" pitchFamily="2" charset="2"/>
                <a:buChar char="§"/>
                <a:tabLst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6pPr>
              <a:lvl7pPr marL="1764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Wingdings" pitchFamily="2" charset="2"/>
                <a:buChar char="§"/>
                <a:tabLst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7pPr>
              <a:lvl8pPr marL="2016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Wingdings" pitchFamily="2" charset="2"/>
                <a:buChar char="§"/>
                <a:tabLst/>
                <a:defRPr sz="1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8pPr>
              <a:lvl9pPr marL="2268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Wingdings" pitchFamily="2" charset="2"/>
                <a:buChar char="§"/>
                <a:tabLst/>
                <a:defRPr sz="1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E600"/>
                </a:buClr>
                <a:buSzPct val="100000"/>
                <a:buFont typeface="Wingdings" pitchFamily="2" charset="2"/>
                <a:buNone/>
                <a:tabLst/>
                <a:defRPr/>
              </a:pPr>
              <a:r>
                <a:rPr kumimoji="0" lang="it-IT" sz="2000" b="1" i="0" u="none" strike="noStrike" kern="1200" cap="none" spc="0" normalizeH="0" baseline="0" noProof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$9,1 T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E600"/>
                </a:buClr>
                <a:buSzPct val="100000"/>
                <a:buFont typeface="Wingdings" pitchFamily="2" charset="2"/>
                <a:buNone/>
                <a:tabLst/>
                <a:defRPr/>
              </a:pPr>
              <a:r>
                <a:rPr kumimoji="0" lang="it-IT" sz="1400" b="0" i="1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Volumi di transato in </a:t>
              </a:r>
              <a:r>
                <a:rPr kumimoji="0" lang="it-IT" sz="1400" b="0" i="1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Stablecoin</a:t>
              </a:r>
              <a:r>
                <a:rPr kumimoji="0" lang="it-IT" sz="1400" b="0" i="1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 negli ultimi 12 mesi</a:t>
              </a:r>
              <a:endParaRPr kumimoji="0" lang="it-IT" sz="1400" b="0" i="1" u="none" strike="noStrike" kern="120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41" name="Content Placeholder 6">
              <a:extLst>
                <a:ext uri="{FF2B5EF4-FFF2-40B4-BE49-F238E27FC236}">
                  <a16:creationId xmlns:a16="http://schemas.microsoft.com/office/drawing/2014/main" id="{574B408E-87BE-1A66-513B-62BB733BABCC}"/>
                </a:ext>
              </a:extLst>
            </p:cNvPr>
            <p:cNvSpPr txBox="1">
              <a:spLocks/>
            </p:cNvSpPr>
            <p:nvPr/>
          </p:nvSpPr>
          <p:spPr>
            <a:xfrm>
              <a:off x="3507850" y="1154458"/>
              <a:ext cx="2588150" cy="781415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252000" indent="-252000" algn="l" defTabSz="914400" rtl="0" eaLnBrk="1" latinLnBrk="0" hangingPunct="1"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20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504000" indent="-252000" algn="l" defTabSz="914400" rtl="0" eaLnBrk="1" latinLnBrk="0" hangingPunct="1"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20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56000" indent="-2520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1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1008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1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260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1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1512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Wingdings" pitchFamily="2" charset="2"/>
                <a:buChar char="§"/>
                <a:tabLst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6pPr>
              <a:lvl7pPr marL="1764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Wingdings" pitchFamily="2" charset="2"/>
                <a:buChar char="§"/>
                <a:tabLst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7pPr>
              <a:lvl8pPr marL="2016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Wingdings" pitchFamily="2" charset="2"/>
                <a:buChar char="§"/>
                <a:tabLst/>
                <a:defRPr sz="1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8pPr>
              <a:lvl9pPr marL="2268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Wingdings" pitchFamily="2" charset="2"/>
                <a:buChar char="§"/>
                <a:tabLst/>
                <a:defRPr sz="1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E600"/>
                </a:buClr>
                <a:buSzPct val="100000"/>
                <a:buFont typeface="Wingdings" pitchFamily="2" charset="2"/>
                <a:buNone/>
                <a:tabLst/>
                <a:defRPr/>
              </a:pPr>
              <a:r>
                <a:rPr kumimoji="0" lang="it-IT" sz="2000" b="1" i="0" u="none" strike="noStrike" kern="1200" cap="none" spc="0" normalizeH="0" baseline="0" noProof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&gt;50%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E600"/>
                </a:buClr>
                <a:buSzPct val="100000"/>
                <a:buFont typeface="Wingdings" pitchFamily="2" charset="2"/>
                <a:buNone/>
                <a:tabLst/>
                <a:defRPr/>
              </a:pPr>
              <a:r>
                <a:rPr kumimoji="0" lang="it-IT" sz="1400" b="0" i="1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Incremento volumi di </a:t>
              </a:r>
              <a:r>
                <a:rPr kumimoji="0" lang="it-IT" sz="1400" b="0" i="1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Stablecoin</a:t>
              </a:r>
              <a:r>
                <a:rPr kumimoji="0" lang="it-IT" sz="1400" b="0" i="1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 </a:t>
              </a:r>
              <a:r>
                <a:rPr kumimoji="0" lang="it-IT" sz="1400" b="0" i="1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YoY</a:t>
              </a:r>
              <a:r>
                <a:rPr kumimoji="0" lang="it-IT" sz="1400" b="0" i="1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 negli ultimi 12 mesi</a:t>
              </a:r>
              <a:endParaRPr kumimoji="0" lang="it-IT" sz="1400" b="0" i="1" u="none" strike="noStrike" kern="120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42" name="Content Placeholder 6">
              <a:extLst>
                <a:ext uri="{FF2B5EF4-FFF2-40B4-BE49-F238E27FC236}">
                  <a16:creationId xmlns:a16="http://schemas.microsoft.com/office/drawing/2014/main" id="{97095E1C-A721-33E8-267C-3B5814B4705B}"/>
                </a:ext>
              </a:extLst>
            </p:cNvPr>
            <p:cNvSpPr txBox="1">
              <a:spLocks/>
            </p:cNvSpPr>
            <p:nvPr/>
          </p:nvSpPr>
          <p:spPr>
            <a:xfrm>
              <a:off x="6472115" y="1154458"/>
              <a:ext cx="2588150" cy="781415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252000" indent="-252000" algn="l" defTabSz="914400" rtl="0" eaLnBrk="1" latinLnBrk="0" hangingPunct="1"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20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504000" indent="-252000" algn="l" defTabSz="914400" rtl="0" eaLnBrk="1" latinLnBrk="0" hangingPunct="1"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20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56000" indent="-2520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1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1008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1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260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1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1512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Wingdings" pitchFamily="2" charset="2"/>
                <a:buChar char="§"/>
                <a:tabLst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6pPr>
              <a:lvl7pPr marL="1764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Wingdings" pitchFamily="2" charset="2"/>
                <a:buChar char="§"/>
                <a:tabLst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7pPr>
              <a:lvl8pPr marL="2016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Wingdings" pitchFamily="2" charset="2"/>
                <a:buChar char="§"/>
                <a:tabLst/>
                <a:defRPr sz="1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8pPr>
              <a:lvl9pPr marL="2268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Wingdings" pitchFamily="2" charset="2"/>
                <a:buChar char="§"/>
                <a:tabLst/>
                <a:defRPr sz="1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E600"/>
                </a:buClr>
                <a:buSzPct val="100000"/>
                <a:buFont typeface="Wingdings" pitchFamily="2" charset="2"/>
                <a:buNone/>
                <a:tabLst/>
                <a:defRPr/>
              </a:pPr>
              <a:r>
                <a:rPr kumimoji="0" lang="it-IT" sz="2000" b="1" i="0" u="none" strike="noStrike" kern="1200" cap="none" spc="0" normalizeH="0" baseline="0" noProof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1,9 Mld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E600"/>
                </a:buClr>
                <a:buSzPct val="100000"/>
                <a:buFont typeface="Wingdings" pitchFamily="2" charset="2"/>
                <a:buNone/>
                <a:tabLst/>
                <a:defRPr/>
              </a:pPr>
              <a:r>
                <a:rPr kumimoji="0" lang="it-IT" sz="1400" b="0" i="1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Totale Transazioni in </a:t>
              </a:r>
              <a:r>
                <a:rPr kumimoji="0" lang="it-IT" sz="1400" b="0" i="1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Stablecoin</a:t>
              </a:r>
              <a:r>
                <a:rPr kumimoji="0" lang="it-IT" sz="1400" b="0" i="1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 negli ultimi 12 mesi</a:t>
              </a:r>
              <a:endParaRPr kumimoji="0" lang="it-IT" sz="1400" b="0" i="1" u="none" strike="noStrike" kern="120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43" name="Content Placeholder 6">
              <a:extLst>
                <a:ext uri="{FF2B5EF4-FFF2-40B4-BE49-F238E27FC236}">
                  <a16:creationId xmlns:a16="http://schemas.microsoft.com/office/drawing/2014/main" id="{F408C906-2557-D6F3-549A-9B305D74D635}"/>
                </a:ext>
              </a:extLst>
            </p:cNvPr>
            <p:cNvSpPr txBox="1">
              <a:spLocks/>
            </p:cNvSpPr>
            <p:nvPr/>
          </p:nvSpPr>
          <p:spPr>
            <a:xfrm>
              <a:off x="9307629" y="1154458"/>
              <a:ext cx="2402241" cy="781415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252000" indent="-252000" algn="l" defTabSz="914400" rtl="0" eaLnBrk="1" latinLnBrk="0" hangingPunct="1"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20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504000" indent="-252000" algn="l" defTabSz="914400" rtl="0" eaLnBrk="1" latinLnBrk="0" hangingPunct="1"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20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56000" indent="-2520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1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1008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1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260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sz="1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1512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Wingdings" pitchFamily="2" charset="2"/>
                <a:buChar char="§"/>
                <a:tabLst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6pPr>
              <a:lvl7pPr marL="1764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Wingdings" pitchFamily="2" charset="2"/>
                <a:buChar char="§"/>
                <a:tabLst/>
                <a:defRPr sz="1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7pPr>
              <a:lvl8pPr marL="2016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Wingdings" pitchFamily="2" charset="2"/>
                <a:buChar char="§"/>
                <a:tabLst/>
                <a:defRPr sz="1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8pPr>
              <a:lvl9pPr marL="2268000" indent="-252000" algn="l" defTabSz="914400" rtl="0" eaLnBrk="1" latinLnBrk="0" hangingPunct="1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Wingdings" pitchFamily="2" charset="2"/>
                <a:buChar char="§"/>
                <a:tabLst/>
                <a:defRPr sz="1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E600"/>
                </a:buClr>
                <a:buSzPct val="100000"/>
                <a:buFont typeface="Wingdings" pitchFamily="2" charset="2"/>
                <a:buNone/>
                <a:tabLst/>
                <a:defRPr/>
              </a:pPr>
              <a:r>
                <a:rPr kumimoji="0" lang="it-IT" sz="2000" b="1" i="0" u="none" strike="noStrike" kern="1200" cap="none" spc="0" normalizeH="0" baseline="0" noProof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$250+ Mld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E600"/>
                </a:buClr>
                <a:buSzPct val="100000"/>
                <a:buFont typeface="Wingdings" pitchFamily="2" charset="2"/>
                <a:buNone/>
                <a:tabLst/>
                <a:defRPr/>
              </a:pPr>
              <a:r>
                <a:rPr kumimoji="0" lang="it-IT" sz="1400" b="0" i="1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Totale Market Cap </a:t>
              </a:r>
              <a:r>
                <a:rPr kumimoji="0" lang="it-IT" sz="1400" b="0" i="1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Stablecoin</a:t>
              </a:r>
              <a:endParaRPr kumimoji="0" lang="it-IT" sz="1400" b="0" i="1" u="none" strike="noStrike" kern="120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57B21B57-3AEA-89BD-C585-F10AA7A2F3B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98732" y="2487771"/>
            <a:ext cx="470055" cy="470055"/>
          </a:xfrm>
          <a:prstGeom prst="rect">
            <a:avLst/>
          </a:pr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4F68E91F-A3CF-0155-956C-599EE1B98BB3}"/>
              </a:ext>
            </a:extLst>
          </p:cNvPr>
          <p:cNvSpPr>
            <a:spLocks/>
          </p:cNvSpPr>
          <p:nvPr/>
        </p:nvSpPr>
        <p:spPr>
          <a:xfrm>
            <a:off x="785280" y="2524954"/>
            <a:ext cx="5183640" cy="28387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 anchorCtr="0"/>
          <a:lstStyle/>
          <a:p>
            <a:pPr lvl="0" algn="ctr" defTabSz="913943"/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VOLUME DI TRANSAZIONI MAJOR STABLECOIN</a:t>
            </a:r>
            <a:r>
              <a:rPr lang="it-IT" sz="1600" b="1" baseline="30000">
                <a:solidFill>
                  <a:schemeClr val="tx2"/>
                </a:solidFill>
              </a:rPr>
              <a:t>1</a:t>
            </a:r>
            <a:endParaRPr kumimoji="0" lang="en-IN" sz="1600" b="1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F0F55EDB-7A7E-A7A6-9F51-36F834E10F5E}"/>
              </a:ext>
            </a:extLst>
          </p:cNvPr>
          <p:cNvGrpSpPr>
            <a:grpSpLocks/>
          </p:cNvGrpSpPr>
          <p:nvPr/>
        </p:nvGrpSpPr>
        <p:grpSpPr>
          <a:xfrm>
            <a:off x="7970403" y="3558673"/>
            <a:ext cx="360000" cy="360000"/>
            <a:chOff x="2780411" y="2746823"/>
            <a:chExt cx="360000" cy="360000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45C0EE81-26E8-63DF-38AF-D5CE89AB6A01}"/>
                </a:ext>
              </a:extLst>
            </p:cNvPr>
            <p:cNvSpPr/>
            <p:nvPr/>
          </p:nvSpPr>
          <p:spPr>
            <a:xfrm>
              <a:off x="2780411" y="2746823"/>
              <a:ext cx="360000" cy="360000"/>
            </a:xfrm>
            <a:prstGeom prst="ellipse">
              <a:avLst/>
            </a:prstGeom>
            <a:noFill/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pic>
          <p:nvPicPr>
            <p:cNvPr id="54" name="Graphic 53">
              <a:extLst>
                <a:ext uri="{FF2B5EF4-FFF2-40B4-BE49-F238E27FC236}">
                  <a16:creationId xmlns:a16="http://schemas.microsoft.com/office/drawing/2014/main" id="{803F0F92-93D8-70F9-37F9-C8F2DA5424BB}"/>
                </a:ext>
              </a:extLst>
            </p:cNvPr>
            <p:cNvPicPr>
              <a:picLocks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2798411" y="2764823"/>
              <a:ext cx="324000" cy="324000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3373" cap="flat">
                  <a:solidFill>
                    <a:schemeClr val="tx1"/>
                  </a:solidFill>
                  <a:prstDash val="solid"/>
                  <a:miter/>
                </a14:hiddenLine>
              </a:ext>
            </a:extLst>
          </p:spPr>
        </p:pic>
      </p:grpSp>
      <p:pic>
        <p:nvPicPr>
          <p:cNvPr id="2049" name="Picture 2048">
            <a:extLst>
              <a:ext uri="{FF2B5EF4-FFF2-40B4-BE49-F238E27FC236}">
                <a16:creationId xmlns:a16="http://schemas.microsoft.com/office/drawing/2014/main" id="{3014651E-81F9-7366-124D-36F4F3151ED0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r="73144"/>
          <a:stretch>
            <a:fillRect/>
          </a:stretch>
        </p:blipFill>
        <p:spPr>
          <a:xfrm>
            <a:off x="1256867" y="3628350"/>
            <a:ext cx="417207" cy="392395"/>
          </a:xfrm>
          <a:prstGeom prst="rect">
            <a:avLst/>
          </a:prstGeom>
        </p:spPr>
      </p:pic>
      <p:sp>
        <p:nvSpPr>
          <p:cNvPr id="2060" name="TextBox 2059">
            <a:extLst>
              <a:ext uri="{FF2B5EF4-FFF2-40B4-BE49-F238E27FC236}">
                <a16:creationId xmlns:a16="http://schemas.microsoft.com/office/drawing/2014/main" id="{B7627343-3D2E-0916-C236-6DA32D16EE5C}"/>
              </a:ext>
            </a:extLst>
          </p:cNvPr>
          <p:cNvSpPr txBox="1"/>
          <p:nvPr/>
        </p:nvSpPr>
        <p:spPr>
          <a:xfrm>
            <a:off x="1723604" y="3639881"/>
            <a:ext cx="1260000" cy="369332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en-US" sz="2400" b="1"/>
              <a:t>USDC</a:t>
            </a:r>
          </a:p>
        </p:txBody>
      </p:sp>
      <p:pic>
        <p:nvPicPr>
          <p:cNvPr id="62" name="Picture 61">
            <a:extLst>
              <a:ext uri="{FF2B5EF4-FFF2-40B4-BE49-F238E27FC236}">
                <a16:creationId xmlns:a16="http://schemas.microsoft.com/office/drawing/2014/main" id="{09FAB859-A7C5-3A20-814B-DC8F13032D60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r="71721"/>
          <a:stretch>
            <a:fillRect/>
          </a:stretch>
        </p:blipFill>
        <p:spPr>
          <a:xfrm>
            <a:off x="1256867" y="4176455"/>
            <a:ext cx="417207" cy="392395"/>
          </a:xfrm>
          <a:prstGeom prst="rect">
            <a:avLst/>
          </a:prstGeom>
        </p:spPr>
      </p:pic>
      <p:sp>
        <p:nvSpPr>
          <p:cNvPr id="2059" name="TextBox 2058">
            <a:extLst>
              <a:ext uri="{FF2B5EF4-FFF2-40B4-BE49-F238E27FC236}">
                <a16:creationId xmlns:a16="http://schemas.microsoft.com/office/drawing/2014/main" id="{4F8D31C3-60E7-FEE7-4FE5-F6FCCC4D0905}"/>
              </a:ext>
            </a:extLst>
          </p:cNvPr>
          <p:cNvSpPr txBox="1"/>
          <p:nvPr/>
        </p:nvSpPr>
        <p:spPr>
          <a:xfrm>
            <a:off x="1723604" y="4196070"/>
            <a:ext cx="1260000" cy="353164"/>
          </a:xfrm>
          <a:prstGeom prst="rect">
            <a:avLst/>
          </a:prstGeom>
          <a:noFill/>
        </p:spPr>
        <p:txBody>
          <a:bodyPr wrap="square" lIns="0" tIns="36576" rIns="0" bIns="0" rtlCol="0" anchor="t">
            <a:no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en-US" sz="2400" b="1"/>
              <a:t>PYUSD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3A281604-73BF-C911-D400-5FD38B50C8FD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t="7085" r="72736" b="10448"/>
          <a:stretch>
            <a:fillRect/>
          </a:stretch>
        </p:blipFill>
        <p:spPr>
          <a:xfrm>
            <a:off x="1256867" y="5272665"/>
            <a:ext cx="417207" cy="392395"/>
          </a:xfrm>
          <a:prstGeom prst="rect">
            <a:avLst/>
          </a:prstGeom>
        </p:spPr>
      </p:pic>
      <p:sp>
        <p:nvSpPr>
          <p:cNvPr id="2058" name="TextBox 2057">
            <a:extLst>
              <a:ext uri="{FF2B5EF4-FFF2-40B4-BE49-F238E27FC236}">
                <a16:creationId xmlns:a16="http://schemas.microsoft.com/office/drawing/2014/main" id="{ECA3273E-8643-8653-C2CB-0C7AC66D7589}"/>
              </a:ext>
            </a:extLst>
          </p:cNvPr>
          <p:cNvSpPr txBox="1"/>
          <p:nvPr/>
        </p:nvSpPr>
        <p:spPr>
          <a:xfrm>
            <a:off x="1723604" y="5284196"/>
            <a:ext cx="1260000" cy="369332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en-US" sz="2400" b="1"/>
              <a:t>USGD</a:t>
            </a: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512C383A-374E-7000-8D1F-F2206445C41D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 r="69186"/>
          <a:stretch>
            <a:fillRect/>
          </a:stretch>
        </p:blipFill>
        <p:spPr>
          <a:xfrm>
            <a:off x="1256867" y="4724560"/>
            <a:ext cx="417207" cy="392395"/>
          </a:xfrm>
          <a:prstGeom prst="rect">
            <a:avLst/>
          </a:prstGeom>
        </p:spPr>
      </p:pic>
      <p:sp>
        <p:nvSpPr>
          <p:cNvPr id="2057" name="TextBox 2056">
            <a:extLst>
              <a:ext uri="{FF2B5EF4-FFF2-40B4-BE49-F238E27FC236}">
                <a16:creationId xmlns:a16="http://schemas.microsoft.com/office/drawing/2014/main" id="{B4A93C53-E283-844C-7D26-FB5FB4E6D38C}"/>
              </a:ext>
            </a:extLst>
          </p:cNvPr>
          <p:cNvSpPr txBox="1"/>
          <p:nvPr/>
        </p:nvSpPr>
        <p:spPr>
          <a:xfrm>
            <a:off x="1723604" y="4736091"/>
            <a:ext cx="1260000" cy="369332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en-US" sz="2400" b="1"/>
              <a:t>USDP</a:t>
            </a:r>
          </a:p>
        </p:txBody>
      </p:sp>
      <p:pic>
        <p:nvPicPr>
          <p:cNvPr id="50" name="Picture 2" descr="Download Tether Logo in SVG Vector or PNG File Format - Logo ...">
            <a:extLst>
              <a:ext uri="{FF2B5EF4-FFF2-40B4-BE49-F238E27FC236}">
                <a16:creationId xmlns:a16="http://schemas.microsoft.com/office/drawing/2014/main" id="{AAD6D310-0285-EF46-100B-BCB0279F9B0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54" t="32649" r="66738" b="33763"/>
          <a:stretch>
            <a:fillRect/>
          </a:stretch>
        </p:blipFill>
        <p:spPr bwMode="auto">
          <a:xfrm>
            <a:off x="1256866" y="3080245"/>
            <a:ext cx="417207" cy="392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61" name="TextBox 2060">
            <a:extLst>
              <a:ext uri="{FF2B5EF4-FFF2-40B4-BE49-F238E27FC236}">
                <a16:creationId xmlns:a16="http://schemas.microsoft.com/office/drawing/2014/main" id="{AA12E1C4-FAEF-8EB2-0EFB-42F5EB49088E}"/>
              </a:ext>
            </a:extLst>
          </p:cNvPr>
          <p:cNvSpPr txBox="1"/>
          <p:nvPr/>
        </p:nvSpPr>
        <p:spPr>
          <a:xfrm>
            <a:off x="1723604" y="3091776"/>
            <a:ext cx="872489" cy="369332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en-US" sz="2400" b="1"/>
              <a:t>USDT</a:t>
            </a:r>
          </a:p>
        </p:txBody>
      </p:sp>
      <p:pic>
        <p:nvPicPr>
          <p:cNvPr id="2052" name="Picture 4" descr="First Digital USD (FDUSD) Logo PNG Vector (SVG) Free Download">
            <a:extLst>
              <a:ext uri="{FF2B5EF4-FFF2-40B4-BE49-F238E27FC236}">
                <a16:creationId xmlns:a16="http://schemas.microsoft.com/office/drawing/2014/main" id="{133E0BD2-9824-FE44-4DBF-833544E873C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91" t="9480" r="14154" b="17837"/>
          <a:stretch>
            <a:fillRect/>
          </a:stretch>
        </p:blipFill>
        <p:spPr bwMode="auto">
          <a:xfrm>
            <a:off x="1256867" y="5820769"/>
            <a:ext cx="417207" cy="392395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62" name="TextBox 2061">
            <a:extLst>
              <a:ext uri="{FF2B5EF4-FFF2-40B4-BE49-F238E27FC236}">
                <a16:creationId xmlns:a16="http://schemas.microsoft.com/office/drawing/2014/main" id="{640B8E37-55D0-B926-2A47-F7BF9D50441E}"/>
              </a:ext>
            </a:extLst>
          </p:cNvPr>
          <p:cNvSpPr txBox="1"/>
          <p:nvPr/>
        </p:nvSpPr>
        <p:spPr>
          <a:xfrm>
            <a:off x="1723604" y="5831466"/>
            <a:ext cx="1260000" cy="371000"/>
          </a:xfrm>
          <a:prstGeom prst="rect">
            <a:avLst/>
          </a:prstGeom>
          <a:noFill/>
        </p:spPr>
        <p:txBody>
          <a:bodyPr wrap="square" lIns="0" tIns="36576" rIns="0" bIns="0" rtlCol="0" anchor="t">
            <a:no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en-US" sz="2400" b="1"/>
              <a:t>FDUSD</a:t>
            </a:r>
          </a:p>
        </p:txBody>
      </p:sp>
      <p:cxnSp>
        <p:nvCxnSpPr>
          <p:cNvPr id="2082" name="Straight Connector 2081">
            <a:extLst>
              <a:ext uri="{FF2B5EF4-FFF2-40B4-BE49-F238E27FC236}">
                <a16:creationId xmlns:a16="http://schemas.microsoft.com/office/drawing/2014/main" id="{BB173733-D539-3FDF-1E79-09FD5BDEB069}"/>
              </a:ext>
            </a:extLst>
          </p:cNvPr>
          <p:cNvCxnSpPr/>
          <p:nvPr/>
        </p:nvCxnSpPr>
        <p:spPr>
          <a:xfrm>
            <a:off x="1256866" y="3548380"/>
            <a:ext cx="3996000" cy="0"/>
          </a:xfrm>
          <a:prstGeom prst="line">
            <a:avLst/>
          </a:prstGeom>
          <a:ln w="3175">
            <a:solidFill>
              <a:schemeClr val="bg1">
                <a:lumMod val="10000"/>
                <a:lumOff val="9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3" name="Straight Connector 2082">
            <a:extLst>
              <a:ext uri="{FF2B5EF4-FFF2-40B4-BE49-F238E27FC236}">
                <a16:creationId xmlns:a16="http://schemas.microsoft.com/office/drawing/2014/main" id="{86660120-E4A0-08EA-6CFE-E17267C39F23}"/>
              </a:ext>
            </a:extLst>
          </p:cNvPr>
          <p:cNvCxnSpPr/>
          <p:nvPr/>
        </p:nvCxnSpPr>
        <p:spPr>
          <a:xfrm>
            <a:off x="1256866" y="4073393"/>
            <a:ext cx="3996000" cy="0"/>
          </a:xfrm>
          <a:prstGeom prst="line">
            <a:avLst/>
          </a:prstGeom>
          <a:ln w="3175">
            <a:solidFill>
              <a:schemeClr val="bg1">
                <a:lumMod val="10000"/>
                <a:lumOff val="9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4" name="Straight Connector 2083">
            <a:extLst>
              <a:ext uri="{FF2B5EF4-FFF2-40B4-BE49-F238E27FC236}">
                <a16:creationId xmlns:a16="http://schemas.microsoft.com/office/drawing/2014/main" id="{2AC34138-6873-583C-CF00-3D51CA9DE7CB}"/>
              </a:ext>
            </a:extLst>
          </p:cNvPr>
          <p:cNvCxnSpPr/>
          <p:nvPr/>
        </p:nvCxnSpPr>
        <p:spPr>
          <a:xfrm>
            <a:off x="1256866" y="4669272"/>
            <a:ext cx="3996000" cy="0"/>
          </a:xfrm>
          <a:prstGeom prst="line">
            <a:avLst/>
          </a:prstGeom>
          <a:ln w="3175">
            <a:solidFill>
              <a:schemeClr val="bg1">
                <a:lumMod val="10000"/>
                <a:lumOff val="9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5" name="Straight Connector 2084">
            <a:extLst>
              <a:ext uri="{FF2B5EF4-FFF2-40B4-BE49-F238E27FC236}">
                <a16:creationId xmlns:a16="http://schemas.microsoft.com/office/drawing/2014/main" id="{0591C954-BEAC-5016-2EAD-6DA3961B9FB8}"/>
              </a:ext>
            </a:extLst>
          </p:cNvPr>
          <p:cNvCxnSpPr/>
          <p:nvPr/>
        </p:nvCxnSpPr>
        <p:spPr>
          <a:xfrm>
            <a:off x="1256866" y="5183708"/>
            <a:ext cx="3996000" cy="0"/>
          </a:xfrm>
          <a:prstGeom prst="line">
            <a:avLst/>
          </a:prstGeom>
          <a:ln w="3175">
            <a:solidFill>
              <a:schemeClr val="bg1">
                <a:lumMod val="10000"/>
                <a:lumOff val="9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6" name="Straight Connector 2085">
            <a:extLst>
              <a:ext uri="{FF2B5EF4-FFF2-40B4-BE49-F238E27FC236}">
                <a16:creationId xmlns:a16="http://schemas.microsoft.com/office/drawing/2014/main" id="{A964D8B8-BCA9-0319-3792-94ED39C4E475}"/>
              </a:ext>
            </a:extLst>
          </p:cNvPr>
          <p:cNvCxnSpPr/>
          <p:nvPr/>
        </p:nvCxnSpPr>
        <p:spPr>
          <a:xfrm>
            <a:off x="1256866" y="5820769"/>
            <a:ext cx="3996000" cy="0"/>
          </a:xfrm>
          <a:prstGeom prst="line">
            <a:avLst/>
          </a:prstGeom>
          <a:ln w="3175">
            <a:solidFill>
              <a:schemeClr val="bg1">
                <a:lumMod val="10000"/>
                <a:lumOff val="9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87" name="TextBox 2086">
            <a:extLst>
              <a:ext uri="{FF2B5EF4-FFF2-40B4-BE49-F238E27FC236}">
                <a16:creationId xmlns:a16="http://schemas.microsoft.com/office/drawing/2014/main" id="{96EA01C6-205D-BB6E-456B-747C4D0D8F1E}"/>
              </a:ext>
            </a:extLst>
          </p:cNvPr>
          <p:cNvSpPr txBox="1"/>
          <p:nvPr/>
        </p:nvSpPr>
        <p:spPr>
          <a:xfrm>
            <a:off x="3784246" y="3639881"/>
            <a:ext cx="1803915" cy="369332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en-US" sz="2400" b="1">
                <a:solidFill>
                  <a:schemeClr val="tx2"/>
                </a:solidFill>
              </a:rPr>
              <a:t>401,80 </a:t>
            </a:r>
            <a:r>
              <a:rPr lang="en-US" sz="2400" b="1" err="1">
                <a:solidFill>
                  <a:schemeClr val="tx2"/>
                </a:solidFill>
              </a:rPr>
              <a:t>Mln</a:t>
            </a:r>
            <a:endParaRPr lang="en-US" sz="2400" b="1">
              <a:solidFill>
                <a:schemeClr val="tx2"/>
              </a:solidFill>
            </a:endParaRPr>
          </a:p>
        </p:txBody>
      </p:sp>
      <p:sp>
        <p:nvSpPr>
          <p:cNvPr id="2088" name="TextBox 2087">
            <a:extLst>
              <a:ext uri="{FF2B5EF4-FFF2-40B4-BE49-F238E27FC236}">
                <a16:creationId xmlns:a16="http://schemas.microsoft.com/office/drawing/2014/main" id="{3A44FA71-ACE5-AF78-4967-93E1F51117A0}"/>
              </a:ext>
            </a:extLst>
          </p:cNvPr>
          <p:cNvSpPr txBox="1"/>
          <p:nvPr/>
        </p:nvSpPr>
        <p:spPr>
          <a:xfrm>
            <a:off x="3784247" y="4187986"/>
            <a:ext cx="1260000" cy="369332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en-US" sz="2400" b="1">
                <a:solidFill>
                  <a:schemeClr val="tx2"/>
                </a:solidFill>
              </a:rPr>
              <a:t>3,33 </a:t>
            </a:r>
            <a:r>
              <a:rPr lang="en-US" sz="2400" b="1" err="1">
                <a:solidFill>
                  <a:schemeClr val="tx2"/>
                </a:solidFill>
              </a:rPr>
              <a:t>Mln</a:t>
            </a:r>
            <a:endParaRPr lang="en-US" sz="2400" b="1">
              <a:solidFill>
                <a:schemeClr val="tx2"/>
              </a:solidFill>
            </a:endParaRPr>
          </a:p>
        </p:txBody>
      </p:sp>
      <p:sp>
        <p:nvSpPr>
          <p:cNvPr id="2089" name="TextBox 2088">
            <a:extLst>
              <a:ext uri="{FF2B5EF4-FFF2-40B4-BE49-F238E27FC236}">
                <a16:creationId xmlns:a16="http://schemas.microsoft.com/office/drawing/2014/main" id="{92622C73-5BD8-C037-FCDD-8DCA21DD1CF4}"/>
              </a:ext>
            </a:extLst>
          </p:cNvPr>
          <p:cNvSpPr txBox="1"/>
          <p:nvPr/>
        </p:nvSpPr>
        <p:spPr>
          <a:xfrm>
            <a:off x="3784247" y="5292280"/>
            <a:ext cx="1483106" cy="353164"/>
          </a:xfrm>
          <a:prstGeom prst="rect">
            <a:avLst/>
          </a:prstGeom>
          <a:noFill/>
        </p:spPr>
        <p:txBody>
          <a:bodyPr wrap="square" lIns="0" tIns="36576" rIns="0" bIns="0" rtlCol="0" anchor="t">
            <a:no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en-US" sz="2400" b="1">
                <a:solidFill>
                  <a:schemeClr val="tx2"/>
                </a:solidFill>
              </a:rPr>
              <a:t>260,14 k</a:t>
            </a:r>
          </a:p>
        </p:txBody>
      </p:sp>
      <p:sp>
        <p:nvSpPr>
          <p:cNvPr id="2090" name="TextBox 2089">
            <a:extLst>
              <a:ext uri="{FF2B5EF4-FFF2-40B4-BE49-F238E27FC236}">
                <a16:creationId xmlns:a16="http://schemas.microsoft.com/office/drawing/2014/main" id="{D90C6A84-7AD2-187D-0ED6-A77DEE90B8C4}"/>
              </a:ext>
            </a:extLst>
          </p:cNvPr>
          <p:cNvSpPr txBox="1"/>
          <p:nvPr/>
        </p:nvSpPr>
        <p:spPr>
          <a:xfrm>
            <a:off x="3784246" y="4736091"/>
            <a:ext cx="1568889" cy="369332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en-US" sz="2400" b="1">
                <a:solidFill>
                  <a:schemeClr val="tx2"/>
                </a:solidFill>
              </a:rPr>
              <a:t>384,22 k</a:t>
            </a:r>
          </a:p>
        </p:txBody>
      </p:sp>
      <p:sp>
        <p:nvSpPr>
          <p:cNvPr id="2091" name="TextBox 2090">
            <a:extLst>
              <a:ext uri="{FF2B5EF4-FFF2-40B4-BE49-F238E27FC236}">
                <a16:creationId xmlns:a16="http://schemas.microsoft.com/office/drawing/2014/main" id="{29B14985-D3F2-2345-72B6-A075127BF0D8}"/>
              </a:ext>
            </a:extLst>
          </p:cNvPr>
          <p:cNvSpPr txBox="1"/>
          <p:nvPr/>
        </p:nvSpPr>
        <p:spPr>
          <a:xfrm>
            <a:off x="3784247" y="3091776"/>
            <a:ext cx="1568889" cy="369332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en-US" sz="2400" b="1">
                <a:solidFill>
                  <a:schemeClr val="tx2"/>
                </a:solidFill>
              </a:rPr>
              <a:t>1,25 </a:t>
            </a:r>
            <a:r>
              <a:rPr lang="en-US" sz="2400" b="1" err="1">
                <a:solidFill>
                  <a:schemeClr val="tx2"/>
                </a:solidFill>
              </a:rPr>
              <a:t>Mld</a:t>
            </a:r>
            <a:endParaRPr lang="en-US" sz="2400" b="1">
              <a:solidFill>
                <a:schemeClr val="tx2"/>
              </a:solidFill>
            </a:endParaRPr>
          </a:p>
        </p:txBody>
      </p:sp>
      <p:sp>
        <p:nvSpPr>
          <p:cNvPr id="2092" name="TextBox 2091">
            <a:extLst>
              <a:ext uri="{FF2B5EF4-FFF2-40B4-BE49-F238E27FC236}">
                <a16:creationId xmlns:a16="http://schemas.microsoft.com/office/drawing/2014/main" id="{CDCA7DDA-548F-643D-06A0-B82BF42593CA}"/>
              </a:ext>
            </a:extLst>
          </p:cNvPr>
          <p:cNvSpPr txBox="1"/>
          <p:nvPr/>
        </p:nvSpPr>
        <p:spPr>
          <a:xfrm>
            <a:off x="3784246" y="5831466"/>
            <a:ext cx="1664051" cy="371000"/>
          </a:xfrm>
          <a:prstGeom prst="rect">
            <a:avLst/>
          </a:prstGeom>
          <a:noFill/>
        </p:spPr>
        <p:txBody>
          <a:bodyPr wrap="square" lIns="0" tIns="36576" rIns="0" bIns="0" rtlCol="0" anchor="t">
            <a:no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en-US" sz="2400" b="1">
                <a:solidFill>
                  <a:schemeClr val="tx2"/>
                </a:solidFill>
              </a:rPr>
              <a:t>144,41 k</a:t>
            </a:r>
          </a:p>
        </p:txBody>
      </p:sp>
      <p:sp>
        <p:nvSpPr>
          <p:cNvPr id="2102" name="Title 101">
            <a:extLst>
              <a:ext uri="{FF2B5EF4-FFF2-40B4-BE49-F238E27FC236}">
                <a16:creationId xmlns:a16="http://schemas.microsoft.com/office/drawing/2014/main" id="{70568A2B-B479-2252-6BCE-68135D34BC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69888"/>
            <a:ext cx="11220954" cy="470898"/>
          </a:xfrm>
        </p:spPr>
        <p:txBody>
          <a:bodyPr vert="horz"/>
          <a:lstStyle/>
          <a:p>
            <a:pPr lvl="0">
              <a:defRPr/>
            </a:pPr>
            <a:r>
              <a:rPr lang="it-IT" sz="2400">
                <a:solidFill>
                  <a:srgbClr val="FFE600"/>
                </a:solidFill>
                <a:latin typeface="EYInterstate Light"/>
              </a:rPr>
              <a:t>Le </a:t>
            </a:r>
            <a:r>
              <a:rPr lang="it-IT" sz="2400" err="1">
                <a:solidFill>
                  <a:srgbClr val="FFE600"/>
                </a:solidFill>
                <a:latin typeface="EYInterstate Light"/>
              </a:rPr>
              <a:t>Stablecoin</a:t>
            </a:r>
            <a:r>
              <a:rPr lang="it-IT" sz="2400">
                <a:solidFill>
                  <a:srgbClr val="FFE600"/>
                </a:solidFill>
                <a:latin typeface="EYInterstate Light"/>
              </a:rPr>
              <a:t> hanno assunto un ruolo rilevante nel mercato dei pagamenti digitali</a:t>
            </a:r>
          </a:p>
        </p:txBody>
      </p:sp>
      <p:sp>
        <p:nvSpPr>
          <p:cNvPr id="2099" name="TextBox 2098">
            <a:extLst>
              <a:ext uri="{FF2B5EF4-FFF2-40B4-BE49-F238E27FC236}">
                <a16:creationId xmlns:a16="http://schemas.microsoft.com/office/drawing/2014/main" id="{3BC1A86D-C836-3DDA-3ECD-3B9D8AE6699E}"/>
              </a:ext>
            </a:extLst>
          </p:cNvPr>
          <p:cNvSpPr txBox="1"/>
          <p:nvPr/>
        </p:nvSpPr>
        <p:spPr>
          <a:xfrm>
            <a:off x="6557368" y="6616138"/>
            <a:ext cx="4222633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R="0" lvl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E600"/>
              </a:buClr>
              <a:buSzPct val="100000"/>
              <a:tabLst/>
              <a:defRPr/>
            </a:pPr>
            <a:endParaRPr kumimoji="0" lang="it-IT" sz="8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83D602-37CE-F6C3-F4ED-A79A26D4814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051325" y="6520888"/>
            <a:ext cx="4222633" cy="123111"/>
          </a:xfrm>
        </p:spPr>
        <p:txBody>
          <a:bodyPr/>
          <a:lstStyle/>
          <a:p>
            <a:r>
              <a:rPr lang="it-IT"/>
              <a:t>Le </a:t>
            </a:r>
            <a:r>
              <a:rPr lang="it-IT" err="1"/>
              <a:t>stablecoin</a:t>
            </a:r>
            <a:r>
              <a:rPr lang="it-IT"/>
              <a:t> e il futuro dei pagamenti digitali | Salone dei pagamenti | 30 ottobre 2025</a:t>
            </a:r>
            <a:endParaRPr 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AE6532F-2241-8EEF-3869-4A49345B94E8}"/>
              </a:ext>
            </a:extLst>
          </p:cNvPr>
          <p:cNvSpPr txBox="1">
            <a:spLocks/>
          </p:cNvSpPr>
          <p:nvPr/>
        </p:nvSpPr>
        <p:spPr>
          <a:xfrm>
            <a:off x="7158708" y="6520888"/>
            <a:ext cx="4222633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lang="en-IN"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/>
              <a:t>Fonte: </a:t>
            </a:r>
            <a:r>
              <a:rPr lang="it-IT"/>
              <a:t>Visa </a:t>
            </a:r>
            <a:r>
              <a:rPr lang="it-IT" err="1"/>
              <a:t>Onchain</a:t>
            </a:r>
            <a:r>
              <a:rPr lang="it-IT"/>
              <a:t> Analytics, Volumi aggiustati per escludere trading (Aprile 2025)</a:t>
            </a:r>
          </a:p>
        </p:txBody>
      </p:sp>
    </p:spTree>
    <p:extLst>
      <p:ext uri="{BB962C8B-B14F-4D97-AF65-F5344CB8AC3E}">
        <p14:creationId xmlns:p14="http://schemas.microsoft.com/office/powerpoint/2010/main" val="4651366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338D5D-3318-7B30-3C77-CD4026DA16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322FE90-0D40-87F2-005D-3AC8062B23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8543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322FE90-0D40-87F2-005D-3AC8062B23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person with a beard and mustache&#10;&#10;AI-generated content may be incorrect.">
            <a:extLst>
              <a:ext uri="{FF2B5EF4-FFF2-40B4-BE49-F238E27FC236}">
                <a16:creationId xmlns:a16="http://schemas.microsoft.com/office/drawing/2014/main" id="{84670FAE-28B7-7844-CF1F-6B905D922D6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7701" y="1597307"/>
            <a:ext cx="1440000" cy="1440000"/>
          </a:xfrm>
          <a:prstGeom prst="ellipse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F4974D2-6623-395B-6B56-11952BF49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 anchorCtr="0">
            <a:noAutofit/>
          </a:bodyPr>
          <a:lstStyle/>
          <a:p>
            <a:r>
              <a:rPr lang="it-IT" sz="2400">
                <a:latin typeface="+mn-lt"/>
              </a:rPr>
              <a:t>Con voi oggi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0C8CA6-E176-6BE8-A607-E9B2FFA1FE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71491" y="3431544"/>
            <a:ext cx="3199960" cy="290904"/>
          </a:xfrm>
        </p:spPr>
        <p:txBody>
          <a:bodyPr/>
          <a:lstStyle/>
          <a:p>
            <a:pPr marL="0" indent="0">
              <a:buNone/>
            </a:pPr>
            <a:r>
              <a:rPr lang="it-IT" sz="1800" b="1"/>
              <a:t>Giuseppe Perrone</a:t>
            </a:r>
            <a:endParaRPr lang="it-IT" sz="18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022C44E-2E65-6903-F66B-B92DE43824A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F1BC30E3-FFE5-4B91-AA19-87A149EBB9EE}" type="slidenum">
              <a:rPr lang="it-IT" smtClean="0"/>
              <a:pPr/>
              <a:t>3</a:t>
            </a:fld>
            <a:endParaRPr lang="it-IT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ECDFA5E-BE18-2F5A-CB50-EB3E154B774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it-IT"/>
              <a:t>Le stablecoin e il futuro dei pagamenti digitali | Salone dei pagamenti | 30 ottobre 2025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7DB11AF-5F19-7375-01F1-7545B4B69F1A}"/>
              </a:ext>
            </a:extLst>
          </p:cNvPr>
          <p:cNvSpPr txBox="1">
            <a:spLocks/>
          </p:cNvSpPr>
          <p:nvPr/>
        </p:nvSpPr>
        <p:spPr>
          <a:xfrm>
            <a:off x="4971491" y="4848212"/>
            <a:ext cx="3199960" cy="7293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</a:pPr>
            <a:r>
              <a:rPr lang="it-IT" sz="1400"/>
              <a:t>Email: giuseppe.perrone@it.ey.com</a:t>
            </a:r>
          </a:p>
          <a:p>
            <a:pPr marL="0" indent="0">
              <a:buNone/>
            </a:pPr>
            <a:r>
              <a:rPr lang="it-IT" sz="1400"/>
              <a:t>Mobile: +39 3665787624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34CA01E-BCF8-FD79-CC57-4C8A62EDC846}"/>
              </a:ext>
            </a:extLst>
          </p:cNvPr>
          <p:cNvSpPr txBox="1">
            <a:spLocks/>
          </p:cNvSpPr>
          <p:nvPr/>
        </p:nvSpPr>
        <p:spPr>
          <a:xfrm>
            <a:off x="1168337" y="3431544"/>
            <a:ext cx="3199960" cy="2909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</a:pPr>
            <a:r>
              <a:rPr lang="it-IT" sz="1800" b="1"/>
              <a:t>Enrico Ugoletti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1247300-8AC5-141A-D80B-0F4406B9F78E}"/>
              </a:ext>
            </a:extLst>
          </p:cNvPr>
          <p:cNvSpPr txBox="1">
            <a:spLocks/>
          </p:cNvSpPr>
          <p:nvPr/>
        </p:nvSpPr>
        <p:spPr>
          <a:xfrm>
            <a:off x="1168337" y="3947957"/>
            <a:ext cx="3199960" cy="7293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</a:pPr>
            <a:r>
              <a:rPr lang="it-IT" sz="1800" dirty="0">
                <a:solidFill>
                  <a:srgbClr val="FFE600"/>
                </a:solidFill>
              </a:rPr>
              <a:t>Partner EY Italia  </a:t>
            </a:r>
          </a:p>
          <a:p>
            <a:pPr marL="0" indent="0">
              <a:buFont typeface="Wingdings" pitchFamily="2" charset="2"/>
              <a:buNone/>
            </a:pPr>
            <a:r>
              <a:rPr lang="it-IT" sz="1400" i="1" dirty="0">
                <a:solidFill>
                  <a:srgbClr val="FFE600"/>
                </a:solidFill>
              </a:rPr>
              <a:t>Payments Leader | Technology </a:t>
            </a:r>
            <a:r>
              <a:rPr lang="it-IT" sz="1400" i="1" dirty="0" err="1">
                <a:solidFill>
                  <a:srgbClr val="FFE600"/>
                </a:solidFill>
              </a:rPr>
              <a:t>Transformation</a:t>
            </a:r>
            <a:r>
              <a:rPr lang="it-IT" sz="1400" i="1" dirty="0">
                <a:solidFill>
                  <a:srgbClr val="FFE600"/>
                </a:solidFill>
              </a:rPr>
              <a:t> Leader  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787F865-510E-350C-F294-B4298724EAE6}"/>
              </a:ext>
            </a:extLst>
          </p:cNvPr>
          <p:cNvSpPr txBox="1">
            <a:spLocks/>
          </p:cNvSpPr>
          <p:nvPr/>
        </p:nvSpPr>
        <p:spPr>
          <a:xfrm>
            <a:off x="1168337" y="4848212"/>
            <a:ext cx="3199960" cy="7293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</a:pPr>
            <a:r>
              <a:rPr lang="it-IT" sz="1400"/>
              <a:t>Email: </a:t>
            </a:r>
            <a:r>
              <a:rPr lang="it-IT" sz="1400" err="1"/>
              <a:t>enrico.ugoletti@it.ey.com</a:t>
            </a:r>
            <a:endParaRPr lang="it-IT" sz="1400"/>
          </a:p>
          <a:p>
            <a:pPr marL="0" indent="0">
              <a:buNone/>
            </a:pPr>
            <a:r>
              <a:rPr lang="it-IT" sz="1400"/>
              <a:t>Mobile: +39 3346509428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2333559-AC64-E40D-862C-167E744DB66A}"/>
              </a:ext>
            </a:extLst>
          </p:cNvPr>
          <p:cNvSpPr txBox="1">
            <a:spLocks/>
          </p:cNvSpPr>
          <p:nvPr/>
        </p:nvSpPr>
        <p:spPr>
          <a:xfrm>
            <a:off x="8774645" y="3431544"/>
            <a:ext cx="3199960" cy="2909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</a:pPr>
            <a:r>
              <a:rPr lang="it-IT" sz="1800" b="1"/>
              <a:t>Andrea</a:t>
            </a:r>
            <a:r>
              <a:rPr lang="it-IT" sz="1800"/>
              <a:t> Chiarello 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E35AA8F1-0B7B-A208-CF4D-822C291697A1}"/>
              </a:ext>
            </a:extLst>
          </p:cNvPr>
          <p:cNvSpPr txBox="1">
            <a:spLocks/>
          </p:cNvSpPr>
          <p:nvPr/>
        </p:nvSpPr>
        <p:spPr>
          <a:xfrm>
            <a:off x="8774645" y="3947957"/>
            <a:ext cx="2795055" cy="7293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</a:pPr>
            <a:r>
              <a:rPr lang="it-IT" sz="1800">
                <a:solidFill>
                  <a:srgbClr val="FFE600"/>
                </a:solidFill>
              </a:rPr>
              <a:t>Senior Manager EY Italia </a:t>
            </a:r>
          </a:p>
          <a:p>
            <a:pPr marL="0" indent="0">
              <a:buFont typeface="Wingdings" pitchFamily="2" charset="2"/>
              <a:buNone/>
            </a:pPr>
            <a:r>
              <a:rPr lang="it-IT" sz="1400">
                <a:solidFill>
                  <a:srgbClr val="FFE600"/>
                </a:solidFill>
              </a:rPr>
              <a:t>Cards &amp; Payments Business Transformation Leader Italia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AC855BA-5290-1CC9-107B-06A673B85F5F}"/>
              </a:ext>
            </a:extLst>
          </p:cNvPr>
          <p:cNvSpPr txBox="1">
            <a:spLocks/>
          </p:cNvSpPr>
          <p:nvPr/>
        </p:nvSpPr>
        <p:spPr>
          <a:xfrm>
            <a:off x="8774645" y="4848212"/>
            <a:ext cx="3199960" cy="7293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</a:pPr>
            <a:r>
              <a:rPr lang="it-IT" sz="1400"/>
              <a:t>Email: </a:t>
            </a:r>
            <a:r>
              <a:rPr lang="it-IT" sz="1400" err="1"/>
              <a:t>andrea.chiarello@it.ey.com</a:t>
            </a:r>
            <a:endParaRPr lang="it-IT" sz="1400"/>
          </a:p>
          <a:p>
            <a:pPr marL="0" indent="0">
              <a:buNone/>
            </a:pPr>
            <a:r>
              <a:rPr lang="it-IT" sz="1400"/>
              <a:t>Mobile: +39 3462372815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8D96BCB3-F324-51CE-87E2-3A189F9E51F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49" t="1312" r="749" b="25106"/>
          <a:stretch>
            <a:fillRect/>
          </a:stretch>
        </p:blipFill>
        <p:spPr>
          <a:xfrm>
            <a:off x="5329908" y="1589070"/>
            <a:ext cx="1481384" cy="1440000"/>
          </a:xfrm>
          <a:prstGeom prst="ellipse">
            <a:avLst/>
          </a:prstGeom>
          <a:ln>
            <a:noFill/>
          </a:ln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96D7C8BE-A9AF-93C9-3DFD-54CDD0EDE46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97" b="1397"/>
          <a:stretch/>
        </p:blipFill>
        <p:spPr>
          <a:xfrm>
            <a:off x="1565265" y="1589070"/>
            <a:ext cx="1481384" cy="1440000"/>
          </a:xfrm>
          <a:prstGeom prst="ellipse">
            <a:avLst/>
          </a:prstGeom>
          <a:ln>
            <a:noFill/>
          </a:ln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45D939D-F84B-2387-8D31-44C9D8B697A1}"/>
              </a:ext>
            </a:extLst>
          </p:cNvPr>
          <p:cNvSpPr txBox="1">
            <a:spLocks/>
          </p:cNvSpPr>
          <p:nvPr/>
        </p:nvSpPr>
        <p:spPr>
          <a:xfrm>
            <a:off x="4971491" y="3947957"/>
            <a:ext cx="3199960" cy="7293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</a:pPr>
            <a:r>
              <a:rPr lang="it-IT" sz="1800">
                <a:solidFill>
                  <a:srgbClr val="FFE600"/>
                </a:solidFill>
              </a:rPr>
              <a:t>Partner EY Italia  </a:t>
            </a:r>
          </a:p>
          <a:p>
            <a:pPr marL="0" indent="0">
              <a:buNone/>
            </a:pPr>
            <a:r>
              <a:rPr lang="it-IT" sz="1400" err="1">
                <a:solidFill>
                  <a:srgbClr val="FFE600"/>
                </a:solidFill>
              </a:rPr>
              <a:t>AI&amp;Data</a:t>
            </a:r>
            <a:r>
              <a:rPr lang="it-IT" sz="1400">
                <a:solidFill>
                  <a:srgbClr val="FFE600"/>
                </a:solidFill>
              </a:rPr>
              <a:t> Leader Italy | Blockchain Leader EMEIA</a:t>
            </a:r>
          </a:p>
        </p:txBody>
      </p:sp>
    </p:spTree>
    <p:extLst>
      <p:ext uri="{BB962C8B-B14F-4D97-AF65-F5344CB8AC3E}">
        <p14:creationId xmlns:p14="http://schemas.microsoft.com/office/powerpoint/2010/main" val="20124323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F60B9F8-387A-56D2-95E9-7A9A112184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9674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60B9F8-387A-56D2-95E9-7A9A112184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2AAF5A2-0C8C-E80C-5BD2-03C462069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>
                <a:solidFill>
                  <a:srgbClr val="FFE600"/>
                </a:solidFill>
              </a:rPr>
              <a:t>I TREND DEL MERCATO DEI PAGAMENTI</a:t>
            </a:r>
            <a:endParaRPr lang="it-I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25FF116-7063-8C95-B5A0-713C95664D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it-IT">
                <a:solidFill>
                  <a:schemeClr val="tx1">
                    <a:alpha val="50000"/>
                  </a:schemeClr>
                </a:solidFill>
              </a:rPr>
              <a:t>01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9AF4ED4D-4137-E20C-3561-B0E51ECFD92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485747" y="6520888"/>
            <a:ext cx="509098" cy="123111"/>
          </a:xfrm>
        </p:spPr>
        <p:txBody>
          <a:bodyPr/>
          <a:lstStyle/>
          <a:p>
            <a:fld id="{F1BC30E3-FFE5-4B91-AA19-87A149EBB9EE}" type="slidenum">
              <a:rPr lang="it-IT" smtClean="0"/>
              <a:pPr/>
              <a:t>4</a:t>
            </a:fld>
            <a:endParaRPr lang="it-IT"/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5DF7F262-85F6-A1F5-0930-30681DF6C7F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051325" y="6520888"/>
            <a:ext cx="4222633" cy="123111"/>
          </a:xfrm>
        </p:spPr>
        <p:txBody>
          <a:bodyPr/>
          <a:lstStyle/>
          <a:p>
            <a:r>
              <a:rPr lang="it-IT"/>
              <a:t>Le stablecoin e il futuro dei pagamenti digitali | Salone dei pagamenti | 30 ottobre 2025</a:t>
            </a:r>
          </a:p>
        </p:txBody>
      </p:sp>
    </p:spTree>
    <p:extLst>
      <p:ext uri="{BB962C8B-B14F-4D97-AF65-F5344CB8AC3E}">
        <p14:creationId xmlns:p14="http://schemas.microsoft.com/office/powerpoint/2010/main" val="40811055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D3D68D-5D93-4BD2-884A-DB71E0A135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think-cell data - do not delete" hidden="1">
            <a:extLst>
              <a:ext uri="{FF2B5EF4-FFF2-40B4-BE49-F238E27FC236}">
                <a16:creationId xmlns:a16="http://schemas.microsoft.com/office/drawing/2014/main" id="{B89CCEFA-FBE0-7E6F-F4FC-AA67747E54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2385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9CCEFA-FBE0-7E6F-F4FC-AA67747E54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FE28E69F-B486-F009-A1BF-030632D9EE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02001044"/>
              </p:ext>
            </p:extLst>
          </p:nvPr>
        </p:nvGraphicFramePr>
        <p:xfrm>
          <a:off x="423390" y="2305165"/>
          <a:ext cx="5097186" cy="39916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9" name="Title 1">
            <a:extLst>
              <a:ext uri="{FF2B5EF4-FFF2-40B4-BE49-F238E27FC236}">
                <a16:creationId xmlns:a16="http://schemas.microsoft.com/office/drawing/2014/main" id="{C59B3571-8664-3B08-0286-FDB59062AB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69888"/>
            <a:ext cx="11263884" cy="470898"/>
          </a:xfrm>
        </p:spPr>
        <p:txBody>
          <a:bodyPr vert="horz"/>
          <a:lstStyle/>
          <a:p>
            <a:r>
              <a:rPr lang="it-IT" sz="2400">
                <a:latin typeface="+mn-lt"/>
              </a:rPr>
              <a:t>Il mercato dei pagamenti globali sta subendo un’importante trasformazione </a:t>
            </a:r>
            <a:br>
              <a:rPr lang="it-IT" sz="2400">
                <a:latin typeface="+mn-lt"/>
              </a:rPr>
            </a:br>
            <a:r>
              <a:rPr lang="it-IT" sz="2400">
                <a:latin typeface="+mn-lt"/>
              </a:rPr>
              <a:t>guidata dai pagamenti «New Digital», alternativi alle soluzioni tradizionali</a:t>
            </a:r>
            <a:endParaRPr lang="en-GB" sz="2400">
              <a:latin typeface="+mn-lt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2BF4B3F-8351-F1B8-83BB-C2D752C333C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B9CA89C-5FBB-1FD1-533C-8F15D2F9293A}"/>
              </a:ext>
            </a:extLst>
          </p:cNvPr>
          <p:cNvSpPr/>
          <p:nvPr/>
        </p:nvSpPr>
        <p:spPr>
          <a:xfrm>
            <a:off x="397776" y="2211865"/>
            <a:ext cx="5042438" cy="4025220"/>
          </a:xfrm>
          <a:prstGeom prst="rect">
            <a:avLst/>
          </a:prstGeom>
          <a:noFill/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80000" tIns="72000" rIns="180000" bIns="108000" rtlCol="0" anchor="t" anchorCtr="0"/>
          <a:lstStyle/>
          <a:p>
            <a:pPr marR="0" algn="ctr" defTabSz="914400" eaLnBrk="1" fontAlgn="auto" latinLnBrk="0" hangingPunct="1">
              <a:lnSpc>
                <a:spcPct val="90000"/>
              </a:lnSpc>
              <a:buClr>
                <a:srgbClr val="FFE600"/>
              </a:buClr>
              <a:buSzTx/>
              <a:tabLst/>
            </a:pPr>
            <a:r>
              <a:rPr kumimoji="0" lang="it-IT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VOLUME TRANSAZIONI NON CASH </a:t>
            </a:r>
          </a:p>
          <a:p>
            <a:pPr marR="0" algn="ctr" defTabSz="914400" eaLnBrk="1" fontAlgn="auto" latinLnBrk="0" hangingPunct="1">
              <a:lnSpc>
                <a:spcPct val="90000"/>
              </a:lnSpc>
              <a:buClr>
                <a:srgbClr val="FFE600"/>
              </a:buClr>
              <a:buSzTx/>
              <a:tabLst/>
            </a:pPr>
            <a:r>
              <a:rPr kumimoji="0" lang="it-IT" sz="10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2023-2029F (in </a:t>
            </a:r>
            <a:r>
              <a:rPr kumimoji="0" lang="it-IT" sz="1000" b="1" i="0" u="none" strike="noStrike" kern="0" cap="none" spc="0" normalizeH="0" baseline="0" noProof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bln</a:t>
            </a:r>
            <a:r>
              <a:rPr kumimoji="0" lang="it-IT" sz="10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)</a:t>
            </a:r>
            <a:endParaRPr kumimoji="0" lang="it-IT" b="1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8A3E30C-D4D5-906D-6C23-72A2C58C02DC}"/>
              </a:ext>
            </a:extLst>
          </p:cNvPr>
          <p:cNvSpPr/>
          <p:nvPr/>
        </p:nvSpPr>
        <p:spPr>
          <a:xfrm>
            <a:off x="5809572" y="2211865"/>
            <a:ext cx="5939835" cy="4025220"/>
          </a:xfrm>
          <a:prstGeom prst="rect">
            <a:avLst/>
          </a:prstGeom>
          <a:noFill/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80000" tIns="72000" rIns="180000" bIns="108000" rtlCol="0" anchor="t" anchorCtr="0"/>
          <a:lstStyle/>
          <a:p>
            <a:pPr marR="0" algn="ctr" defTabSz="914400" eaLnBrk="1" fontAlgn="auto" latinLnBrk="0" hangingPunct="1">
              <a:lnSpc>
                <a:spcPct val="90000"/>
              </a:lnSpc>
              <a:buClr>
                <a:srgbClr val="FFE600"/>
              </a:buClr>
              <a:buSzTx/>
              <a:tabLst/>
            </a:pPr>
            <a:r>
              <a:rPr lang="it-IT" b="1" kern="0">
                <a:solidFill>
                  <a:schemeClr val="tx2"/>
                </a:solidFill>
              </a:rPr>
              <a:t>UTILIZZO METODI DI PAGAMENTO (%) </a:t>
            </a:r>
          </a:p>
          <a:p>
            <a:pPr marR="0" algn="ctr" defTabSz="914400" eaLnBrk="1" fontAlgn="auto" latinLnBrk="0" hangingPunct="1">
              <a:lnSpc>
                <a:spcPct val="90000"/>
              </a:lnSpc>
              <a:buClr>
                <a:srgbClr val="FFE600"/>
              </a:buClr>
              <a:buSzTx/>
              <a:tabLst/>
            </a:pPr>
            <a:r>
              <a:rPr lang="it-IT" sz="1000" b="1" kern="0">
                <a:solidFill>
                  <a:schemeClr val="tx2"/>
                </a:solidFill>
              </a:rPr>
              <a:t>2023-2029F</a:t>
            </a:r>
            <a:endParaRPr kumimoji="0" lang="it-IT" sz="1000" b="1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984D9B0-CBEE-CAB9-0EF2-1C7CF135A5C4}"/>
              </a:ext>
            </a:extLst>
          </p:cNvPr>
          <p:cNvSpPr/>
          <p:nvPr/>
        </p:nvSpPr>
        <p:spPr>
          <a:xfrm>
            <a:off x="5992895" y="1064819"/>
            <a:ext cx="5652414" cy="391732"/>
          </a:xfrm>
          <a:prstGeom prst="rect">
            <a:avLst/>
          </a:prstGeom>
          <a:noFill/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 anchorCtr="0"/>
          <a:lstStyle/>
          <a:p>
            <a:pPr marL="0" marR="0" lvl="0" indent="0" algn="ctr" defTabSz="913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Percentuale</a:t>
            </a:r>
            <a:r>
              <a:rPr kumimoji="0" lang="en-US" sz="1400" b="0" i="1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di </a:t>
            </a:r>
            <a:r>
              <a:rPr kumimoji="0" lang="en-US" sz="1400" b="0" i="1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pagamenti</a:t>
            </a:r>
            <a:r>
              <a:rPr kumimoji="0" lang="en-US" sz="1400" b="0" i="1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con carta </a:t>
            </a:r>
            <a:r>
              <a:rPr kumimoji="0" lang="en-US" sz="1400" b="0" i="1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nelle</a:t>
            </a:r>
            <a:r>
              <a:rPr kumimoji="0" lang="en-US" sz="1400" b="0" i="1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</a:t>
            </a:r>
            <a:r>
              <a:rPr kumimoji="0" lang="en-US" sz="1400" b="0" i="1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transazioni</a:t>
            </a:r>
            <a:r>
              <a:rPr kumimoji="0" lang="en-US" sz="1400" b="0" i="1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“non cash”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A5858ABE-93D9-A5E0-49F6-DA638720AA2D}"/>
              </a:ext>
            </a:extLst>
          </p:cNvPr>
          <p:cNvGrpSpPr/>
          <p:nvPr/>
        </p:nvGrpSpPr>
        <p:grpSpPr>
          <a:xfrm>
            <a:off x="7156288" y="1333622"/>
            <a:ext cx="3325628" cy="839715"/>
            <a:chOff x="7096409" y="1333622"/>
            <a:chExt cx="3325628" cy="839715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124A17C-F0BE-B07B-13B4-F87BBCE7157A}"/>
                </a:ext>
              </a:extLst>
            </p:cNvPr>
            <p:cNvSpPr/>
            <p:nvPr/>
          </p:nvSpPr>
          <p:spPr>
            <a:xfrm>
              <a:off x="7096409" y="1333622"/>
              <a:ext cx="1192028" cy="839715"/>
            </a:xfrm>
            <a:prstGeom prst="rect">
              <a:avLst/>
            </a:prstGeom>
            <a:noFill/>
            <a:ln w="317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 anchorCtr="0"/>
            <a:lstStyle/>
            <a:p>
              <a:pPr marL="0" marR="0" lvl="0" indent="0" algn="l" defTabSz="9133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buClrTx/>
                <a:buSzTx/>
                <a:buFontTx/>
                <a:buNone/>
                <a:tabLst/>
                <a:defRPr/>
              </a:pPr>
              <a:r>
                <a:rPr kumimoji="0" lang="en-US" sz="4400" b="0" i="1" u="none" strike="noStrike" kern="1200" cap="none" spc="0" normalizeH="0" baseline="0" noProof="0">
                  <a:ln>
                    <a:noFill/>
                  </a:ln>
                  <a:solidFill>
                    <a:schemeClr val="bg2">
                      <a:lumMod val="20000"/>
                      <a:lumOff val="80000"/>
                    </a:schemeClr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57%</a:t>
              </a:r>
            </a:p>
            <a:p>
              <a:pPr marL="0" marR="0" lvl="0" indent="0" algn="l" defTabSz="9133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buClrTx/>
                <a:buSzTx/>
                <a:buFontTx/>
                <a:buNone/>
                <a:tabLst/>
                <a:defRPr/>
              </a:pPr>
              <a:r>
                <a:rPr lang="en-US" sz="1100" i="1">
                  <a:solidFill>
                    <a:schemeClr val="bg2">
                      <a:lumMod val="20000"/>
                      <a:lumOff val="80000"/>
                    </a:schemeClr>
                  </a:solidFill>
                  <a:latin typeface="EYInterstate Light"/>
                </a:rPr>
                <a:t>2023</a:t>
              </a:r>
              <a:endParaRPr kumimoji="0" lang="en-US" sz="1100" b="0" i="1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20000"/>
                    <a:lumOff val="80000"/>
                  </a:schemeClr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6E9DB77-10FD-2DAA-3E0E-0A1D0D2E2A37}"/>
                </a:ext>
              </a:extLst>
            </p:cNvPr>
            <p:cNvSpPr/>
            <p:nvPr/>
          </p:nvSpPr>
          <p:spPr>
            <a:xfrm>
              <a:off x="9230009" y="1333622"/>
              <a:ext cx="1192028" cy="839715"/>
            </a:xfrm>
            <a:prstGeom prst="rect">
              <a:avLst/>
            </a:prstGeom>
            <a:noFill/>
            <a:ln w="317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 anchorCtr="0"/>
            <a:lstStyle/>
            <a:p>
              <a:pPr marL="0" marR="0" lvl="0" indent="0" algn="l" defTabSz="9133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buClrTx/>
                <a:buSzTx/>
                <a:buFontTx/>
                <a:buNone/>
                <a:tabLst/>
                <a:defRPr/>
              </a:pPr>
              <a:r>
                <a:rPr kumimoji="0" lang="en-US" sz="4400" b="0" i="1" u="none" strike="noStrike" kern="1200" cap="none" spc="0" normalizeH="0" baseline="0" noProof="0">
                  <a:ln>
                    <a:noFill/>
                  </a:ln>
                  <a:solidFill>
                    <a:schemeClr val="bg2">
                      <a:lumMod val="20000"/>
                      <a:lumOff val="80000"/>
                    </a:schemeClr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47%</a:t>
              </a:r>
            </a:p>
            <a:p>
              <a:pPr marL="0" marR="0" lvl="0" indent="0" algn="l" defTabSz="9133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1200" cap="none" spc="0" normalizeH="0" baseline="0" noProof="0">
                  <a:ln>
                    <a:noFill/>
                  </a:ln>
                  <a:solidFill>
                    <a:schemeClr val="bg2">
                      <a:lumMod val="20000"/>
                      <a:lumOff val="80000"/>
                    </a:schemeClr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2029F</a:t>
              </a:r>
            </a:p>
          </p:txBody>
        </p:sp>
        <p:sp>
          <p:nvSpPr>
            <p:cNvPr id="18" name="Arrow: Right 17">
              <a:extLst>
                <a:ext uri="{FF2B5EF4-FFF2-40B4-BE49-F238E27FC236}">
                  <a16:creationId xmlns:a16="http://schemas.microsoft.com/office/drawing/2014/main" id="{B98FED7C-A5BD-C948-B79C-D6CFE9E75CF0}"/>
                </a:ext>
              </a:extLst>
            </p:cNvPr>
            <p:cNvSpPr/>
            <p:nvPr/>
          </p:nvSpPr>
          <p:spPr>
            <a:xfrm>
              <a:off x="8440149" y="1607995"/>
              <a:ext cx="638149" cy="290969"/>
            </a:xfrm>
            <a:prstGeom prst="rightArrow">
              <a:avLst/>
            </a:prstGeom>
            <a:solidFill>
              <a:schemeClr val="tx2"/>
            </a:solidFill>
            <a:ln w="12700" cap="flat" cmpd="sng" algn="ctr">
              <a:solidFill>
                <a:srgbClr val="74748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108000" tIns="108000" rIns="108000" bIns="108000" rtlCol="0" anchor="t" anchorCtr="0"/>
            <a:lstStyle/>
            <a:p>
              <a:pPr marL="252000" marR="0" indent="-252000" algn="l" defTabSz="91440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FFE600"/>
                </a:buClr>
                <a:buSzTx/>
                <a:buFont typeface="Wingdings" pitchFamily="2" charset="2"/>
                <a:buChar char="§"/>
                <a:tabLst/>
              </a:pPr>
              <a:endParaRPr kumimoji="0" lang="en-US" sz="2000" b="0" i="0" u="none" strike="noStrike" kern="0" cap="none" spc="0" normalizeH="0" baseline="0" noProof="0" err="1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</p:grp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264FF417-7245-1121-15B1-CDA5FF8067E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70879000"/>
              </p:ext>
            </p:extLst>
          </p:nvPr>
        </p:nvGraphicFramePr>
        <p:xfrm>
          <a:off x="5809573" y="2095200"/>
          <a:ext cx="4377691" cy="42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Rectangle 21">
            <a:extLst>
              <a:ext uri="{FF2B5EF4-FFF2-40B4-BE49-F238E27FC236}">
                <a16:creationId xmlns:a16="http://schemas.microsoft.com/office/drawing/2014/main" id="{58D6D755-9925-0C06-7929-2FCB5115289D}"/>
              </a:ext>
            </a:extLst>
          </p:cNvPr>
          <p:cNvSpPr/>
          <p:nvPr/>
        </p:nvSpPr>
        <p:spPr>
          <a:xfrm>
            <a:off x="9804676" y="3187053"/>
            <a:ext cx="127000" cy="111760"/>
          </a:xfrm>
          <a:prstGeom prst="rect">
            <a:avLst/>
          </a:prstGeom>
          <a:solidFill>
            <a:srgbClr val="80808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t" anchorCtr="0"/>
          <a:lstStyle/>
          <a:p>
            <a:pPr marL="252000" marR="0" indent="-252000" algn="l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  <a:buSzTx/>
              <a:buFont typeface="Wingdings" pitchFamily="2" charset="2"/>
              <a:buChar char="§"/>
              <a:tabLst/>
            </a:pPr>
            <a:endParaRPr kumimoji="0" lang="en-US" b="0" i="0" u="none" strike="noStrike" kern="0" cap="none" spc="0" normalizeH="0" baseline="0" noProof="0" err="1">
              <a:ln>
                <a:noFill/>
              </a:ln>
              <a:solidFill>
                <a:srgbClr val="1A1A24"/>
              </a:solidFill>
              <a:effectLst/>
              <a:uLnTx/>
              <a:uFillTx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EAE86C8-C970-0B75-8CB4-CBFADA797043}"/>
              </a:ext>
            </a:extLst>
          </p:cNvPr>
          <p:cNvSpPr/>
          <p:nvPr/>
        </p:nvSpPr>
        <p:spPr>
          <a:xfrm>
            <a:off x="9804676" y="3696138"/>
            <a:ext cx="127000" cy="111760"/>
          </a:xfrm>
          <a:prstGeom prst="rect">
            <a:avLst/>
          </a:prstGeom>
          <a:solidFill>
            <a:srgbClr val="C4C4CD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t" anchorCtr="0"/>
          <a:lstStyle/>
          <a:p>
            <a:pPr marL="252000" marR="0" indent="-252000" algn="l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  <a:buSzTx/>
              <a:buFont typeface="Wingdings" pitchFamily="2" charset="2"/>
              <a:buChar char="§"/>
              <a:tabLst/>
            </a:pPr>
            <a:endParaRPr kumimoji="0" lang="en-US" b="0" i="0" u="none" strike="noStrike" kern="0" cap="none" spc="0" normalizeH="0" baseline="0" noProof="0" err="1">
              <a:ln>
                <a:noFill/>
              </a:ln>
              <a:solidFill>
                <a:srgbClr val="1A1A24"/>
              </a:solidFill>
              <a:effectLst/>
              <a:uLnTx/>
              <a:uFillTx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E743A4D-2B38-B86E-21EA-E2B7F727A9E3}"/>
              </a:ext>
            </a:extLst>
          </p:cNvPr>
          <p:cNvSpPr/>
          <p:nvPr/>
        </p:nvSpPr>
        <p:spPr>
          <a:xfrm>
            <a:off x="9804676" y="4335946"/>
            <a:ext cx="127000" cy="111760"/>
          </a:xfrm>
          <a:prstGeom prst="rect">
            <a:avLst/>
          </a:prstGeom>
          <a:solidFill>
            <a:srgbClr val="74748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t" anchorCtr="0"/>
          <a:lstStyle/>
          <a:p>
            <a:pPr marL="252000" marR="0" indent="-252000" algn="l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  <a:buSzTx/>
              <a:buFont typeface="Wingdings" pitchFamily="2" charset="2"/>
              <a:buChar char="§"/>
              <a:tabLst/>
            </a:pPr>
            <a:endParaRPr kumimoji="0" lang="en-US" b="0" i="0" u="none" strike="noStrike" kern="0" cap="none" spc="0" normalizeH="0" baseline="0" noProof="0" err="1">
              <a:ln>
                <a:noFill/>
              </a:ln>
              <a:solidFill>
                <a:srgbClr val="1A1A24"/>
              </a:solidFill>
              <a:effectLst/>
              <a:uLnTx/>
              <a:uFillTx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F11995D-49A9-F61E-A968-80CBBEFA07EF}"/>
              </a:ext>
            </a:extLst>
          </p:cNvPr>
          <p:cNvSpPr/>
          <p:nvPr/>
        </p:nvSpPr>
        <p:spPr>
          <a:xfrm>
            <a:off x="9804676" y="4970803"/>
            <a:ext cx="127000" cy="111760"/>
          </a:xfrm>
          <a:prstGeom prst="rect">
            <a:avLst/>
          </a:prstGeom>
          <a:solidFill>
            <a:srgbClr val="FFE60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t" anchorCtr="0"/>
          <a:lstStyle/>
          <a:p>
            <a:pPr marL="252000" marR="0" indent="-252000" algn="l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  <a:buSzTx/>
              <a:buFont typeface="Wingdings" pitchFamily="2" charset="2"/>
              <a:buChar char="§"/>
              <a:tabLst/>
            </a:pPr>
            <a:endParaRPr kumimoji="0" lang="en-US" b="0" i="0" u="none" strike="noStrike" kern="0" cap="none" spc="0" normalizeH="0" baseline="0" noProof="0" err="1">
              <a:ln>
                <a:noFill/>
              </a:ln>
              <a:solidFill>
                <a:srgbClr val="1A1A24"/>
              </a:solidFill>
              <a:effectLst/>
              <a:uLnTx/>
              <a:uFillTx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F15B1DE-333D-ADBB-FC68-8CFAD0B843A6}"/>
              </a:ext>
            </a:extLst>
          </p:cNvPr>
          <p:cNvSpPr/>
          <p:nvPr/>
        </p:nvSpPr>
        <p:spPr>
          <a:xfrm>
            <a:off x="9804676" y="5493900"/>
            <a:ext cx="127000" cy="111760"/>
          </a:xfrm>
          <a:prstGeom prst="rect">
            <a:avLst/>
          </a:prstGeom>
          <a:solidFill>
            <a:srgbClr val="FFEFBA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t" anchorCtr="0"/>
          <a:lstStyle/>
          <a:p>
            <a:pPr marL="252000" marR="0" indent="-252000" algn="l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  <a:buSzTx/>
              <a:buFont typeface="Wingdings" pitchFamily="2" charset="2"/>
              <a:buChar char="§"/>
              <a:tabLst/>
            </a:pPr>
            <a:endParaRPr kumimoji="0" lang="en-US" b="0" i="0" u="none" strike="noStrike" kern="0" cap="none" spc="0" normalizeH="0" baseline="0" noProof="0" err="1">
              <a:ln>
                <a:noFill/>
              </a:ln>
              <a:solidFill>
                <a:srgbClr val="1A1A24"/>
              </a:solidFill>
              <a:effectLst/>
              <a:uLnTx/>
              <a:uFillTx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DA49BC0-32F9-5921-1D6C-398B287E67A3}"/>
              </a:ext>
            </a:extLst>
          </p:cNvPr>
          <p:cNvSpPr/>
          <p:nvPr/>
        </p:nvSpPr>
        <p:spPr>
          <a:xfrm>
            <a:off x="9962138" y="3047067"/>
            <a:ext cx="1254778" cy="391732"/>
          </a:xfrm>
          <a:prstGeom prst="rect">
            <a:avLst/>
          </a:prstGeom>
          <a:noFill/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 anchorCtr="0"/>
          <a:lstStyle/>
          <a:p>
            <a:pPr marL="0" marR="0" lvl="0" indent="0" algn="l" defTabSz="91334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Instant Payments +</a:t>
            </a:r>
          </a:p>
          <a:p>
            <a:pPr marL="0" marR="0" lvl="0" indent="0" algn="l" defTabSz="91334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en-US" sz="900" i="1">
                <a:solidFill>
                  <a:schemeClr val="tx1"/>
                </a:solidFill>
                <a:latin typeface="EYInterstate Light"/>
              </a:rPr>
              <a:t>E-money wallets</a:t>
            </a:r>
            <a:endParaRPr kumimoji="0" lang="en-US" sz="900" b="0" i="1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EE2D0BC-2546-E9CE-EBE6-DE221E520E9A}"/>
              </a:ext>
            </a:extLst>
          </p:cNvPr>
          <p:cNvSpPr/>
          <p:nvPr/>
        </p:nvSpPr>
        <p:spPr>
          <a:xfrm>
            <a:off x="9962138" y="3630401"/>
            <a:ext cx="1254778" cy="243235"/>
          </a:xfrm>
          <a:prstGeom prst="rect">
            <a:avLst/>
          </a:prstGeom>
          <a:noFill/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 anchorCtr="0"/>
          <a:lstStyle/>
          <a:p>
            <a:pPr marL="0" marR="0" lvl="0" indent="0" algn="l" defTabSz="91334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Direct Debit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1D147A3-500D-4261-8FD9-B90724787B3B}"/>
              </a:ext>
            </a:extLst>
          </p:cNvPr>
          <p:cNvSpPr/>
          <p:nvPr/>
        </p:nvSpPr>
        <p:spPr>
          <a:xfrm>
            <a:off x="9962138" y="4270208"/>
            <a:ext cx="1254778" cy="243235"/>
          </a:xfrm>
          <a:prstGeom prst="rect">
            <a:avLst/>
          </a:prstGeom>
          <a:noFill/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 anchorCtr="0"/>
          <a:lstStyle/>
          <a:p>
            <a:pPr marL="0" marR="0" lvl="0" indent="0" algn="l" defTabSz="91334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Credit Transfer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826E083-B514-9CC9-4748-162879D88AFB}"/>
              </a:ext>
            </a:extLst>
          </p:cNvPr>
          <p:cNvSpPr/>
          <p:nvPr/>
        </p:nvSpPr>
        <p:spPr>
          <a:xfrm>
            <a:off x="9962138" y="4905065"/>
            <a:ext cx="1300498" cy="243235"/>
          </a:xfrm>
          <a:prstGeom prst="rect">
            <a:avLst/>
          </a:prstGeom>
          <a:noFill/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 anchorCtr="0"/>
          <a:lstStyle/>
          <a:p>
            <a:pPr marL="0" marR="0" lvl="0" indent="0" algn="l" defTabSz="91334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Cards </a:t>
            </a:r>
          </a:p>
          <a:p>
            <a:pPr marL="0" marR="0" lvl="0" indent="0" algn="l" defTabSz="91334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en-US" sz="900" i="1">
                <a:solidFill>
                  <a:schemeClr val="tx1"/>
                </a:solidFill>
                <a:latin typeface="EYInterstate Light"/>
              </a:rPr>
              <a:t>(Credit, Debit, prep)</a:t>
            </a:r>
            <a:endParaRPr kumimoji="0" lang="en-US" sz="900" b="0" i="1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8E4A34D-D30C-1308-E290-29095DCE4AA8}"/>
              </a:ext>
            </a:extLst>
          </p:cNvPr>
          <p:cNvSpPr/>
          <p:nvPr/>
        </p:nvSpPr>
        <p:spPr>
          <a:xfrm>
            <a:off x="9962138" y="5428162"/>
            <a:ext cx="1300498" cy="243235"/>
          </a:xfrm>
          <a:prstGeom prst="rect">
            <a:avLst/>
          </a:prstGeom>
          <a:noFill/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 anchorCtr="0"/>
          <a:lstStyle/>
          <a:p>
            <a:pPr marL="0" marR="0" lvl="0" indent="0" algn="l" defTabSz="91334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Checks</a:t>
            </a:r>
          </a:p>
        </p:txBody>
      </p:sp>
      <p:sp>
        <p:nvSpPr>
          <p:cNvPr id="34" name="Right Brace 33">
            <a:extLst>
              <a:ext uri="{FF2B5EF4-FFF2-40B4-BE49-F238E27FC236}">
                <a16:creationId xmlns:a16="http://schemas.microsoft.com/office/drawing/2014/main" id="{7879BD45-425B-76E0-F09D-37A682D2FA85}"/>
              </a:ext>
            </a:extLst>
          </p:cNvPr>
          <p:cNvSpPr/>
          <p:nvPr/>
        </p:nvSpPr>
        <p:spPr>
          <a:xfrm>
            <a:off x="11059178" y="2938864"/>
            <a:ext cx="268703" cy="602525"/>
          </a:xfrm>
          <a:prstGeom prst="rightBrace">
            <a:avLst/>
          </a:prstGeom>
          <a:noFill/>
          <a:ln w="6350">
            <a:solidFill>
              <a:schemeClr val="bg1">
                <a:lumMod val="10000"/>
                <a:lumOff val="9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2C3C5FC8-4C63-7252-EA08-CCE199B20D7A}"/>
              </a:ext>
            </a:extLst>
          </p:cNvPr>
          <p:cNvSpPr/>
          <p:nvPr/>
        </p:nvSpPr>
        <p:spPr>
          <a:xfrm>
            <a:off x="11059178" y="3638529"/>
            <a:ext cx="268703" cy="2052893"/>
          </a:xfrm>
          <a:prstGeom prst="rightBrace">
            <a:avLst/>
          </a:prstGeom>
          <a:noFill/>
          <a:ln w="6350">
            <a:solidFill>
              <a:schemeClr val="bg1">
                <a:lumMod val="10000"/>
                <a:lumOff val="9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13AE6A8-98A2-39FD-B3C8-B18D2C30BAD3}"/>
              </a:ext>
            </a:extLst>
          </p:cNvPr>
          <p:cNvSpPr/>
          <p:nvPr/>
        </p:nvSpPr>
        <p:spPr>
          <a:xfrm rot="5400000">
            <a:off x="11069031" y="3083601"/>
            <a:ext cx="1037006" cy="323745"/>
          </a:xfrm>
          <a:prstGeom prst="rect">
            <a:avLst/>
          </a:prstGeom>
          <a:noFill/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 anchorCtr="0"/>
          <a:lstStyle/>
          <a:p>
            <a:pPr marL="0" marR="0" lvl="0" indent="0" algn="ctr" defTabSz="91334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1050" b="1" i="1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NEW DIGITAL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F2C82F9-E31F-C1B3-AC72-A5F203F0030C}"/>
              </a:ext>
            </a:extLst>
          </p:cNvPr>
          <p:cNvSpPr/>
          <p:nvPr/>
        </p:nvSpPr>
        <p:spPr>
          <a:xfrm rot="5400000">
            <a:off x="11069031" y="4520623"/>
            <a:ext cx="1037006" cy="323745"/>
          </a:xfrm>
          <a:prstGeom prst="rect">
            <a:avLst/>
          </a:prstGeom>
          <a:noFill/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 anchorCtr="0"/>
          <a:lstStyle/>
          <a:p>
            <a:pPr marL="0" marR="0" lvl="0" indent="0" algn="ctr" defTabSz="91334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1050" b="1" i="1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TRADITIONAL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55C7A0C-9B0D-FAEA-DEFF-50D0026E5D2C}"/>
              </a:ext>
            </a:extLst>
          </p:cNvPr>
          <p:cNvSpPr/>
          <p:nvPr/>
        </p:nvSpPr>
        <p:spPr>
          <a:xfrm>
            <a:off x="1157419" y="1064819"/>
            <a:ext cx="3190641" cy="391732"/>
          </a:xfrm>
          <a:prstGeom prst="rect">
            <a:avLst/>
          </a:prstGeom>
          <a:noFill/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 anchorCtr="0"/>
          <a:lstStyle/>
          <a:p>
            <a:pPr marL="0" marR="0" lvl="0" indent="0" algn="ctr" defTabSz="913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400" i="1">
                <a:solidFill>
                  <a:schemeClr val="tx1"/>
                </a:solidFill>
                <a:latin typeface="EYInterstate Light"/>
              </a:rPr>
              <a:t>Volume </a:t>
            </a:r>
            <a:r>
              <a:rPr lang="en-US" sz="1400" i="1" err="1">
                <a:solidFill>
                  <a:schemeClr val="tx1"/>
                </a:solidFill>
                <a:latin typeface="EYInterstate Light"/>
              </a:rPr>
              <a:t>transazioni</a:t>
            </a:r>
            <a:r>
              <a:rPr lang="en-US" sz="1400" i="1">
                <a:solidFill>
                  <a:schemeClr val="tx1"/>
                </a:solidFill>
                <a:latin typeface="EYInterstate Light"/>
              </a:rPr>
              <a:t> “non cash”</a:t>
            </a:r>
            <a:endParaRPr kumimoji="0" lang="en-US" sz="1400" b="0" i="1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0169511F-56ED-7C20-A3FF-0AE6C549F9AB}"/>
              </a:ext>
            </a:extLst>
          </p:cNvPr>
          <p:cNvGrpSpPr/>
          <p:nvPr/>
        </p:nvGrpSpPr>
        <p:grpSpPr>
          <a:xfrm>
            <a:off x="558031" y="1333622"/>
            <a:ext cx="4491016" cy="839715"/>
            <a:chOff x="680424" y="1333622"/>
            <a:chExt cx="4491016" cy="839715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F228E1B2-F939-74F7-2B29-942735310C7F}"/>
                </a:ext>
              </a:extLst>
            </p:cNvPr>
            <p:cNvSpPr/>
            <p:nvPr/>
          </p:nvSpPr>
          <p:spPr>
            <a:xfrm>
              <a:off x="680424" y="1333622"/>
              <a:ext cx="1749175" cy="839715"/>
            </a:xfrm>
            <a:prstGeom prst="rect">
              <a:avLst/>
            </a:prstGeom>
            <a:noFill/>
            <a:ln w="317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 anchorCtr="0"/>
            <a:lstStyle/>
            <a:p>
              <a:pPr marL="0" marR="0" lvl="0" indent="0" algn="l" defTabSz="9133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buClrTx/>
                <a:buSzTx/>
                <a:buFontTx/>
                <a:buNone/>
                <a:tabLst/>
                <a:defRPr/>
              </a:pPr>
              <a:r>
                <a:rPr kumimoji="0" lang="en-US" sz="4400" b="0" i="1" u="none" strike="noStrike" kern="1200" cap="none" spc="0" normalizeH="0" baseline="0" noProof="0">
                  <a:ln>
                    <a:noFill/>
                  </a:ln>
                  <a:solidFill>
                    <a:schemeClr val="bg2">
                      <a:lumMod val="20000"/>
                      <a:lumOff val="80000"/>
                    </a:schemeClr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1.44B</a:t>
              </a:r>
            </a:p>
            <a:p>
              <a:pPr marL="0" marR="0" lvl="0" indent="0" algn="l" defTabSz="9133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buClrTx/>
                <a:buSzTx/>
                <a:buFontTx/>
                <a:buNone/>
                <a:tabLst/>
                <a:defRPr/>
              </a:pPr>
              <a:r>
                <a:rPr lang="en-US" sz="1100" i="1">
                  <a:solidFill>
                    <a:schemeClr val="bg2">
                      <a:lumMod val="20000"/>
                      <a:lumOff val="80000"/>
                    </a:schemeClr>
                  </a:solidFill>
                  <a:latin typeface="EYInterstate Light"/>
                </a:rPr>
                <a:t>2023</a:t>
              </a:r>
              <a:endParaRPr kumimoji="0" lang="en-US" sz="1100" b="0" i="1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20000"/>
                    <a:lumOff val="80000"/>
                  </a:schemeClr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3B01A351-354D-DAA9-3224-91BBFD7FFCCB}"/>
                </a:ext>
              </a:extLst>
            </p:cNvPr>
            <p:cNvSpPr/>
            <p:nvPr/>
          </p:nvSpPr>
          <p:spPr>
            <a:xfrm>
              <a:off x="3422265" y="1333622"/>
              <a:ext cx="1749175" cy="839715"/>
            </a:xfrm>
            <a:prstGeom prst="rect">
              <a:avLst/>
            </a:prstGeom>
            <a:noFill/>
            <a:ln w="317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 anchorCtr="0"/>
            <a:lstStyle/>
            <a:p>
              <a:pPr lvl="0" defTabSz="913340">
                <a:defRPr/>
              </a:pPr>
              <a:r>
                <a:rPr lang="en-US" sz="4400" i="1">
                  <a:solidFill>
                    <a:schemeClr val="bg2">
                      <a:lumMod val="20000"/>
                      <a:lumOff val="80000"/>
                    </a:schemeClr>
                  </a:solidFill>
                </a:rPr>
                <a:t>3.54B</a:t>
              </a:r>
            </a:p>
            <a:p>
              <a:pPr lvl="0" defTabSz="913340">
                <a:defRPr/>
              </a:pPr>
              <a:r>
                <a:rPr lang="en-US" sz="1100" i="1">
                  <a:solidFill>
                    <a:schemeClr val="bg2">
                      <a:lumMod val="20000"/>
                      <a:lumOff val="80000"/>
                    </a:schemeClr>
                  </a:solidFill>
                </a:rPr>
                <a:t>2029F</a:t>
              </a:r>
            </a:p>
          </p:txBody>
        </p:sp>
        <p:sp>
          <p:nvSpPr>
            <p:cNvPr id="44" name="Arrow: Right 43">
              <a:extLst>
                <a:ext uri="{FF2B5EF4-FFF2-40B4-BE49-F238E27FC236}">
                  <a16:creationId xmlns:a16="http://schemas.microsoft.com/office/drawing/2014/main" id="{94724528-6CA3-11FF-92E4-20FC9C750C36}"/>
                </a:ext>
              </a:extLst>
            </p:cNvPr>
            <p:cNvSpPr/>
            <p:nvPr/>
          </p:nvSpPr>
          <p:spPr>
            <a:xfrm>
              <a:off x="2606858" y="1607995"/>
              <a:ext cx="638149" cy="290969"/>
            </a:xfrm>
            <a:prstGeom prst="rightArrow">
              <a:avLst/>
            </a:prstGeom>
            <a:solidFill>
              <a:schemeClr val="tx2"/>
            </a:solidFill>
            <a:ln w="12700" cap="flat" cmpd="sng" algn="ctr">
              <a:solidFill>
                <a:srgbClr val="74748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108000" tIns="108000" rIns="108000" bIns="108000" rtlCol="0" anchor="t" anchorCtr="0"/>
            <a:lstStyle/>
            <a:p>
              <a:pPr marL="252000" marR="0" indent="-252000" algn="l" defTabSz="91440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FFE600"/>
                </a:buClr>
                <a:buSzTx/>
                <a:buFont typeface="Wingdings" pitchFamily="2" charset="2"/>
                <a:buChar char="§"/>
                <a:tabLst/>
              </a:pPr>
              <a:endParaRPr kumimoji="0" lang="en-US" sz="2000" b="0" i="0" u="none" strike="noStrike" kern="0" cap="none" spc="0" normalizeH="0" baseline="0" noProof="0" err="1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8F3FDD25-5A5A-9658-8CCC-02340E310832}"/>
              </a:ext>
            </a:extLst>
          </p:cNvPr>
          <p:cNvSpPr/>
          <p:nvPr/>
        </p:nvSpPr>
        <p:spPr>
          <a:xfrm>
            <a:off x="741003" y="4414995"/>
            <a:ext cx="840195" cy="267558"/>
          </a:xfrm>
          <a:prstGeom prst="rect">
            <a:avLst/>
          </a:prstGeom>
          <a:noFill/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 anchorCtr="0"/>
          <a:lstStyle/>
          <a:p>
            <a:pPr marL="0" marR="0" lvl="0" indent="0" algn="ctr" defTabSz="913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1.438,8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46B6930-515B-1257-4DEB-1E6381E1A820}"/>
              </a:ext>
            </a:extLst>
          </p:cNvPr>
          <p:cNvSpPr/>
          <p:nvPr/>
        </p:nvSpPr>
        <p:spPr>
          <a:xfrm>
            <a:off x="1898811" y="4202376"/>
            <a:ext cx="840195" cy="267558"/>
          </a:xfrm>
          <a:prstGeom prst="rect">
            <a:avLst/>
          </a:prstGeom>
          <a:noFill/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 anchorCtr="0"/>
          <a:lstStyle/>
          <a:p>
            <a:pPr marL="0" marR="0" lvl="0" indent="0" algn="ctr" defTabSz="913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1.684,6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A617A0D-4F2D-CEA5-CE3D-1DCD5581A2F5}"/>
              </a:ext>
            </a:extLst>
          </p:cNvPr>
          <p:cNvSpPr/>
          <p:nvPr/>
        </p:nvSpPr>
        <p:spPr>
          <a:xfrm>
            <a:off x="3049309" y="3931603"/>
            <a:ext cx="840195" cy="267558"/>
          </a:xfrm>
          <a:prstGeom prst="rect">
            <a:avLst/>
          </a:prstGeom>
          <a:noFill/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 anchorCtr="0"/>
          <a:lstStyle/>
          <a:p>
            <a:pPr marL="0" marR="0" lvl="0" indent="0" algn="ctr" defTabSz="913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1.976,9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EF533A8-7B25-14A3-1A51-C588F4F0683E}"/>
              </a:ext>
            </a:extLst>
          </p:cNvPr>
          <p:cNvSpPr/>
          <p:nvPr/>
        </p:nvSpPr>
        <p:spPr>
          <a:xfrm>
            <a:off x="4202012" y="2486238"/>
            <a:ext cx="840195" cy="267558"/>
          </a:xfrm>
          <a:prstGeom prst="rect">
            <a:avLst/>
          </a:prstGeom>
          <a:noFill/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 anchorCtr="0"/>
          <a:lstStyle/>
          <a:p>
            <a:pPr marL="0" marR="0" lvl="0" indent="0" algn="ctr" defTabSz="913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3.540,3</a:t>
            </a: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F74DB59E-C344-F35F-8C23-18608F48480A}"/>
              </a:ext>
            </a:extLst>
          </p:cNvPr>
          <p:cNvSpPr txBox="1">
            <a:spLocks/>
          </p:cNvSpPr>
          <p:nvPr/>
        </p:nvSpPr>
        <p:spPr>
          <a:xfrm>
            <a:off x="1051325" y="6520888"/>
            <a:ext cx="4222633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lang="en-IN"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/>
              <a:t>Le stablecoin e il futuro dei pagamenti digitali | Salone dei pagamenti | 30 ottobre 2025</a:t>
            </a:r>
            <a:endParaRPr lang="en-US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F3585B7E-0FF0-9245-027A-F85A16C88696}"/>
              </a:ext>
            </a:extLst>
          </p:cNvPr>
          <p:cNvSpPr txBox="1">
            <a:spLocks/>
          </p:cNvSpPr>
          <p:nvPr/>
        </p:nvSpPr>
        <p:spPr>
          <a:xfrm>
            <a:off x="6624320" y="6520888"/>
            <a:ext cx="4757021" cy="24622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lang="en-IN"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/>
              <a:t>Fonte: ECB Statistical Data Warehouse; BIS Statistics Explorer; Countries’ central bank annual reports</a:t>
            </a:r>
          </a:p>
          <a:p>
            <a:pPr algn="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13473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DFDFAC-6B07-B53A-9011-89BBF5B1A2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4A66DD21-D4DE-9F9F-14C5-A3F4B54F08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6663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A66DD21-D4DE-9F9F-14C5-A3F4B54F08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Title 1">
            <a:extLst>
              <a:ext uri="{FF2B5EF4-FFF2-40B4-BE49-F238E27FC236}">
                <a16:creationId xmlns:a16="http://schemas.microsoft.com/office/drawing/2014/main" id="{F28529CD-ABF1-ED36-6A67-58C1268E40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69888"/>
            <a:ext cx="11557541" cy="470898"/>
          </a:xfrm>
        </p:spPr>
        <p:txBody>
          <a:bodyPr vert="horz"/>
          <a:lstStyle/>
          <a:p>
            <a:r>
              <a:rPr lang="it-IT" sz="2400">
                <a:latin typeface="+mn-lt"/>
              </a:rPr>
              <a:t>Il mercato dei pagamenti è in piena trasformazione, spinto da nuove forze che ne ridefiniscono le dinamiche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2BF697-836F-F176-7A90-3E7D78A31BE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it-IT"/>
              <a:t>Le stablecoin e il futuro dei pagamenti digitali | Salone dei pagamenti | 30 ottobre 2025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916C6B-E6F5-9652-0E18-09F3D481EE0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468540F-FB06-954B-3C13-A3FD964ECE19}"/>
              </a:ext>
            </a:extLst>
          </p:cNvPr>
          <p:cNvSpPr/>
          <p:nvPr/>
        </p:nvSpPr>
        <p:spPr>
          <a:xfrm>
            <a:off x="319654" y="1078208"/>
            <a:ext cx="2651760" cy="2464385"/>
          </a:xfrm>
          <a:prstGeom prst="rect">
            <a:avLst/>
          </a:prstGeom>
          <a:noFill/>
          <a:ln w="19050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 b="1" kern="0"/>
              <a:t>INFRASTRUCTURE</a:t>
            </a:r>
            <a:r>
              <a:rPr kumimoji="0" lang="en-GB" sz="16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MODERNIZATION</a:t>
            </a:r>
          </a:p>
        </p:txBody>
      </p:sp>
      <p:pic>
        <p:nvPicPr>
          <p:cNvPr id="11" name="Picture 2" descr="Come vengono addestrati i modelli di Intelligenza Artificiale">
            <a:extLst>
              <a:ext uri="{FF2B5EF4-FFF2-40B4-BE49-F238E27FC236}">
                <a16:creationId xmlns:a16="http://schemas.microsoft.com/office/drawing/2014/main" id="{0AE8FBE4-EF2C-04E9-C848-C5C1BF2EF9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139" y="1653552"/>
            <a:ext cx="2534789" cy="1119148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9CA392A6-F3CA-2550-B06E-12ABC64226D1}"/>
              </a:ext>
            </a:extLst>
          </p:cNvPr>
          <p:cNvSpPr txBox="1"/>
          <p:nvPr/>
        </p:nvSpPr>
        <p:spPr>
          <a:xfrm>
            <a:off x="343414" y="2787480"/>
            <a:ext cx="2593275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it-IT" sz="1100"/>
              <a:t>Passaggio dai sistemi legacy a piattaforme digitali basate sul cloud e AI, abilitando modelli di pagamento innovativi</a:t>
            </a:r>
            <a:endParaRPr kumimoji="0" lang="it-IT" sz="1100" b="0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BA3BCED-32FF-7FE1-8647-D610ADC451EC}"/>
              </a:ext>
            </a:extLst>
          </p:cNvPr>
          <p:cNvSpPr/>
          <p:nvPr/>
        </p:nvSpPr>
        <p:spPr>
          <a:xfrm>
            <a:off x="3286632" y="1078208"/>
            <a:ext cx="2651760" cy="2464385"/>
          </a:xfrm>
          <a:prstGeom prst="rect">
            <a:avLst/>
          </a:prstGeom>
          <a:noFill/>
          <a:ln w="19050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 b="1" kern="0"/>
              <a:t>PAGAMENTI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 b="1" kern="0"/>
              <a:t>REAL TIME</a:t>
            </a:r>
            <a:endParaRPr kumimoji="0" lang="en-GB" sz="16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819663D-BBE3-680D-7412-E677DDADB8EF}"/>
              </a:ext>
            </a:extLst>
          </p:cNvPr>
          <p:cNvSpPr txBox="1"/>
          <p:nvPr/>
        </p:nvSpPr>
        <p:spPr>
          <a:xfrm>
            <a:off x="3310392" y="2787480"/>
            <a:ext cx="2593275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it-IT" sz="1100"/>
              <a:t>Accelerazione delle transazioni con trasferimenti istantanei, guidati da regolamentazione e innovazione tecnologica</a:t>
            </a:r>
            <a:endParaRPr kumimoji="0" lang="it-IT" sz="1100" b="0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5BBBC4F-7841-9E9C-46CB-DB69A568BECE}"/>
              </a:ext>
            </a:extLst>
          </p:cNvPr>
          <p:cNvSpPr/>
          <p:nvPr/>
        </p:nvSpPr>
        <p:spPr>
          <a:xfrm>
            <a:off x="6253610" y="1078208"/>
            <a:ext cx="2651760" cy="2464385"/>
          </a:xfrm>
          <a:prstGeom prst="rect">
            <a:avLst/>
          </a:prstGeom>
          <a:noFill/>
          <a:ln w="19050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PAGAMENTI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ROSS BORD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33E13CC-2E2A-5AD1-C907-9614051CE5D0}"/>
              </a:ext>
            </a:extLst>
          </p:cNvPr>
          <p:cNvSpPr txBox="1"/>
          <p:nvPr/>
        </p:nvSpPr>
        <p:spPr>
          <a:xfrm>
            <a:off x="6277370" y="2787480"/>
            <a:ext cx="2593275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it-IT" sz="1100"/>
              <a:t>Trasferimenti globali più rapidi e meno costosi attraverso partnership fintech e trasformazioni infrastrutturali</a:t>
            </a:r>
            <a:endParaRPr kumimoji="0" lang="it-IT" sz="1100" b="0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543FEDE-180B-AEB9-4D7B-5291EE843C5C}"/>
              </a:ext>
            </a:extLst>
          </p:cNvPr>
          <p:cNvSpPr/>
          <p:nvPr/>
        </p:nvSpPr>
        <p:spPr>
          <a:xfrm>
            <a:off x="318166" y="3696888"/>
            <a:ext cx="2651760" cy="2464385"/>
          </a:xfrm>
          <a:prstGeom prst="rect">
            <a:avLst/>
          </a:prstGeom>
          <a:noFill/>
          <a:ln w="19050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ALTERNATIVE PAYMENT METHODS (APM)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089A7A5-10EF-D0C7-EEFA-677FC0B3C306}"/>
              </a:ext>
            </a:extLst>
          </p:cNvPr>
          <p:cNvSpPr txBox="1"/>
          <p:nvPr/>
        </p:nvSpPr>
        <p:spPr>
          <a:xfrm>
            <a:off x="341926" y="5406160"/>
            <a:ext cx="2593275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it-IT" sz="1100"/>
              <a:t>Espansione delle opzioni di pagamento tramite wallet, trasferimenti account-to-account (A2A) e soluzioni BNPL</a:t>
            </a:r>
            <a:endParaRPr kumimoji="0" lang="it-IT" sz="1100" b="0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pic>
        <p:nvPicPr>
          <p:cNvPr id="26" name="Picture 2">
            <a:extLst>
              <a:ext uri="{FF2B5EF4-FFF2-40B4-BE49-F238E27FC236}">
                <a16:creationId xmlns:a16="http://schemas.microsoft.com/office/drawing/2014/main" id="{BCECD62E-9CB3-56FB-D7D0-EEE564104F95}"/>
              </a:ext>
            </a:extLst>
          </p:cNvPr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339829" y="1653552"/>
            <a:ext cx="2534400" cy="1119600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">
            <a:extLst>
              <a:ext uri="{FF2B5EF4-FFF2-40B4-BE49-F238E27FC236}">
                <a16:creationId xmlns:a16="http://schemas.microsoft.com/office/drawing/2014/main" id="{CDB7393C-EB13-F91D-2908-A181FF4297CD}"/>
              </a:ext>
            </a:extLst>
          </p:cNvPr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312290" y="1653552"/>
            <a:ext cx="2534400" cy="1119600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">
            <a:extLst>
              <a:ext uri="{FF2B5EF4-FFF2-40B4-BE49-F238E27FC236}">
                <a16:creationId xmlns:a16="http://schemas.microsoft.com/office/drawing/2014/main" id="{6042F51E-FFE7-DC74-5029-AA6F04507EB0}"/>
              </a:ext>
            </a:extLst>
          </p:cNvPr>
          <p:cNvPicPr>
            <a:picLocks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76846" y="4272232"/>
            <a:ext cx="2534400" cy="1119600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1AABEE24-E6D1-B10A-F616-5CF8AF84B079}"/>
              </a:ext>
            </a:extLst>
          </p:cNvPr>
          <p:cNvSpPr/>
          <p:nvPr/>
        </p:nvSpPr>
        <p:spPr>
          <a:xfrm>
            <a:off x="3286632" y="3696888"/>
            <a:ext cx="2651760" cy="2464385"/>
          </a:xfrm>
          <a:prstGeom prst="rect">
            <a:avLst/>
          </a:prstGeom>
          <a:noFill/>
          <a:ln w="19050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 b="1" kern="0"/>
              <a:t>AGENTIC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 b="1" kern="0"/>
              <a:t>AI</a:t>
            </a:r>
            <a:endParaRPr kumimoji="0" lang="en-GB" sz="16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D1AB356-A1F8-53BB-F74B-BB0B2D91D90C}"/>
              </a:ext>
            </a:extLst>
          </p:cNvPr>
          <p:cNvSpPr txBox="1"/>
          <p:nvPr/>
        </p:nvSpPr>
        <p:spPr>
          <a:xfrm>
            <a:off x="3310392" y="5406160"/>
            <a:ext cx="2593275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it-IT" sz="1100"/>
              <a:t>L’evoluzione dai pagamenti embedded all’</a:t>
            </a:r>
            <a:r>
              <a:rPr lang="it-IT" sz="1100" err="1"/>
              <a:t>agentic</a:t>
            </a:r>
            <a:r>
              <a:rPr lang="it-IT" sz="1100"/>
              <a:t> commerce</a:t>
            </a:r>
            <a:endParaRPr kumimoji="0" lang="it-IT" sz="1100" b="0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73F3D49-EFAC-4752-6581-D44E57B3625A}"/>
              </a:ext>
            </a:extLst>
          </p:cNvPr>
          <p:cNvSpPr/>
          <p:nvPr/>
        </p:nvSpPr>
        <p:spPr>
          <a:xfrm>
            <a:off x="6253610" y="3696888"/>
            <a:ext cx="2651760" cy="2464385"/>
          </a:xfrm>
          <a:prstGeom prst="rect">
            <a:avLst/>
          </a:prstGeom>
          <a:noFill/>
          <a:ln w="19050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RISK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MANAGEMENT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53C9C2E-E05B-CE64-E924-42962DFC5EB0}"/>
              </a:ext>
            </a:extLst>
          </p:cNvPr>
          <p:cNvSpPr txBox="1"/>
          <p:nvPr/>
        </p:nvSpPr>
        <p:spPr>
          <a:xfrm>
            <a:off x="6277370" y="5406160"/>
            <a:ext cx="2593275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it-IT" sz="1100"/>
              <a:t>Miglioramento della prevenzione delle frodi e della conformità per proteggere i ricavi</a:t>
            </a:r>
            <a:endParaRPr kumimoji="0" lang="it-IT" sz="1100" b="0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563BA57-C9C8-0AB7-69D2-21CA47A10C77}"/>
              </a:ext>
            </a:extLst>
          </p:cNvPr>
          <p:cNvSpPr/>
          <p:nvPr/>
        </p:nvSpPr>
        <p:spPr>
          <a:xfrm>
            <a:off x="9220587" y="1078208"/>
            <a:ext cx="2651760" cy="5083065"/>
          </a:xfrm>
          <a:prstGeom prst="rect">
            <a:avLst/>
          </a:prstGeom>
          <a:solidFill>
            <a:schemeClr val="tx2">
              <a:alpha val="20000"/>
            </a:schemeClr>
          </a:solidFill>
          <a:ln w="15875" cap="flat" cmpd="sng" algn="ctr">
            <a:solidFill>
              <a:srgbClr val="FFE500"/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DIGITAL ASSETS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BASED PAYMENT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AE5DD4E-B89E-1012-58E2-D758F9A6DCBB}"/>
              </a:ext>
            </a:extLst>
          </p:cNvPr>
          <p:cNvSpPr txBox="1"/>
          <p:nvPr/>
        </p:nvSpPr>
        <p:spPr>
          <a:xfrm>
            <a:off x="9244347" y="2787480"/>
            <a:ext cx="2593275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it-IT" sz="1100"/>
              <a:t>Abilitare pagamenti istantanei, a basso costo e programmabili con portata globale e capacità di regolamento 24/7</a:t>
            </a:r>
            <a:endParaRPr kumimoji="0" lang="it-IT" sz="1100" b="0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pic>
        <p:nvPicPr>
          <p:cNvPr id="43" name="Picture 2">
            <a:extLst>
              <a:ext uri="{FF2B5EF4-FFF2-40B4-BE49-F238E27FC236}">
                <a16:creationId xmlns:a16="http://schemas.microsoft.com/office/drawing/2014/main" id="{D63A7ADD-79E1-FEF5-AC2C-FA316CEA2097}"/>
              </a:ext>
            </a:extLst>
          </p:cNvPr>
          <p:cNvPicPr>
            <a:picLocks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339829" y="4272232"/>
            <a:ext cx="2534400" cy="1119600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2">
            <a:extLst>
              <a:ext uri="{FF2B5EF4-FFF2-40B4-BE49-F238E27FC236}">
                <a16:creationId xmlns:a16="http://schemas.microsoft.com/office/drawing/2014/main" id="{9DFA48D4-9A28-1F29-499F-37899B80837C}"/>
              </a:ext>
            </a:extLst>
          </p:cNvPr>
          <p:cNvPicPr>
            <a:picLocks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312290" y="4272232"/>
            <a:ext cx="2534400" cy="1119600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2">
            <a:extLst>
              <a:ext uri="{FF2B5EF4-FFF2-40B4-BE49-F238E27FC236}">
                <a16:creationId xmlns:a16="http://schemas.microsoft.com/office/drawing/2014/main" id="{B349F88D-F6C5-25B7-B680-64B2C8AD728C}"/>
              </a:ext>
            </a:extLst>
          </p:cNvPr>
          <p:cNvPicPr>
            <a:picLocks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279267" y="1653552"/>
            <a:ext cx="2534400" cy="1119600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EBB5D4DB-1A59-3010-488D-64E657254EF0}"/>
              </a:ext>
            </a:extLst>
          </p:cNvPr>
          <p:cNvSpPr txBox="1">
            <a:spLocks/>
          </p:cNvSpPr>
          <p:nvPr/>
        </p:nvSpPr>
        <p:spPr>
          <a:xfrm>
            <a:off x="3886200" y="6520888"/>
            <a:ext cx="7495141" cy="2616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lang="en-IN"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70000"/>
              </a:lnSpc>
            </a:pPr>
            <a:r>
              <a:rPr lang="en-US"/>
              <a:t>Fonte: Trends shaping the global payments landscape in 2025 and beyond (Agosto 2025)</a:t>
            </a:r>
          </a:p>
          <a:p>
            <a:pPr algn="r">
              <a:lnSpc>
                <a:spcPct val="70000"/>
              </a:lnSpc>
            </a:pPr>
            <a:r>
              <a:rPr lang="it-IT"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visione dell’anno 2024 &amp; prospettive per il 2025</a:t>
            </a:r>
            <a:r>
              <a:rPr lang="it-IT"/>
              <a:t> (Dicembre 2024)</a:t>
            </a:r>
            <a:endParaRPr lang="en-US"/>
          </a:p>
          <a:p>
            <a:pPr algn="r">
              <a:lnSpc>
                <a:spcPct val="70000"/>
              </a:lnSpc>
            </a:pPr>
            <a:r>
              <a:rPr lang="en-US"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ow investors make digital assets part of their </a:t>
            </a:r>
            <a:r>
              <a:rPr lang="en-US" err="1"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ves|EY</a:t>
            </a:r>
            <a:r>
              <a:rPr lang="en-US"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en-US"/>
              <a:t> (</a:t>
            </a:r>
            <a:r>
              <a:rPr lang="en-US" err="1"/>
              <a:t>Luglio</a:t>
            </a:r>
            <a:r>
              <a:rPr lang="en-US"/>
              <a:t> 2024)   </a:t>
            </a:r>
            <a:r>
              <a:rPr lang="en-US"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verview | Visa </a:t>
            </a:r>
            <a:r>
              <a:rPr lang="en-US" err="1"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nchain</a:t>
            </a:r>
            <a:r>
              <a:rPr lang="en-US"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Analytics Dashboard</a:t>
            </a:r>
            <a:r>
              <a:rPr lang="en-US"/>
              <a:t> (Ottobre 2025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253E026-0309-76C4-2271-6BAFB41DCF63}"/>
              </a:ext>
            </a:extLst>
          </p:cNvPr>
          <p:cNvSpPr txBox="1"/>
          <p:nvPr/>
        </p:nvSpPr>
        <p:spPr>
          <a:xfrm>
            <a:off x="9938370" y="3541219"/>
            <a:ext cx="1216195" cy="40011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lvl="0" algn="ctr">
              <a:defRPr/>
            </a:pPr>
            <a:r>
              <a:rPr lang="it-IT" sz="2000" b="1">
                <a:solidFill>
                  <a:schemeClr val="tx2"/>
                </a:solidFill>
              </a:rPr>
              <a:t>127%</a:t>
            </a:r>
            <a:endParaRPr kumimoji="0" lang="it-IT" sz="2000" b="1" i="1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83AACA1-9E74-9DEE-3D00-CB4A6A8E6909}"/>
              </a:ext>
            </a:extLst>
          </p:cNvPr>
          <p:cNvSpPr txBox="1"/>
          <p:nvPr/>
        </p:nvSpPr>
        <p:spPr>
          <a:xfrm>
            <a:off x="9938219" y="4513745"/>
            <a:ext cx="1216497" cy="40011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lvl="0" algn="ctr">
              <a:defRPr/>
            </a:pPr>
            <a:r>
              <a:rPr lang="it-IT" sz="2000" b="1">
                <a:solidFill>
                  <a:schemeClr val="tx2"/>
                </a:solidFill>
              </a:rPr>
              <a:t>72%</a:t>
            </a:r>
            <a:endParaRPr kumimoji="0" lang="it-IT" sz="2000" b="1" i="1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66E29DE-7252-B945-68BD-F78E8A03445C}"/>
              </a:ext>
            </a:extLst>
          </p:cNvPr>
          <p:cNvSpPr txBox="1"/>
          <p:nvPr/>
        </p:nvSpPr>
        <p:spPr>
          <a:xfrm>
            <a:off x="9312244" y="5700801"/>
            <a:ext cx="240155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it-IT" sz="1100" i="1"/>
              <a:t>volume di transazioni di </a:t>
            </a:r>
            <a:r>
              <a:rPr lang="it-IT" sz="1100" i="1" err="1"/>
              <a:t>Stablecoin</a:t>
            </a:r>
            <a:r>
              <a:rPr lang="it-IT" sz="1100" i="1"/>
              <a:t> negli ultimi 12 mesi</a:t>
            </a:r>
            <a:endParaRPr kumimoji="0" lang="it-IT" sz="1100" b="0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CA41C4B-38D9-A012-5EBC-1B45429ACA48}"/>
              </a:ext>
            </a:extLst>
          </p:cNvPr>
          <p:cNvSpPr txBox="1"/>
          <p:nvPr/>
        </p:nvSpPr>
        <p:spPr>
          <a:xfrm>
            <a:off x="9736873" y="5410299"/>
            <a:ext cx="1619189" cy="40011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lvl="0" algn="ctr">
              <a:defRPr/>
            </a:pPr>
            <a:r>
              <a:rPr lang="it-IT" sz="2000" b="1">
                <a:solidFill>
                  <a:schemeClr val="tx2"/>
                </a:solidFill>
              </a:rPr>
              <a:t>$9.9Tn</a:t>
            </a:r>
            <a:endParaRPr kumimoji="0" lang="it-IT" sz="2000" b="1" i="1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AF07E628-26E5-F6DE-15C6-40A57B6C824E}"/>
              </a:ext>
            </a:extLst>
          </p:cNvPr>
          <p:cNvGrpSpPr/>
          <p:nvPr/>
        </p:nvGrpSpPr>
        <p:grpSpPr>
          <a:xfrm>
            <a:off x="9333026" y="3867494"/>
            <a:ext cx="2359987" cy="600164"/>
            <a:chOff x="9377403" y="4002577"/>
            <a:chExt cx="2359987" cy="600164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4FCBCE55-629B-F8AC-36F6-0F4DA6D645D9}"/>
                </a:ext>
              </a:extLst>
            </p:cNvPr>
            <p:cNvSpPr txBox="1"/>
            <p:nvPr/>
          </p:nvSpPr>
          <p:spPr>
            <a:xfrm>
              <a:off x="9377403" y="4002577"/>
              <a:ext cx="2359987" cy="60016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>
                <a:defRPr/>
              </a:pPr>
              <a:r>
                <a:rPr lang="it-IT" sz="1100" i="1"/>
                <a:t>crescita della capitalizzazione delle criptovalute dal 2023 al 2024</a:t>
              </a:r>
              <a:endParaRPr kumimoji="0" lang="it-IT" sz="1100" b="0" i="1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85161728-5B01-9013-307A-ABB9E2CCEFFC}"/>
                </a:ext>
              </a:extLst>
            </p:cNvPr>
            <p:cNvSpPr txBox="1"/>
            <p:nvPr/>
          </p:nvSpPr>
          <p:spPr>
            <a:xfrm>
              <a:off x="10692272" y="4324232"/>
              <a:ext cx="236564" cy="18466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>
                <a:defRPr/>
              </a:pPr>
              <a:r>
                <a:rPr lang="it-IT" sz="600" i="1"/>
                <a:t>1</a:t>
              </a:r>
              <a:endParaRPr kumimoji="0" lang="it-IT" sz="600" b="0" i="1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3F100D2B-6E02-AEED-6F4C-44A2EE836BAA}"/>
              </a:ext>
            </a:extLst>
          </p:cNvPr>
          <p:cNvSpPr txBox="1"/>
          <p:nvPr/>
        </p:nvSpPr>
        <p:spPr>
          <a:xfrm>
            <a:off x="9106414" y="4830351"/>
            <a:ext cx="2813210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it-IT" sz="1100" i="1"/>
              <a:t>degli investitori in asset digitali li considera chiave per il proprio </a:t>
            </a:r>
          </a:p>
          <a:p>
            <a:pPr lvl="0" algn="ctr">
              <a:defRPr/>
            </a:pPr>
            <a:r>
              <a:rPr lang="it-IT" sz="1100" i="1"/>
              <a:t>portafoglio</a:t>
            </a:r>
            <a:endParaRPr kumimoji="0" lang="it-IT" sz="1100" b="0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8BC345E-E328-5DD4-3B7C-9FE833DA6B9A}"/>
              </a:ext>
            </a:extLst>
          </p:cNvPr>
          <p:cNvSpPr txBox="1"/>
          <p:nvPr/>
        </p:nvSpPr>
        <p:spPr>
          <a:xfrm>
            <a:off x="10722511" y="5137925"/>
            <a:ext cx="357498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it-IT" sz="600" i="1" kern="0">
                <a:solidFill>
                  <a:srgbClr val="FFFFFF"/>
                </a:solidFill>
                <a:latin typeface="EYInterstate Light"/>
              </a:rPr>
              <a:t>2</a:t>
            </a:r>
            <a:endParaRPr kumimoji="0" lang="it-IT" sz="600" b="0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B3AC05B-DB73-93DA-2DBA-48500E0CC0B5}"/>
              </a:ext>
            </a:extLst>
          </p:cNvPr>
          <p:cNvSpPr txBox="1"/>
          <p:nvPr/>
        </p:nvSpPr>
        <p:spPr>
          <a:xfrm>
            <a:off x="11090144" y="5862920"/>
            <a:ext cx="236564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600" i="1" kern="0">
                <a:solidFill>
                  <a:srgbClr val="FFFFFF"/>
                </a:solidFill>
                <a:latin typeface="EYInterstate Light"/>
              </a:rPr>
              <a:t>3</a:t>
            </a:r>
            <a:endParaRPr kumimoji="0" lang="it-IT" sz="600" b="0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17FFA8B-1D5C-1DD9-C0DE-50976087C345}"/>
              </a:ext>
            </a:extLst>
          </p:cNvPr>
          <p:cNvSpPr txBox="1"/>
          <p:nvPr/>
        </p:nvSpPr>
        <p:spPr>
          <a:xfrm>
            <a:off x="5107967" y="6629870"/>
            <a:ext cx="236564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kumimoji="0" lang="it-IT" sz="600" b="0" i="1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2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73EDCA3-3F01-A2D7-19C7-9BAA41C53EA8}"/>
              </a:ext>
            </a:extLst>
          </p:cNvPr>
          <p:cNvSpPr txBox="1"/>
          <p:nvPr/>
        </p:nvSpPr>
        <p:spPr>
          <a:xfrm>
            <a:off x="8405629" y="6631770"/>
            <a:ext cx="236564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600" i="1" kern="0">
                <a:solidFill>
                  <a:srgbClr val="FFFFFF"/>
                </a:solidFill>
                <a:latin typeface="EYInterstate Light"/>
              </a:rPr>
              <a:t>3</a:t>
            </a:r>
            <a:endParaRPr kumimoji="0" lang="it-IT" sz="600" b="0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7106A957-6FC0-DA8F-1993-6584B055B085}"/>
              </a:ext>
            </a:extLst>
          </p:cNvPr>
          <p:cNvCxnSpPr/>
          <p:nvPr/>
        </p:nvCxnSpPr>
        <p:spPr>
          <a:xfrm>
            <a:off x="9701995" y="4485419"/>
            <a:ext cx="1714500" cy="0"/>
          </a:xfrm>
          <a:prstGeom prst="line">
            <a:avLst/>
          </a:prstGeom>
          <a:ln w="3175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D4AB4C3F-8AB8-64A0-AEE8-41998391878F}"/>
              </a:ext>
            </a:extLst>
          </p:cNvPr>
          <p:cNvCxnSpPr/>
          <p:nvPr/>
        </p:nvCxnSpPr>
        <p:spPr>
          <a:xfrm>
            <a:off x="9701995" y="5406279"/>
            <a:ext cx="1714500" cy="0"/>
          </a:xfrm>
          <a:prstGeom prst="line">
            <a:avLst/>
          </a:prstGeom>
          <a:ln w="3175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D310F94E-5B78-4365-1E8E-50C915EF061D}"/>
              </a:ext>
            </a:extLst>
          </p:cNvPr>
          <p:cNvSpPr txBox="1"/>
          <p:nvPr/>
        </p:nvSpPr>
        <p:spPr>
          <a:xfrm>
            <a:off x="8051809" y="6538578"/>
            <a:ext cx="236564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it-IT" sz="600" i="1" kern="0">
                <a:solidFill>
                  <a:srgbClr val="FFFFFF"/>
                </a:solidFill>
                <a:latin typeface="EYInterstate Light"/>
              </a:rPr>
              <a:t>1</a:t>
            </a:r>
            <a:endParaRPr kumimoji="0" lang="it-IT" sz="600" b="0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03040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3071E33-7A88-4BFA-E910-2B14FFB8A7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5691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071E33-7A88-4BFA-E910-2B14FFB8A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1">
            <a:extLst>
              <a:ext uri="{FF2B5EF4-FFF2-40B4-BE49-F238E27FC236}">
                <a16:creationId xmlns:a16="http://schemas.microsoft.com/office/drawing/2014/main" id="{AF7BD8E3-0E37-3202-5F72-8C47A199F2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69888"/>
            <a:ext cx="11276986" cy="470898"/>
          </a:xfrm>
        </p:spPr>
        <p:txBody>
          <a:bodyPr vert="horz"/>
          <a:lstStyle/>
          <a:p>
            <a:pPr lvl="0">
              <a:defRPr/>
            </a:pPr>
            <a:r>
              <a:rPr lang="it-IT" sz="2400">
                <a:solidFill>
                  <a:srgbClr val="FFE600"/>
                </a:solidFill>
                <a:latin typeface="EYInterstate Light"/>
              </a:rPr>
              <a:t>Tra i principali trend di settore ci sono i digital asset che stanno trasformando i pagamenti evolvendo la moneta tradiziona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BC6D236-BE9F-2287-6BD7-99631780649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it-IT"/>
              <a:t>Le stablecoin e il futuro dei pagamenti digitali | Salone dei pagamenti | 30 ottobre 2025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91F0A71-E6C2-733A-5625-120239EE1C4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7</a:t>
            </a:fld>
            <a:endParaRPr lang="en-GB"/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8C5B1FF9-DE7F-4F05-AB76-F2BD7EAB7BF0}"/>
              </a:ext>
            </a:extLst>
          </p:cNvPr>
          <p:cNvCxnSpPr>
            <a:cxnSpLocks/>
          </p:cNvCxnSpPr>
          <p:nvPr/>
        </p:nvCxnSpPr>
        <p:spPr>
          <a:xfrm flipV="1">
            <a:off x="929829" y="2005756"/>
            <a:ext cx="2880" cy="3059208"/>
          </a:xfrm>
          <a:prstGeom prst="line">
            <a:avLst/>
          </a:prstGeom>
          <a:ln w="3175">
            <a:solidFill>
              <a:schemeClr val="tx1">
                <a:lumMod val="75000"/>
              </a:schemeClr>
            </a:solidFill>
            <a:prstDash val="lg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>
            <a:extLst>
              <a:ext uri="{FF2B5EF4-FFF2-40B4-BE49-F238E27FC236}">
                <a16:creationId xmlns:a16="http://schemas.microsoft.com/office/drawing/2014/main" id="{C547AE2D-B78A-7ECB-5E09-BA18AEC57ABE}"/>
              </a:ext>
            </a:extLst>
          </p:cNvPr>
          <p:cNvSpPr/>
          <p:nvPr/>
        </p:nvSpPr>
        <p:spPr>
          <a:xfrm>
            <a:off x="1458755" y="1001818"/>
            <a:ext cx="4209966" cy="1800000"/>
          </a:xfrm>
          <a:prstGeom prst="rect">
            <a:avLst/>
          </a:prstGeom>
          <a:noFill/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 anchorCtr="0"/>
          <a:lstStyle/>
          <a:p>
            <a:pPr marL="0" marR="0" lvl="0" indent="0" algn="l" defTabSz="913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CBDC - </a:t>
            </a:r>
            <a:r>
              <a:rPr kumimoji="0" lang="it-IT" sz="1400" b="1" i="1" u="none" strike="noStrike" kern="120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CENTRAL BANK DIGITAL ASSET</a:t>
            </a:r>
          </a:p>
          <a:p>
            <a:pPr marL="285750" marR="0" lvl="0" indent="-285750" algn="l" defTabSz="913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MONETA DIGITALE LEGALE</a:t>
            </a: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, </a:t>
            </a: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una </a:t>
            </a:r>
            <a: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valuta fiat </a:t>
            </a:r>
          </a:p>
          <a:p>
            <a:pPr marL="285750" marR="0" lvl="0" indent="-285750" algn="l" defTabSz="913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Emessa</a:t>
            </a: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e </a:t>
            </a:r>
            <a: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garantita</a:t>
            </a: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da una </a:t>
            </a:r>
            <a: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banca centrale</a:t>
            </a:r>
            <a:endParaRPr kumimoji="0" lang="it-IT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  <a:p>
            <a:pPr marL="285750" lvl="0" indent="-285750" defTabSz="913340"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Destinata a essere utilizzata da cittadini, aziende o istituzioni come </a:t>
            </a:r>
            <a: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mezzo di pagamento</a:t>
            </a: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, </a:t>
            </a: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unità di conto con lo stesso valore del denaro tradizionale e </a:t>
            </a:r>
            <a:r>
              <a:rPr lang="it-IT" sz="1000" b="1">
                <a:solidFill>
                  <a:schemeClr val="tx2"/>
                </a:solidFill>
              </a:rPr>
              <a:t>riserva</a:t>
            </a:r>
            <a:r>
              <a:rPr lang="it-IT" sz="1000">
                <a:solidFill>
                  <a:schemeClr val="tx2"/>
                </a:solidFill>
              </a:rPr>
              <a:t> </a:t>
            </a:r>
            <a:r>
              <a:rPr lang="it-IT" sz="1000" b="1">
                <a:solidFill>
                  <a:schemeClr val="tx2"/>
                </a:solidFill>
              </a:rPr>
              <a:t>di valore </a:t>
            </a:r>
            <a:r>
              <a:rPr lang="it-IT" sz="1000" b="1">
                <a:solidFill>
                  <a:schemeClr val="tx1"/>
                </a:solidFill>
              </a:rPr>
              <a:t>(solo istituzioni)</a:t>
            </a:r>
            <a:endParaRPr kumimoji="0" lang="en-US" sz="1000" b="0" i="1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08F5CBCA-1E27-3E73-1245-49C1869801E0}"/>
              </a:ext>
            </a:extLst>
          </p:cNvPr>
          <p:cNvGrpSpPr/>
          <p:nvPr/>
        </p:nvGrpSpPr>
        <p:grpSpPr>
          <a:xfrm>
            <a:off x="517269" y="1296000"/>
            <a:ext cx="828000" cy="828950"/>
            <a:chOff x="228507" y="1412750"/>
            <a:chExt cx="828000" cy="828950"/>
          </a:xfrm>
        </p:grpSpPr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F5F14E63-A856-2E60-9402-39131F881108}"/>
                </a:ext>
              </a:extLst>
            </p:cNvPr>
            <p:cNvSpPr/>
            <p:nvPr/>
          </p:nvSpPr>
          <p:spPr>
            <a:xfrm>
              <a:off x="228507" y="1412750"/>
              <a:ext cx="828000" cy="828950"/>
            </a:xfrm>
            <a:prstGeom prst="ellipse">
              <a:avLst/>
            </a:prstGeom>
            <a:solidFill>
              <a:schemeClr val="tx1"/>
            </a:solidFill>
            <a:ln w="57150" cap="rnd" cmpd="sng">
              <a:gradFill flip="none" rotWithShape="1">
                <a:gsLst>
                  <a:gs pos="0">
                    <a:srgbClr val="7030A0"/>
                  </a:gs>
                  <a:gs pos="35000">
                    <a:schemeClr val="accent4">
                      <a:lumMod val="40000"/>
                      <a:lumOff val="60000"/>
                    </a:schemeClr>
                  </a:gs>
                  <a:gs pos="100000">
                    <a:schemeClr val="tx2"/>
                  </a:gs>
                </a:gsLst>
                <a:lin ang="8100000" scaled="1"/>
                <a:tileRect/>
              </a:gra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pic>
          <p:nvPicPr>
            <p:cNvPr id="67" name="Graphic 66">
              <a:extLst>
                <a:ext uri="{FF2B5EF4-FFF2-40B4-BE49-F238E27FC236}">
                  <a16:creationId xmlns:a16="http://schemas.microsoft.com/office/drawing/2014/main" id="{38488941-DBB4-AD44-4651-BEE9D4040BC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87428" y="1553639"/>
              <a:ext cx="510159" cy="518669"/>
            </a:xfrm>
            <a:prstGeom prst="rect">
              <a:avLst/>
            </a:prstGeom>
            <a:effectLst/>
          </p:spPr>
        </p:pic>
      </p:grpSp>
      <p:sp>
        <p:nvSpPr>
          <p:cNvPr id="68" name="Rectangle 67">
            <a:extLst>
              <a:ext uri="{FF2B5EF4-FFF2-40B4-BE49-F238E27FC236}">
                <a16:creationId xmlns:a16="http://schemas.microsoft.com/office/drawing/2014/main" id="{C54CFDB2-B2D2-C2CF-FD4A-F698EBE72B9A}"/>
              </a:ext>
            </a:extLst>
          </p:cNvPr>
          <p:cNvSpPr/>
          <p:nvPr/>
        </p:nvSpPr>
        <p:spPr>
          <a:xfrm>
            <a:off x="1458651" y="4664664"/>
            <a:ext cx="4209966" cy="1800000"/>
          </a:xfrm>
          <a:prstGeom prst="rect">
            <a:avLst/>
          </a:prstGeom>
          <a:noFill/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6000" rtlCol="0" anchor="ctr" anchorCtr="0"/>
          <a:lstStyle/>
          <a:p>
            <a:pPr marL="0" marR="0" lvl="0" indent="0" algn="l" defTabSz="913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CRYPTO CURRANCY</a:t>
            </a:r>
            <a:endParaRPr kumimoji="0" lang="it-IT" sz="1400" b="1" i="1" u="none" strike="noStrike" kern="1200" cap="none" spc="0" normalizeH="0" baseline="0" noProof="0">
              <a:ln>
                <a:noFill/>
              </a:ln>
              <a:solidFill>
                <a:srgbClr val="FFE600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  <a:p>
            <a:pPr marL="285750" marR="0" lvl="0" indent="-285750" algn="l" defTabSz="913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E7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VALUTA DIGITALE </a:t>
            </a:r>
            <a: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decentralizzata</a:t>
            </a: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</a:t>
            </a:r>
          </a:p>
          <a:p>
            <a:pPr marL="285750" marR="0" lvl="0" indent="-285750" algn="l" defTabSz="913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E7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Non </a:t>
            </a:r>
            <a: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controllata</a:t>
            </a: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da un’autorità centrale, ma da una </a:t>
            </a:r>
            <a: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rete distribuita</a:t>
            </a:r>
          </a:p>
          <a:p>
            <a:pPr marL="285750" marR="0" lvl="0" indent="-285750" algn="l" defTabSz="913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E7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Con </a:t>
            </a:r>
            <a: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transazioni</a:t>
            </a: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dirette tra utenti, </a:t>
            </a:r>
            <a: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senza intermediari</a:t>
            </a:r>
          </a:p>
          <a:p>
            <a:pPr marL="285750" marR="0" lvl="0" indent="-285750" algn="l" defTabSz="913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E7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(Nella maggior parte dei casi) con </a:t>
            </a: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un'</a:t>
            </a:r>
            <a: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offerta massima definita </a:t>
            </a:r>
            <a:b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rgbClr val="27ACAA">
                    <a:lumMod val="60000"/>
                    <a:lumOff val="40000"/>
                  </a:srgbClr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</a:b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(controllo della creazione di nuove unità)</a:t>
            </a:r>
            <a:endParaRPr kumimoji="0" lang="en-US" sz="10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0AFF78BC-FC4B-9662-5E64-E5F41EA734B0}"/>
              </a:ext>
            </a:extLst>
          </p:cNvPr>
          <p:cNvGrpSpPr/>
          <p:nvPr/>
        </p:nvGrpSpPr>
        <p:grpSpPr>
          <a:xfrm>
            <a:off x="517269" y="4884924"/>
            <a:ext cx="828000" cy="828950"/>
            <a:chOff x="228507" y="5072843"/>
            <a:chExt cx="828000" cy="828950"/>
          </a:xfrm>
        </p:grpSpPr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97A21EBC-0A10-AE0C-D278-ADB93A38B3DB}"/>
                </a:ext>
              </a:extLst>
            </p:cNvPr>
            <p:cNvSpPr/>
            <p:nvPr/>
          </p:nvSpPr>
          <p:spPr>
            <a:xfrm>
              <a:off x="228507" y="5072843"/>
              <a:ext cx="828000" cy="828950"/>
            </a:xfrm>
            <a:prstGeom prst="ellipse">
              <a:avLst/>
            </a:prstGeom>
            <a:solidFill>
              <a:schemeClr val="tx1"/>
            </a:solidFill>
            <a:ln w="57150" cap="rnd" cmpd="sng">
              <a:gradFill flip="none" rotWithShape="1">
                <a:gsLst>
                  <a:gs pos="0">
                    <a:srgbClr val="7030A0"/>
                  </a:gs>
                  <a:gs pos="35000">
                    <a:schemeClr val="accent4">
                      <a:lumMod val="40000"/>
                      <a:lumOff val="60000"/>
                    </a:schemeClr>
                  </a:gs>
                  <a:gs pos="100000">
                    <a:schemeClr val="tx2"/>
                  </a:gs>
                </a:gsLst>
                <a:lin ang="8100000" scaled="1"/>
                <a:tileRect/>
              </a:gra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pic>
          <p:nvPicPr>
            <p:cNvPr id="69" name="Graphic 68">
              <a:extLst>
                <a:ext uri="{FF2B5EF4-FFF2-40B4-BE49-F238E27FC236}">
                  <a16:creationId xmlns:a16="http://schemas.microsoft.com/office/drawing/2014/main" id="{5FB42DB5-67B8-5B25-CD72-680DFDBEC38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12937" y="5127230"/>
              <a:ext cx="659141" cy="726292"/>
            </a:xfrm>
            <a:prstGeom prst="rect">
              <a:avLst/>
            </a:prstGeom>
          </p:spPr>
        </p:pic>
      </p:grpSp>
      <p:sp>
        <p:nvSpPr>
          <p:cNvPr id="70" name="Rectangle 69">
            <a:extLst>
              <a:ext uri="{FF2B5EF4-FFF2-40B4-BE49-F238E27FC236}">
                <a16:creationId xmlns:a16="http://schemas.microsoft.com/office/drawing/2014/main" id="{0D12AF00-6D69-6809-C6E4-23E9F67DD3CB}"/>
              </a:ext>
            </a:extLst>
          </p:cNvPr>
          <p:cNvSpPr/>
          <p:nvPr/>
        </p:nvSpPr>
        <p:spPr>
          <a:xfrm>
            <a:off x="1458652" y="2782541"/>
            <a:ext cx="4213792" cy="1800000"/>
          </a:xfrm>
          <a:prstGeom prst="rect">
            <a:avLst/>
          </a:prstGeom>
          <a:noFill/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 anchorCtr="0"/>
          <a:lstStyle/>
          <a:p>
            <a:pPr marL="0" marR="0" lvl="0" indent="0" algn="l" defTabSz="913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STABLECOIN</a:t>
            </a:r>
            <a:endParaRPr kumimoji="0" lang="it-IT" sz="1400" b="1" i="1" u="none" strike="noStrike" kern="1200" cap="none" spc="0" normalizeH="0" baseline="0" noProof="0">
              <a:ln>
                <a:noFill/>
              </a:ln>
              <a:solidFill>
                <a:srgbClr val="FFE600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  <a:p>
            <a:pPr marL="285750" marR="0" lvl="0" indent="-285750" algn="l" defTabSz="913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E7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VALUTA DIGITALE </a:t>
            </a:r>
            <a:r>
              <a:rPr kumimoji="0" lang="it-IT" sz="10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progettata per mantenere un valore stabile nel tempo</a:t>
            </a:r>
            <a: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, </a:t>
            </a: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ancorata</a:t>
            </a: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a una </a:t>
            </a:r>
            <a: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valuta fiat </a:t>
            </a: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(es. 1 USDC ≈ 1 USD), un </a:t>
            </a:r>
            <a:r>
              <a:rPr kumimoji="0" lang="it-IT" sz="10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bene</a:t>
            </a: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reale o un altro </a:t>
            </a:r>
            <a: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asset digitale </a:t>
            </a: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(es. </a:t>
            </a:r>
            <a:r>
              <a:rPr kumimoji="0" lang="it-IT" sz="10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Ethereum</a:t>
            </a: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)</a:t>
            </a:r>
          </a:p>
          <a:p>
            <a:pPr marL="285750" marR="0" lvl="0" indent="-285750" algn="l" defTabSz="913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E7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Emessa</a:t>
            </a: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e </a:t>
            </a:r>
            <a: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garantita</a:t>
            </a: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da </a:t>
            </a:r>
            <a: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società private</a:t>
            </a:r>
          </a:p>
          <a:p>
            <a:pPr marL="285750" marR="0" lvl="0" indent="-285750" algn="l" defTabSz="913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E7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Utilizzata per pagamenti, trasferimenti, </a:t>
            </a:r>
            <a:r>
              <a:rPr kumimoji="0" lang="it-IT" sz="10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DeFi</a:t>
            </a: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, copertura dal rischio</a:t>
            </a:r>
            <a:endParaRPr kumimoji="0" lang="en-US" sz="10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A23CEE7B-247B-20A0-AA7E-D5A15B2F0108}"/>
              </a:ext>
            </a:extLst>
          </p:cNvPr>
          <p:cNvGrpSpPr/>
          <p:nvPr/>
        </p:nvGrpSpPr>
        <p:grpSpPr>
          <a:xfrm>
            <a:off x="517269" y="3014525"/>
            <a:ext cx="828000" cy="828950"/>
            <a:chOff x="228507" y="3242797"/>
            <a:chExt cx="828000" cy="828950"/>
          </a:xfrm>
        </p:grpSpPr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503EF1DD-E73C-97FA-DD26-22DE25F1DD07}"/>
                </a:ext>
              </a:extLst>
            </p:cNvPr>
            <p:cNvSpPr/>
            <p:nvPr/>
          </p:nvSpPr>
          <p:spPr>
            <a:xfrm>
              <a:off x="228507" y="3242797"/>
              <a:ext cx="828000" cy="828950"/>
            </a:xfrm>
            <a:prstGeom prst="ellipse">
              <a:avLst/>
            </a:prstGeom>
            <a:solidFill>
              <a:schemeClr val="tx1"/>
            </a:solidFill>
            <a:ln w="57150" cap="rnd" cmpd="sng">
              <a:gradFill flip="none" rotWithShape="1">
                <a:gsLst>
                  <a:gs pos="0">
                    <a:srgbClr val="7030A0"/>
                  </a:gs>
                  <a:gs pos="35000">
                    <a:schemeClr val="accent4">
                      <a:lumMod val="40000"/>
                      <a:lumOff val="60000"/>
                    </a:schemeClr>
                  </a:gs>
                  <a:gs pos="100000">
                    <a:schemeClr val="tx2"/>
                  </a:gs>
                </a:gsLst>
                <a:lin ang="8100000" scaled="1"/>
                <a:tileRect/>
              </a:gra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pic>
          <p:nvPicPr>
            <p:cNvPr id="71" name="Graphic 70">
              <a:extLst>
                <a:ext uri="{FF2B5EF4-FFF2-40B4-BE49-F238E27FC236}">
                  <a16:creationId xmlns:a16="http://schemas.microsoft.com/office/drawing/2014/main" id="{FBE1B769-0E14-762F-5820-3B7B8C8B004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47745" y="3350788"/>
              <a:ext cx="389524" cy="599382"/>
            </a:xfrm>
            <a:prstGeom prst="rect">
              <a:avLst/>
            </a:prstGeom>
          </p:spPr>
        </p:pic>
      </p:grpSp>
      <p:sp>
        <p:nvSpPr>
          <p:cNvPr id="72" name="Footer Placeholder 4">
            <a:extLst>
              <a:ext uri="{FF2B5EF4-FFF2-40B4-BE49-F238E27FC236}">
                <a16:creationId xmlns:a16="http://schemas.microsoft.com/office/drawing/2014/main" id="{89B54D3B-5E3F-600F-0C6A-7A74E5EB283F}"/>
              </a:ext>
            </a:extLst>
          </p:cNvPr>
          <p:cNvSpPr txBox="1">
            <a:spLocks/>
          </p:cNvSpPr>
          <p:nvPr/>
        </p:nvSpPr>
        <p:spPr>
          <a:xfrm>
            <a:off x="1051325" y="6520888"/>
            <a:ext cx="4222633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lang="en-IN"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/>
              <a:t>Le stablecoin e il futuro dei pagamenti digitali | Salone dei pagamenti | 30 ottobre 2025</a:t>
            </a:r>
            <a:endParaRPr lang="en-US"/>
          </a:p>
        </p:txBody>
      </p:sp>
      <p:sp>
        <p:nvSpPr>
          <p:cNvPr id="73" name="Slide Number Placeholder 5">
            <a:extLst>
              <a:ext uri="{FF2B5EF4-FFF2-40B4-BE49-F238E27FC236}">
                <a16:creationId xmlns:a16="http://schemas.microsoft.com/office/drawing/2014/main" id="{E105780E-7D48-652F-FB2C-131939601C89}"/>
              </a:ext>
            </a:extLst>
          </p:cNvPr>
          <p:cNvSpPr txBox="1">
            <a:spLocks/>
          </p:cNvSpPr>
          <p:nvPr/>
        </p:nvSpPr>
        <p:spPr>
          <a:xfrm>
            <a:off x="485747" y="6520888"/>
            <a:ext cx="50909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lang="en-IN"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BC30E3-FFE5-4B91-AA19-87A149EBB9EE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75" name="Content Placeholder 6">
            <a:extLst>
              <a:ext uri="{FF2B5EF4-FFF2-40B4-BE49-F238E27FC236}">
                <a16:creationId xmlns:a16="http://schemas.microsoft.com/office/drawing/2014/main" id="{2E3FCC0E-2E1D-9C0A-3B4C-80AA52523D63}"/>
              </a:ext>
            </a:extLst>
          </p:cNvPr>
          <p:cNvSpPr txBox="1">
            <a:spLocks/>
          </p:cNvSpPr>
          <p:nvPr/>
        </p:nvSpPr>
        <p:spPr>
          <a:xfrm>
            <a:off x="6724005" y="1452628"/>
            <a:ext cx="1971590" cy="109888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it-IT" sz="3200" b="1" i="0" u="none" strike="noStrike" kern="120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$9,9 Tn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600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it-IT" sz="10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Volumi di transato in </a:t>
            </a:r>
            <a:r>
              <a:rPr kumimoji="0" lang="it-IT" sz="1000" b="0" i="1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Stablecoin</a:t>
            </a:r>
            <a:r>
              <a:rPr kumimoji="0" lang="it-IT" sz="10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negli ultimi 12 mesi</a:t>
            </a:r>
            <a:endParaRPr kumimoji="0" lang="it-IT" sz="1000" b="0" i="1" u="none" strike="noStrike" kern="1200" cap="none" spc="0" normalizeH="0" baseline="30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76" name="Content Placeholder 6">
            <a:extLst>
              <a:ext uri="{FF2B5EF4-FFF2-40B4-BE49-F238E27FC236}">
                <a16:creationId xmlns:a16="http://schemas.microsoft.com/office/drawing/2014/main" id="{85128201-00F8-C991-7FEE-9B1B36BC721B}"/>
              </a:ext>
            </a:extLst>
          </p:cNvPr>
          <p:cNvSpPr txBox="1">
            <a:spLocks/>
          </p:cNvSpPr>
          <p:nvPr/>
        </p:nvSpPr>
        <p:spPr>
          <a:xfrm>
            <a:off x="9267928" y="1452628"/>
            <a:ext cx="1971590" cy="109888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it-IT" sz="3200" b="1" i="0" u="none" strike="noStrike" kern="120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&gt;50%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Clr>
                <a:srgbClr val="FFE600"/>
              </a:buClr>
              <a:buNone/>
              <a:defRPr/>
            </a:pPr>
            <a:r>
              <a:rPr lang="it-IT" sz="1000" i="1">
                <a:solidFill>
                  <a:srgbClr val="FFFFFF"/>
                </a:solidFill>
                <a:latin typeface="EYInterstate Light"/>
              </a:rPr>
              <a:t>Incremento volumi di </a:t>
            </a:r>
            <a:r>
              <a:rPr lang="it-IT" sz="1000" i="1" err="1">
                <a:solidFill>
                  <a:srgbClr val="FFFFFF"/>
                </a:solidFill>
                <a:latin typeface="EYInterstate Light"/>
              </a:rPr>
              <a:t>Stablecoin</a:t>
            </a:r>
            <a:r>
              <a:rPr lang="it-IT" sz="1000" i="1">
                <a:solidFill>
                  <a:srgbClr val="FFFFFF"/>
                </a:solidFill>
                <a:latin typeface="EYInterstate Light"/>
              </a:rPr>
              <a:t> </a:t>
            </a:r>
            <a:r>
              <a:rPr lang="it-IT" sz="1000" i="1" err="1">
                <a:solidFill>
                  <a:srgbClr val="FFFFFF"/>
                </a:solidFill>
                <a:latin typeface="EYInterstate Light"/>
              </a:rPr>
              <a:t>YoY</a:t>
            </a:r>
            <a:r>
              <a:rPr lang="it-IT" sz="1000" i="1">
                <a:solidFill>
                  <a:srgbClr val="FFFFFF"/>
                </a:solidFill>
                <a:latin typeface="EYInterstate Light"/>
              </a:rPr>
              <a:t> negli ultimi 12 mesi</a:t>
            </a:r>
          </a:p>
        </p:txBody>
      </p:sp>
      <p:sp>
        <p:nvSpPr>
          <p:cNvPr id="77" name="Content Placeholder 6">
            <a:extLst>
              <a:ext uri="{FF2B5EF4-FFF2-40B4-BE49-F238E27FC236}">
                <a16:creationId xmlns:a16="http://schemas.microsoft.com/office/drawing/2014/main" id="{5435E0D4-5E4D-0D98-9B6E-70D6E2A900BB}"/>
              </a:ext>
            </a:extLst>
          </p:cNvPr>
          <p:cNvSpPr txBox="1">
            <a:spLocks/>
          </p:cNvSpPr>
          <p:nvPr/>
        </p:nvSpPr>
        <p:spPr>
          <a:xfrm>
            <a:off x="6724005" y="2635572"/>
            <a:ext cx="1971590" cy="109888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lang="it-IT" sz="3200" b="1">
                <a:solidFill>
                  <a:srgbClr val="FFE600"/>
                </a:solidFill>
                <a:latin typeface="EYInterstate Light"/>
              </a:rPr>
              <a:t>2,0</a:t>
            </a:r>
            <a:r>
              <a:rPr kumimoji="0" lang="it-IT" sz="3200" b="1" i="0" u="none" strike="noStrike" kern="120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</a:t>
            </a:r>
            <a:r>
              <a:rPr lang="it-IT" sz="3200" b="1" err="1">
                <a:solidFill>
                  <a:srgbClr val="FFE600"/>
                </a:solidFill>
                <a:latin typeface="EYInterstate Light"/>
              </a:rPr>
              <a:t>Bln</a:t>
            </a:r>
            <a:r>
              <a:rPr kumimoji="0" lang="it-IT" sz="3200" b="1" i="0" u="none" strike="noStrike" kern="120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600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it-IT" sz="10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Totale Transazioni in </a:t>
            </a:r>
            <a:r>
              <a:rPr kumimoji="0" lang="it-IT" sz="1000" b="0" i="1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Stablecoin</a:t>
            </a:r>
            <a:r>
              <a:rPr kumimoji="0" lang="it-IT" sz="10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negli ultimi 12 mesi</a:t>
            </a:r>
            <a:endParaRPr kumimoji="0" lang="it-IT" sz="1000" b="0" i="1" u="none" strike="noStrike" kern="1200" cap="none" spc="0" normalizeH="0" baseline="30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78" name="Content Placeholder 6">
            <a:extLst>
              <a:ext uri="{FF2B5EF4-FFF2-40B4-BE49-F238E27FC236}">
                <a16:creationId xmlns:a16="http://schemas.microsoft.com/office/drawing/2014/main" id="{B3FDD4E2-99CC-C285-E9ED-E6AF9176552B}"/>
              </a:ext>
            </a:extLst>
          </p:cNvPr>
          <p:cNvSpPr txBox="1">
            <a:spLocks/>
          </p:cNvSpPr>
          <p:nvPr/>
        </p:nvSpPr>
        <p:spPr>
          <a:xfrm>
            <a:off x="9267928" y="2635572"/>
            <a:ext cx="2219222" cy="109888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it-IT" sz="3200" b="1" i="0" u="none" strike="noStrike" kern="120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$250+ </a:t>
            </a:r>
            <a:r>
              <a:rPr lang="it-IT" sz="3200" b="1" err="1">
                <a:solidFill>
                  <a:srgbClr val="FFE600"/>
                </a:solidFill>
                <a:latin typeface="EYInterstate Light"/>
              </a:rPr>
              <a:t>Bln</a:t>
            </a:r>
            <a:endParaRPr kumimoji="0" lang="it-IT" sz="3200" b="1" i="0" u="none" strike="noStrike" kern="1200" cap="none" spc="0" normalizeH="0" baseline="0" noProof="0">
              <a:ln>
                <a:noFill/>
              </a:ln>
              <a:solidFill>
                <a:srgbClr val="FFE600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Clr>
                <a:srgbClr val="FFE600"/>
              </a:buClr>
              <a:buNone/>
              <a:defRPr/>
            </a:pPr>
            <a:r>
              <a:rPr lang="it-IT" sz="1000" i="1">
                <a:solidFill>
                  <a:srgbClr val="FFFFFF"/>
                </a:solidFill>
                <a:latin typeface="EYInterstate Light"/>
              </a:rPr>
              <a:t>Totale Market Cap </a:t>
            </a:r>
            <a:r>
              <a:rPr lang="it-IT" sz="1000" i="1" err="1">
                <a:solidFill>
                  <a:srgbClr val="FFFFFF"/>
                </a:solidFill>
                <a:latin typeface="EYInterstate Light"/>
              </a:rPr>
              <a:t>Stablecoin</a:t>
            </a:r>
            <a:endParaRPr lang="it-IT" sz="1000" i="1">
              <a:solidFill>
                <a:srgbClr val="FFFFFF"/>
              </a:solidFill>
              <a:latin typeface="EYInterstate Light"/>
            </a:endParaRPr>
          </a:p>
        </p:txBody>
      </p: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1FF3BA79-DA19-693C-CA02-4C340175D3D6}"/>
              </a:ext>
            </a:extLst>
          </p:cNvPr>
          <p:cNvGrpSpPr/>
          <p:nvPr/>
        </p:nvGrpSpPr>
        <p:grpSpPr>
          <a:xfrm>
            <a:off x="6988165" y="4001494"/>
            <a:ext cx="3859503" cy="2155852"/>
            <a:chOff x="6724005" y="4001494"/>
            <a:chExt cx="3859503" cy="2155852"/>
          </a:xfrm>
        </p:grpSpPr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4B0388EA-9288-5C91-3A70-1D1B07D11156}"/>
                </a:ext>
              </a:extLst>
            </p:cNvPr>
            <p:cNvSpPr/>
            <p:nvPr/>
          </p:nvSpPr>
          <p:spPr>
            <a:xfrm>
              <a:off x="6724005" y="4311152"/>
              <a:ext cx="3859503" cy="1616289"/>
            </a:xfrm>
            <a:prstGeom prst="ellipse">
              <a:avLst/>
            </a:prstGeom>
            <a:noFill/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108000" tIns="108000" rIns="108000" bIns="108000" rtlCol="0" anchor="t" anchorCtr="0"/>
            <a:lstStyle/>
            <a:p>
              <a:pPr marL="252000" marR="0" indent="-252000" algn="l" defTabSz="91440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FFE600"/>
                </a:buClr>
                <a:buSzTx/>
                <a:buFont typeface="Wingdings" pitchFamily="2" charset="2"/>
                <a:buChar char="§"/>
                <a:tabLst/>
              </a:pPr>
              <a:endParaRPr kumimoji="0" lang="en-US" sz="2000" b="0" i="0" u="none" strike="noStrike" kern="0" cap="none" spc="0" normalizeH="0" baseline="0" noProof="0" err="1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D3ECDEA5-4929-D857-2FB1-A9A5B9CBA8DE}"/>
                </a:ext>
              </a:extLst>
            </p:cNvPr>
            <p:cNvGrpSpPr/>
            <p:nvPr/>
          </p:nvGrpSpPr>
          <p:grpSpPr>
            <a:xfrm>
              <a:off x="6773705" y="4399105"/>
              <a:ext cx="598094" cy="492333"/>
              <a:chOff x="6169296" y="5066463"/>
              <a:chExt cx="1290493" cy="969673"/>
            </a:xfrm>
          </p:grpSpPr>
          <p:grpSp>
            <p:nvGrpSpPr>
              <p:cNvPr id="108" name="Group 107">
                <a:extLst>
                  <a:ext uri="{FF2B5EF4-FFF2-40B4-BE49-F238E27FC236}">
                    <a16:creationId xmlns:a16="http://schemas.microsoft.com/office/drawing/2014/main" id="{D20229E4-2E0B-4DEC-1A67-AE6891689FC8}"/>
                  </a:ext>
                </a:extLst>
              </p:cNvPr>
              <p:cNvGrpSpPr/>
              <p:nvPr/>
            </p:nvGrpSpPr>
            <p:grpSpPr>
              <a:xfrm>
                <a:off x="6384935" y="5066463"/>
                <a:ext cx="961190" cy="961186"/>
                <a:chOff x="6808061" y="3251644"/>
                <a:chExt cx="1163040" cy="1163035"/>
              </a:xfrm>
            </p:grpSpPr>
            <p:sp>
              <p:nvSpPr>
                <p:cNvPr id="110" name="Rectangle 109">
                  <a:extLst>
                    <a:ext uri="{FF2B5EF4-FFF2-40B4-BE49-F238E27FC236}">
                      <a16:creationId xmlns:a16="http://schemas.microsoft.com/office/drawing/2014/main" id="{81465ADA-8B61-A80F-A5D0-ECA3CE5F619D}"/>
                    </a:ext>
                  </a:extLst>
                </p:cNvPr>
                <p:cNvSpPr/>
                <p:nvPr/>
              </p:nvSpPr>
              <p:spPr>
                <a:xfrm>
                  <a:off x="6808061" y="3251644"/>
                  <a:ext cx="1163035" cy="1163035"/>
                </a:xfrm>
                <a:prstGeom prst="rect">
                  <a:avLst/>
                </a:prstGeom>
                <a:blipFill dpi="0" rotWithShape="1">
                  <a:blip r:embed="rId11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a:blipFill>
                <a:ln w="12700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t" anchorCtr="0"/>
                <a:lstStyle/>
                <a:p>
                  <a:pPr marR="0" lvl="0" algn="l" defTabSz="914400" rtl="0" eaLnBrk="1" fontAlgn="auto" latinLnBrk="0" hangingPunct="1">
                    <a:lnSpc>
                      <a:spcPct val="90000"/>
                    </a:lnSpc>
                    <a:spcBef>
                      <a:spcPts val="400"/>
                    </a:spcBef>
                    <a:spcAft>
                      <a:spcPts val="400"/>
                    </a:spcAft>
                    <a:buClr>
                      <a:srgbClr val="FFE600"/>
                    </a:buClr>
                    <a:buSzTx/>
                    <a:tabLst/>
                    <a:defRPr/>
                  </a:pPr>
                  <a:endParaRPr kumimoji="0" lang="pl-PL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1A1A24"/>
                    </a:solidFill>
                    <a:effectLst/>
                    <a:uLnTx/>
                    <a:uFillTx/>
                    <a:latin typeface="EYInterstate Light"/>
                    <a:ea typeface="+mn-ea"/>
                    <a:cs typeface="+mn-cs"/>
                  </a:endParaRPr>
                </a:p>
              </p:txBody>
            </p:sp>
            <p:sp>
              <p:nvSpPr>
                <p:cNvPr id="111" name="Oval 110">
                  <a:extLst>
                    <a:ext uri="{FF2B5EF4-FFF2-40B4-BE49-F238E27FC236}">
                      <a16:creationId xmlns:a16="http://schemas.microsoft.com/office/drawing/2014/main" id="{E7925BA3-4446-6E32-0533-7EAD7AF44030}"/>
                    </a:ext>
                  </a:extLst>
                </p:cNvPr>
                <p:cNvSpPr/>
                <p:nvPr/>
              </p:nvSpPr>
              <p:spPr>
                <a:xfrm>
                  <a:off x="6808066" y="3251644"/>
                  <a:ext cx="1163035" cy="1163035"/>
                </a:xfrm>
                <a:prstGeom prst="ellipse">
                  <a:avLst/>
                </a:prstGeom>
                <a:solidFill>
                  <a:srgbClr val="1A1A24">
                    <a:alpha val="79000"/>
                  </a:srgbClr>
                </a:solidFill>
                <a:ln w="12700" cap="flat" cmpd="sng" algn="ctr">
                  <a:solidFill>
                    <a:srgbClr val="1C1C24"/>
                  </a:solidFill>
                  <a:prstDash val="solid"/>
                  <a:miter lim="800000"/>
                </a:ln>
                <a:effectLst/>
              </p:spPr>
              <p:txBody>
                <a:bodyPr lIns="108000" tIns="108000" rIns="108000" bIns="108000" rtlCol="0" anchor="t" anchorCtr="0"/>
                <a:lstStyle/>
                <a:p>
                  <a:pPr marL="252000" marR="0" lvl="0" indent="-252000" defTabSz="914400" eaLnBrk="1" fontAlgn="auto" latinLnBrk="0" hangingPunct="1">
                    <a:lnSpc>
                      <a:spcPct val="90000"/>
                    </a:lnSpc>
                    <a:spcBef>
                      <a:spcPts val="400"/>
                    </a:spcBef>
                    <a:spcAft>
                      <a:spcPts val="400"/>
                    </a:spcAft>
                    <a:buClr>
                      <a:srgbClr val="FFE600"/>
                    </a:buClr>
                    <a:buSzTx/>
                    <a:buFont typeface="Wingdings" pitchFamily="2" charset="2"/>
                    <a:buChar char="§"/>
                    <a:tabLst/>
                    <a:defRPr/>
                  </a:pPr>
                  <a:endParaRPr kumimoji="0" lang="en-US" sz="20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1A1A24"/>
                    </a:solidFill>
                    <a:effectLst/>
                    <a:uLnTx/>
                    <a:uFillTx/>
                    <a:latin typeface="EYInterstate Ligh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09" name="TextBox 108">
                <a:extLst>
                  <a:ext uri="{FF2B5EF4-FFF2-40B4-BE49-F238E27FC236}">
                    <a16:creationId xmlns:a16="http://schemas.microsoft.com/office/drawing/2014/main" id="{63EC2694-05BF-61EE-80A6-4BB2EF8C8E88}"/>
                  </a:ext>
                </a:extLst>
              </p:cNvPr>
              <p:cNvSpPr txBox="1"/>
              <p:nvPr/>
            </p:nvSpPr>
            <p:spPr>
              <a:xfrm>
                <a:off x="6169296" y="5636056"/>
                <a:ext cx="1290493" cy="400080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 anchor="t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400"/>
                  </a:spcBef>
                  <a:spcAft>
                    <a:spcPts val="400"/>
                  </a:spcAft>
                  <a:buClr>
                    <a:srgbClr val="FFE600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it-IT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FFE600"/>
                    </a:solidFill>
                    <a:effectLst/>
                    <a:uLnTx/>
                    <a:uFillTx/>
                    <a:latin typeface="EYInterstate Regular"/>
                    <a:ea typeface="+mn-ea"/>
                    <a:cs typeface="+mn-cs"/>
                  </a:rPr>
                  <a:t>USDT</a:t>
                </a:r>
                <a:endParaRPr kumimoji="0" lang="pl-PL" sz="1200" b="1" i="0" u="none" strike="noStrike" kern="1200" cap="none" spc="0" normalizeH="0" baseline="0" noProof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 Regular"/>
                  <a:ea typeface="+mn-ea"/>
                  <a:cs typeface="+mn-cs"/>
                </a:endParaRPr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3881B958-1537-B9A5-63E1-395323A03E4D}"/>
                </a:ext>
              </a:extLst>
            </p:cNvPr>
            <p:cNvGrpSpPr/>
            <p:nvPr/>
          </p:nvGrpSpPr>
          <p:grpSpPr>
            <a:xfrm>
              <a:off x="8405338" y="4001494"/>
              <a:ext cx="486860" cy="491359"/>
              <a:chOff x="5112074" y="5068380"/>
              <a:chExt cx="1050486" cy="967755"/>
            </a:xfrm>
          </p:grpSpPr>
          <p:grpSp>
            <p:nvGrpSpPr>
              <p:cNvPr id="104" name="Group 103">
                <a:extLst>
                  <a:ext uri="{FF2B5EF4-FFF2-40B4-BE49-F238E27FC236}">
                    <a16:creationId xmlns:a16="http://schemas.microsoft.com/office/drawing/2014/main" id="{8DA3E684-1FE1-265D-1F7D-F1B6AE332EBE}"/>
                  </a:ext>
                </a:extLst>
              </p:cNvPr>
              <p:cNvGrpSpPr/>
              <p:nvPr/>
            </p:nvGrpSpPr>
            <p:grpSpPr>
              <a:xfrm>
                <a:off x="5156724" y="5068380"/>
                <a:ext cx="961186" cy="961186"/>
                <a:chOff x="8722381" y="2533940"/>
                <a:chExt cx="1163035" cy="1163035"/>
              </a:xfrm>
            </p:grpSpPr>
            <p:pic>
              <p:nvPicPr>
                <p:cNvPr id="106" name="Picture 8">
                  <a:extLst>
                    <a:ext uri="{FF2B5EF4-FFF2-40B4-BE49-F238E27FC236}">
                      <a16:creationId xmlns:a16="http://schemas.microsoft.com/office/drawing/2014/main" id="{2CECAFF6-821E-EB03-2BF5-B589FDAD0963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722381" y="2533940"/>
                  <a:ext cx="1163035" cy="1163035"/>
                </a:xfrm>
                <a:prstGeom prst="ellipse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07" name="Oval 106">
                  <a:extLst>
                    <a:ext uri="{FF2B5EF4-FFF2-40B4-BE49-F238E27FC236}">
                      <a16:creationId xmlns:a16="http://schemas.microsoft.com/office/drawing/2014/main" id="{2A2D5A2A-824E-5710-4ECC-C3BDC84E682A}"/>
                    </a:ext>
                  </a:extLst>
                </p:cNvPr>
                <p:cNvSpPr/>
                <p:nvPr/>
              </p:nvSpPr>
              <p:spPr>
                <a:xfrm>
                  <a:off x="8722381" y="2533940"/>
                  <a:ext cx="1163035" cy="1163035"/>
                </a:xfrm>
                <a:prstGeom prst="ellipse">
                  <a:avLst/>
                </a:prstGeom>
                <a:solidFill>
                  <a:srgbClr val="1A1A24">
                    <a:alpha val="79000"/>
                  </a:srgbClr>
                </a:solidFill>
                <a:ln w="12700" cap="flat" cmpd="sng" algn="ctr">
                  <a:solidFill>
                    <a:srgbClr val="1C1C24"/>
                  </a:solidFill>
                  <a:prstDash val="solid"/>
                  <a:miter lim="800000"/>
                </a:ln>
                <a:effectLst/>
              </p:spPr>
              <p:txBody>
                <a:bodyPr lIns="108000" tIns="108000" rIns="108000" bIns="108000" rtlCol="0" anchor="t" anchorCtr="0"/>
                <a:lstStyle/>
                <a:p>
                  <a:pPr marL="252000" marR="0" lvl="0" indent="-252000" defTabSz="914400" eaLnBrk="1" fontAlgn="auto" latinLnBrk="0" hangingPunct="1">
                    <a:lnSpc>
                      <a:spcPct val="90000"/>
                    </a:lnSpc>
                    <a:spcBef>
                      <a:spcPts val="400"/>
                    </a:spcBef>
                    <a:spcAft>
                      <a:spcPts val="400"/>
                    </a:spcAft>
                    <a:buClr>
                      <a:srgbClr val="FFE600"/>
                    </a:buClr>
                    <a:buSzTx/>
                    <a:buFont typeface="Wingdings" pitchFamily="2" charset="2"/>
                    <a:buChar char="§"/>
                    <a:tabLst/>
                    <a:defRPr/>
                  </a:pPr>
                  <a:endParaRPr kumimoji="0" lang="en-US" sz="20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1A1A24"/>
                    </a:solidFill>
                    <a:effectLst/>
                    <a:uLnTx/>
                    <a:uFillTx/>
                    <a:latin typeface="EYInterstate Ligh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05" name="TextBox 104">
                <a:extLst>
                  <a:ext uri="{FF2B5EF4-FFF2-40B4-BE49-F238E27FC236}">
                    <a16:creationId xmlns:a16="http://schemas.microsoft.com/office/drawing/2014/main" id="{5A92EA90-3A1A-936B-71EA-60A1B0429524}"/>
                  </a:ext>
                </a:extLst>
              </p:cNvPr>
              <p:cNvSpPr txBox="1"/>
              <p:nvPr/>
            </p:nvSpPr>
            <p:spPr>
              <a:xfrm>
                <a:off x="5112074" y="5636055"/>
                <a:ext cx="1050486" cy="400080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 anchor="t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400"/>
                  </a:spcBef>
                  <a:spcAft>
                    <a:spcPts val="400"/>
                  </a:spcAft>
                  <a:buClr>
                    <a:srgbClr val="FFE600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it-IT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FFE600"/>
                    </a:solidFill>
                    <a:effectLst/>
                    <a:uLnTx/>
                    <a:uFillTx/>
                    <a:latin typeface="EYInterstate Regular"/>
                    <a:ea typeface="+mn-ea"/>
                    <a:cs typeface="+mn-cs"/>
                  </a:rPr>
                  <a:t>USDC</a:t>
                </a:r>
                <a:endParaRPr kumimoji="0" lang="pl-PL" sz="1200" b="1" i="0" u="none" strike="noStrike" kern="1200" cap="none" spc="0" normalizeH="0" baseline="0" noProof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 Regular"/>
                  <a:ea typeface="+mn-ea"/>
                  <a:cs typeface="+mn-cs"/>
                </a:endParaRPr>
              </a:p>
            </p:txBody>
          </p:sp>
        </p:grpSp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DBB9BD07-3DBE-4A78-3CCE-37DC11BFD8F5}"/>
                </a:ext>
              </a:extLst>
            </p:cNvPr>
            <p:cNvGrpSpPr/>
            <p:nvPr/>
          </p:nvGrpSpPr>
          <p:grpSpPr>
            <a:xfrm>
              <a:off x="9791504" y="4254506"/>
              <a:ext cx="591998" cy="492333"/>
              <a:chOff x="10639713" y="5066463"/>
              <a:chExt cx="1277340" cy="969673"/>
            </a:xfrm>
          </p:grpSpPr>
          <p:grpSp>
            <p:nvGrpSpPr>
              <p:cNvPr id="100" name="Group 99">
                <a:extLst>
                  <a:ext uri="{FF2B5EF4-FFF2-40B4-BE49-F238E27FC236}">
                    <a16:creationId xmlns:a16="http://schemas.microsoft.com/office/drawing/2014/main" id="{3A84248A-A4C7-B780-11DE-4B3ACA70D9DE}"/>
                  </a:ext>
                </a:extLst>
              </p:cNvPr>
              <p:cNvGrpSpPr/>
              <p:nvPr/>
            </p:nvGrpSpPr>
            <p:grpSpPr>
              <a:xfrm>
                <a:off x="10815893" y="5066463"/>
                <a:ext cx="961186" cy="961186"/>
                <a:chOff x="8638366" y="3826601"/>
                <a:chExt cx="1163035" cy="1163035"/>
              </a:xfrm>
            </p:grpSpPr>
            <p:pic>
              <p:nvPicPr>
                <p:cNvPr id="102" name="Picture 10">
                  <a:extLst>
                    <a:ext uri="{FF2B5EF4-FFF2-40B4-BE49-F238E27FC236}">
                      <a16:creationId xmlns:a16="http://schemas.microsoft.com/office/drawing/2014/main" id="{458177F6-706C-6A0B-0750-016CB2227137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638366" y="3826601"/>
                  <a:ext cx="1163035" cy="1163035"/>
                </a:xfrm>
                <a:prstGeom prst="ellipse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03" name="Oval 102">
                  <a:extLst>
                    <a:ext uri="{FF2B5EF4-FFF2-40B4-BE49-F238E27FC236}">
                      <a16:creationId xmlns:a16="http://schemas.microsoft.com/office/drawing/2014/main" id="{88535A47-13E6-A53F-AD62-DBF400A5AEB9}"/>
                    </a:ext>
                  </a:extLst>
                </p:cNvPr>
                <p:cNvSpPr/>
                <p:nvPr/>
              </p:nvSpPr>
              <p:spPr>
                <a:xfrm>
                  <a:off x="8638366" y="3826601"/>
                  <a:ext cx="1163035" cy="1163035"/>
                </a:xfrm>
                <a:prstGeom prst="ellipse">
                  <a:avLst/>
                </a:prstGeom>
                <a:solidFill>
                  <a:srgbClr val="1A1A24">
                    <a:alpha val="79000"/>
                  </a:srgbClr>
                </a:solidFill>
                <a:ln w="12700" cap="flat" cmpd="sng" algn="ctr">
                  <a:solidFill>
                    <a:srgbClr val="1C1C24"/>
                  </a:solidFill>
                  <a:prstDash val="solid"/>
                  <a:miter lim="800000"/>
                </a:ln>
                <a:effectLst/>
              </p:spPr>
              <p:txBody>
                <a:bodyPr lIns="108000" tIns="108000" rIns="108000" bIns="108000" rtlCol="0" anchor="t" anchorCtr="0"/>
                <a:lstStyle/>
                <a:p>
                  <a:pPr marL="252000" marR="0" lvl="0" indent="-252000" defTabSz="914400" eaLnBrk="1" fontAlgn="auto" latinLnBrk="0" hangingPunct="1">
                    <a:lnSpc>
                      <a:spcPct val="90000"/>
                    </a:lnSpc>
                    <a:spcBef>
                      <a:spcPts val="400"/>
                    </a:spcBef>
                    <a:spcAft>
                      <a:spcPts val="400"/>
                    </a:spcAft>
                    <a:buClr>
                      <a:srgbClr val="FFE600"/>
                    </a:buClr>
                    <a:buSzTx/>
                    <a:buFont typeface="Wingdings" pitchFamily="2" charset="2"/>
                    <a:buChar char="§"/>
                    <a:tabLst/>
                    <a:defRPr/>
                  </a:pPr>
                  <a:endParaRPr kumimoji="0" lang="en-US" sz="20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1A1A24"/>
                    </a:solidFill>
                    <a:effectLst/>
                    <a:uLnTx/>
                    <a:uFillTx/>
                    <a:latin typeface="EYInterstate Ligh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09544E85-BBE5-7B0A-D765-18EC09FC6AF9}"/>
                  </a:ext>
                </a:extLst>
              </p:cNvPr>
              <p:cNvSpPr txBox="1"/>
              <p:nvPr/>
            </p:nvSpPr>
            <p:spPr>
              <a:xfrm>
                <a:off x="10639713" y="5636056"/>
                <a:ext cx="1277340" cy="400080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 anchor="t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400"/>
                  </a:spcBef>
                  <a:spcAft>
                    <a:spcPts val="400"/>
                  </a:spcAft>
                  <a:buClr>
                    <a:srgbClr val="FFE600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it-IT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FFE600"/>
                    </a:solidFill>
                    <a:effectLst/>
                    <a:uLnTx/>
                    <a:uFillTx/>
                    <a:latin typeface="EYInterstate Regular"/>
                    <a:ea typeface="+mn-ea"/>
                    <a:cs typeface="+mn-cs"/>
                  </a:rPr>
                  <a:t>PYUSD</a:t>
                </a:r>
                <a:endParaRPr kumimoji="0" lang="pl-PL" sz="1200" b="1" i="0" u="none" strike="noStrike" kern="1200" cap="none" spc="0" normalizeH="0" baseline="0" noProof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 Regular"/>
                  <a:ea typeface="+mn-ea"/>
                  <a:cs typeface="+mn-cs"/>
                </a:endParaRPr>
              </a:p>
            </p:txBody>
          </p:sp>
        </p:grp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D936907D-A56A-549A-6CE9-C604E2AD1E5C}"/>
                </a:ext>
              </a:extLst>
            </p:cNvPr>
            <p:cNvGrpSpPr/>
            <p:nvPr/>
          </p:nvGrpSpPr>
          <p:grpSpPr>
            <a:xfrm>
              <a:off x="9844073" y="5457158"/>
              <a:ext cx="486860" cy="492333"/>
              <a:chOff x="9632636" y="5066463"/>
              <a:chExt cx="1050486" cy="969673"/>
            </a:xfrm>
          </p:grpSpPr>
          <p:grpSp>
            <p:nvGrpSpPr>
              <p:cNvPr id="96" name="Group 95">
                <a:extLst>
                  <a:ext uri="{FF2B5EF4-FFF2-40B4-BE49-F238E27FC236}">
                    <a16:creationId xmlns:a16="http://schemas.microsoft.com/office/drawing/2014/main" id="{7393F24C-90E9-4B48-D912-E23C982C88CF}"/>
                  </a:ext>
                </a:extLst>
              </p:cNvPr>
              <p:cNvGrpSpPr/>
              <p:nvPr/>
            </p:nvGrpSpPr>
            <p:grpSpPr>
              <a:xfrm>
                <a:off x="9677286" y="5066463"/>
                <a:ext cx="961186" cy="961186"/>
                <a:chOff x="10544456" y="3288338"/>
                <a:chExt cx="1163035" cy="1163035"/>
              </a:xfrm>
            </p:grpSpPr>
            <p:pic>
              <p:nvPicPr>
                <p:cNvPr id="98" name="Picture 12">
                  <a:extLst>
                    <a:ext uri="{FF2B5EF4-FFF2-40B4-BE49-F238E27FC236}">
                      <a16:creationId xmlns:a16="http://schemas.microsoft.com/office/drawing/2014/main" id="{FD45F5BE-95F7-B2E1-08E9-5BF657D3BA92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544456" y="3288338"/>
                  <a:ext cx="1163035" cy="1163035"/>
                </a:xfrm>
                <a:prstGeom prst="ellipse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99" name="Oval 98">
                  <a:extLst>
                    <a:ext uri="{FF2B5EF4-FFF2-40B4-BE49-F238E27FC236}">
                      <a16:creationId xmlns:a16="http://schemas.microsoft.com/office/drawing/2014/main" id="{F827526B-C302-462D-BE47-A5884C49814B}"/>
                    </a:ext>
                  </a:extLst>
                </p:cNvPr>
                <p:cNvSpPr/>
                <p:nvPr/>
              </p:nvSpPr>
              <p:spPr>
                <a:xfrm>
                  <a:off x="10544456" y="3288338"/>
                  <a:ext cx="1163035" cy="1163035"/>
                </a:xfrm>
                <a:prstGeom prst="ellipse">
                  <a:avLst/>
                </a:prstGeom>
                <a:solidFill>
                  <a:srgbClr val="1A1A24">
                    <a:alpha val="79000"/>
                  </a:srgbClr>
                </a:solidFill>
                <a:ln w="12700" cap="flat" cmpd="sng" algn="ctr">
                  <a:solidFill>
                    <a:srgbClr val="1C1C24"/>
                  </a:solidFill>
                  <a:prstDash val="solid"/>
                  <a:miter lim="800000"/>
                </a:ln>
                <a:effectLst/>
              </p:spPr>
              <p:txBody>
                <a:bodyPr lIns="108000" tIns="108000" rIns="108000" bIns="108000" rtlCol="0" anchor="t" anchorCtr="0"/>
                <a:lstStyle/>
                <a:p>
                  <a:pPr marL="252000" marR="0" lvl="0" indent="-252000" defTabSz="914400" eaLnBrk="1" fontAlgn="auto" latinLnBrk="0" hangingPunct="1">
                    <a:lnSpc>
                      <a:spcPct val="90000"/>
                    </a:lnSpc>
                    <a:spcBef>
                      <a:spcPts val="400"/>
                    </a:spcBef>
                    <a:spcAft>
                      <a:spcPts val="400"/>
                    </a:spcAft>
                    <a:buClr>
                      <a:srgbClr val="FFE600"/>
                    </a:buClr>
                    <a:buSzTx/>
                    <a:buFont typeface="Wingdings" pitchFamily="2" charset="2"/>
                    <a:buChar char="§"/>
                    <a:tabLst/>
                    <a:defRPr/>
                  </a:pPr>
                  <a:endParaRPr kumimoji="0" lang="en-US" sz="20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1A1A24"/>
                    </a:solidFill>
                    <a:effectLst/>
                    <a:uLnTx/>
                    <a:uFillTx/>
                    <a:latin typeface="EYInterstate Ligh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0356738A-0F03-B35F-3AA3-1F407AB8C656}"/>
                  </a:ext>
                </a:extLst>
              </p:cNvPr>
              <p:cNvSpPr txBox="1"/>
              <p:nvPr/>
            </p:nvSpPr>
            <p:spPr>
              <a:xfrm>
                <a:off x="9632636" y="5636056"/>
                <a:ext cx="1050486" cy="400080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 anchor="t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400"/>
                  </a:spcBef>
                  <a:spcAft>
                    <a:spcPts val="400"/>
                  </a:spcAft>
                  <a:buClr>
                    <a:srgbClr val="FFE600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it-IT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FFE600"/>
                    </a:solidFill>
                    <a:effectLst/>
                    <a:uLnTx/>
                    <a:uFillTx/>
                    <a:latin typeface="EYInterstate Regular"/>
                    <a:ea typeface="+mn-ea"/>
                    <a:cs typeface="+mn-cs"/>
                  </a:rPr>
                  <a:t>USDP</a:t>
                </a:r>
                <a:endParaRPr kumimoji="0" lang="pl-PL" sz="1200" b="1" i="0" u="none" strike="noStrike" kern="1200" cap="none" spc="0" normalizeH="0" baseline="0" noProof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 Regular"/>
                  <a:ea typeface="+mn-ea"/>
                  <a:cs typeface="+mn-cs"/>
                </a:endParaRPr>
              </a:p>
            </p:txBody>
          </p:sp>
        </p:grp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C3BB8229-3E9C-C38B-EAE2-D46731C79B40}"/>
                </a:ext>
              </a:extLst>
            </p:cNvPr>
            <p:cNvGrpSpPr/>
            <p:nvPr/>
          </p:nvGrpSpPr>
          <p:grpSpPr>
            <a:xfrm>
              <a:off x="6971688" y="5414125"/>
              <a:ext cx="598094" cy="492333"/>
              <a:chOff x="7334045" y="5066463"/>
              <a:chExt cx="1290493" cy="969673"/>
            </a:xfrm>
          </p:grpSpPr>
          <p:grpSp>
            <p:nvGrpSpPr>
              <p:cNvPr id="92" name="Group 91">
                <a:extLst>
                  <a:ext uri="{FF2B5EF4-FFF2-40B4-BE49-F238E27FC236}">
                    <a16:creationId xmlns:a16="http://schemas.microsoft.com/office/drawing/2014/main" id="{D4EC08A4-EEC4-E308-A14C-C701824ACC7C}"/>
                  </a:ext>
                </a:extLst>
              </p:cNvPr>
              <p:cNvGrpSpPr/>
              <p:nvPr/>
            </p:nvGrpSpPr>
            <p:grpSpPr>
              <a:xfrm>
                <a:off x="7549685" y="5066463"/>
                <a:ext cx="961186" cy="961186"/>
                <a:chOff x="7448761" y="4965539"/>
                <a:chExt cx="1163035" cy="1163035"/>
              </a:xfrm>
            </p:grpSpPr>
            <p:pic>
              <p:nvPicPr>
                <p:cNvPr id="94" name="Picture 16">
                  <a:extLst>
                    <a:ext uri="{FF2B5EF4-FFF2-40B4-BE49-F238E27FC236}">
                      <a16:creationId xmlns:a16="http://schemas.microsoft.com/office/drawing/2014/main" id="{FF10B227-BE70-1617-D722-C5C8E1F4D93B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448761" y="4965539"/>
                  <a:ext cx="1163035" cy="1163035"/>
                </a:xfrm>
                <a:prstGeom prst="ellipse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95" name="Oval 94">
                  <a:extLst>
                    <a:ext uri="{FF2B5EF4-FFF2-40B4-BE49-F238E27FC236}">
                      <a16:creationId xmlns:a16="http://schemas.microsoft.com/office/drawing/2014/main" id="{02458DBE-C0AF-9B3B-CFFF-DEF7302436E0}"/>
                    </a:ext>
                  </a:extLst>
                </p:cNvPr>
                <p:cNvSpPr/>
                <p:nvPr/>
              </p:nvSpPr>
              <p:spPr>
                <a:xfrm>
                  <a:off x="7448761" y="4965539"/>
                  <a:ext cx="1163035" cy="1163035"/>
                </a:xfrm>
                <a:prstGeom prst="ellipse">
                  <a:avLst/>
                </a:prstGeom>
                <a:solidFill>
                  <a:srgbClr val="1A1A24">
                    <a:alpha val="79000"/>
                  </a:srgbClr>
                </a:solidFill>
                <a:ln w="12700" cap="flat" cmpd="sng" algn="ctr">
                  <a:solidFill>
                    <a:srgbClr val="1C1C24"/>
                  </a:solidFill>
                  <a:prstDash val="solid"/>
                  <a:miter lim="800000"/>
                </a:ln>
                <a:effectLst/>
              </p:spPr>
              <p:txBody>
                <a:bodyPr lIns="108000" tIns="108000" rIns="108000" bIns="108000" rtlCol="0" anchor="t" anchorCtr="0"/>
                <a:lstStyle/>
                <a:p>
                  <a:pPr marL="252000" marR="0" lvl="0" indent="-252000" defTabSz="914400" eaLnBrk="1" fontAlgn="auto" latinLnBrk="0" hangingPunct="1">
                    <a:lnSpc>
                      <a:spcPct val="90000"/>
                    </a:lnSpc>
                    <a:spcBef>
                      <a:spcPts val="400"/>
                    </a:spcBef>
                    <a:spcAft>
                      <a:spcPts val="400"/>
                    </a:spcAft>
                    <a:buClr>
                      <a:srgbClr val="FFE600"/>
                    </a:buClr>
                    <a:buSzTx/>
                    <a:buFont typeface="Wingdings" pitchFamily="2" charset="2"/>
                    <a:buChar char="§"/>
                    <a:tabLst/>
                    <a:defRPr/>
                  </a:pPr>
                  <a:endParaRPr kumimoji="0" lang="en-US" sz="20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1A1A24"/>
                    </a:solidFill>
                    <a:effectLst/>
                    <a:uLnTx/>
                    <a:uFillTx/>
                    <a:latin typeface="EYInterstate Ligh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A282AF4B-DA35-A8E6-7DD2-2DEB19B0A903}"/>
                  </a:ext>
                </a:extLst>
              </p:cNvPr>
              <p:cNvSpPr txBox="1"/>
              <p:nvPr/>
            </p:nvSpPr>
            <p:spPr>
              <a:xfrm>
                <a:off x="7334045" y="5636056"/>
                <a:ext cx="1290493" cy="400080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 anchor="t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400"/>
                  </a:spcBef>
                  <a:spcAft>
                    <a:spcPts val="400"/>
                  </a:spcAft>
                  <a:buClr>
                    <a:srgbClr val="FFE600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it-IT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FFE600"/>
                    </a:solidFill>
                    <a:effectLst/>
                    <a:uLnTx/>
                    <a:uFillTx/>
                    <a:latin typeface="EYInterstate Regular"/>
                    <a:ea typeface="+mn-ea"/>
                    <a:cs typeface="+mn-cs"/>
                  </a:rPr>
                  <a:t>FDUSD</a:t>
                </a:r>
                <a:endParaRPr kumimoji="0" lang="pl-PL" sz="1200" b="1" i="0" u="none" strike="noStrike" kern="1200" cap="none" spc="0" normalizeH="0" baseline="0" noProof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 Regular"/>
                  <a:ea typeface="+mn-ea"/>
                  <a:cs typeface="+mn-cs"/>
                </a:endParaRPr>
              </a:p>
            </p:txBody>
          </p:sp>
        </p:grp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066400CD-ED8E-A6C2-3D64-AA67E4C82819}"/>
                </a:ext>
              </a:extLst>
            </p:cNvPr>
            <p:cNvGrpSpPr/>
            <p:nvPr/>
          </p:nvGrpSpPr>
          <p:grpSpPr>
            <a:xfrm>
              <a:off x="8353444" y="5632006"/>
              <a:ext cx="598094" cy="525340"/>
              <a:chOff x="8412757" y="5071554"/>
              <a:chExt cx="1290493" cy="1034682"/>
            </a:xfrm>
          </p:grpSpPr>
          <p:grpSp>
            <p:nvGrpSpPr>
              <p:cNvPr id="88" name="Group 87">
                <a:extLst>
                  <a:ext uri="{FF2B5EF4-FFF2-40B4-BE49-F238E27FC236}">
                    <a16:creationId xmlns:a16="http://schemas.microsoft.com/office/drawing/2014/main" id="{D1C2B664-CBF5-6F55-9B82-0DAD02CB05AC}"/>
                  </a:ext>
                </a:extLst>
              </p:cNvPr>
              <p:cNvGrpSpPr/>
              <p:nvPr/>
            </p:nvGrpSpPr>
            <p:grpSpPr>
              <a:xfrm>
                <a:off x="8628397" y="5071554"/>
                <a:ext cx="961186" cy="961186"/>
                <a:chOff x="10038127" y="5004565"/>
                <a:chExt cx="1163035" cy="1163035"/>
              </a:xfrm>
            </p:grpSpPr>
            <p:pic>
              <p:nvPicPr>
                <p:cNvPr id="90" name="Picture 18" descr="Global Dollar Network | Brand Resources">
                  <a:extLst>
                    <a:ext uri="{FF2B5EF4-FFF2-40B4-BE49-F238E27FC236}">
                      <a16:creationId xmlns:a16="http://schemas.microsoft.com/office/drawing/2014/main" id="{A5897400-D63D-4D71-66E2-1C56B3F298D4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t="7199" r="73465" b="10756"/>
                <a:stretch>
                  <a:fillRect/>
                </a:stretch>
              </p:blipFill>
              <p:spPr bwMode="auto">
                <a:xfrm>
                  <a:off x="10038127" y="5004565"/>
                  <a:ext cx="1163035" cy="1163035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91" name="Oval 90">
                  <a:extLst>
                    <a:ext uri="{FF2B5EF4-FFF2-40B4-BE49-F238E27FC236}">
                      <a16:creationId xmlns:a16="http://schemas.microsoft.com/office/drawing/2014/main" id="{3D8E713F-9CED-16FD-725A-7A6F4DC15072}"/>
                    </a:ext>
                  </a:extLst>
                </p:cNvPr>
                <p:cNvSpPr/>
                <p:nvPr/>
              </p:nvSpPr>
              <p:spPr>
                <a:xfrm>
                  <a:off x="10038127" y="5004565"/>
                  <a:ext cx="1163035" cy="1163035"/>
                </a:xfrm>
                <a:prstGeom prst="ellipse">
                  <a:avLst/>
                </a:prstGeom>
                <a:solidFill>
                  <a:srgbClr val="1A1A24">
                    <a:alpha val="79000"/>
                  </a:srgbClr>
                </a:solidFill>
                <a:ln w="12700" cap="flat" cmpd="sng" algn="ctr">
                  <a:solidFill>
                    <a:srgbClr val="1C1C24"/>
                  </a:solidFill>
                  <a:prstDash val="solid"/>
                  <a:miter lim="800000"/>
                </a:ln>
                <a:effectLst/>
              </p:spPr>
              <p:txBody>
                <a:bodyPr lIns="108000" tIns="108000" rIns="108000" bIns="108000" rtlCol="0" anchor="t" anchorCtr="0"/>
                <a:lstStyle/>
                <a:p>
                  <a:pPr marL="252000" marR="0" lvl="0" indent="-252000" defTabSz="914400" eaLnBrk="1" fontAlgn="auto" latinLnBrk="0" hangingPunct="1">
                    <a:lnSpc>
                      <a:spcPct val="90000"/>
                    </a:lnSpc>
                    <a:spcBef>
                      <a:spcPts val="400"/>
                    </a:spcBef>
                    <a:spcAft>
                      <a:spcPts val="400"/>
                    </a:spcAft>
                    <a:buClr>
                      <a:srgbClr val="FFE600"/>
                    </a:buClr>
                    <a:buSzTx/>
                    <a:buFont typeface="Wingdings" pitchFamily="2" charset="2"/>
                    <a:buChar char="§"/>
                    <a:tabLst/>
                    <a:defRPr/>
                  </a:pPr>
                  <a:endParaRPr kumimoji="0" lang="en-US" sz="20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1A1A24"/>
                    </a:solidFill>
                    <a:effectLst/>
                    <a:uLnTx/>
                    <a:uFillTx/>
                    <a:latin typeface="EYInterstate Ligh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2D9BFE16-052B-F3BF-2C4D-18C1C51C90F5}"/>
                  </a:ext>
                </a:extLst>
              </p:cNvPr>
              <p:cNvSpPr txBox="1"/>
              <p:nvPr/>
            </p:nvSpPr>
            <p:spPr>
              <a:xfrm>
                <a:off x="8412757" y="5706156"/>
                <a:ext cx="1290493" cy="400080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 anchor="t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400"/>
                  </a:spcBef>
                  <a:spcAft>
                    <a:spcPts val="400"/>
                  </a:spcAft>
                  <a:buClr>
                    <a:srgbClr val="FFE600"/>
                  </a:buClr>
                  <a:buSzPct val="100000"/>
                  <a:buFontTx/>
                  <a:buNone/>
                  <a:tabLst/>
                  <a:defRPr/>
                </a:pPr>
                <a:r>
                  <a:rPr lang="it-IT" sz="1200" b="1">
                    <a:solidFill>
                      <a:srgbClr val="FFE600"/>
                    </a:solidFill>
                    <a:latin typeface="EYInterstate Regular"/>
                  </a:rPr>
                  <a:t>USDGD</a:t>
                </a:r>
                <a:endParaRPr kumimoji="0" lang="pl-PL" sz="1200" b="1" i="0" u="none" strike="noStrike" kern="1200" cap="none" spc="0" normalizeH="0" baseline="0" noProof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 Regular"/>
                  <a:ea typeface="+mn-ea"/>
                  <a:cs typeface="+mn-cs"/>
                </a:endParaRPr>
              </a:p>
            </p:txBody>
          </p:sp>
        </p:grp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6D91CD73-C546-42A6-349F-CD9E0C7B0E07}"/>
                </a:ext>
              </a:extLst>
            </p:cNvPr>
            <p:cNvSpPr>
              <a:spLocks/>
            </p:cNvSpPr>
            <p:nvPr/>
          </p:nvSpPr>
          <p:spPr>
            <a:xfrm>
              <a:off x="7942653" y="4769243"/>
              <a:ext cx="1481983" cy="63612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 anchorCtr="0"/>
            <a:lstStyle/>
            <a:p>
              <a:pPr lvl="0" algn="ctr" defTabSz="913943"/>
              <a:r>
                <a:rPr kumimoji="0" lang="it-IT" sz="14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MAJOR STABLECOIN</a:t>
              </a:r>
              <a:endParaRPr kumimoji="0" lang="en-IN" sz="1400" b="1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963154CA-474C-5B0B-2443-CF7142748DEC}"/>
              </a:ext>
            </a:extLst>
          </p:cNvPr>
          <p:cNvSpPr txBox="1">
            <a:spLocks/>
          </p:cNvSpPr>
          <p:nvPr/>
        </p:nvSpPr>
        <p:spPr>
          <a:xfrm>
            <a:off x="3886200" y="6520888"/>
            <a:ext cx="7495141" cy="8925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lang="en-IN"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70000"/>
              </a:lnSpc>
            </a:pPr>
            <a:r>
              <a:rPr lang="en-US"/>
              <a:t>Fonte: </a:t>
            </a:r>
            <a:r>
              <a:rPr lang="en-US"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verview | Visa </a:t>
            </a:r>
            <a:r>
              <a:rPr lang="en-US" err="1"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nchain</a:t>
            </a:r>
            <a:r>
              <a:rPr lang="en-US"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Analytics Dashboard</a:t>
            </a:r>
            <a:r>
              <a:rPr lang="en-US"/>
              <a:t> (Ottobre 2025)</a:t>
            </a:r>
          </a:p>
        </p:txBody>
      </p:sp>
    </p:spTree>
    <p:extLst>
      <p:ext uri="{BB962C8B-B14F-4D97-AF65-F5344CB8AC3E}">
        <p14:creationId xmlns:p14="http://schemas.microsoft.com/office/powerpoint/2010/main" val="27563369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FA7F6F-E3D7-35F8-04F0-0387BCA97A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6BB4BF5-806F-5BE6-4585-4F7DA42CDC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4878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BB4BF5-806F-5BE6-4585-4F7DA42CDC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07DF4F-9CC9-EC20-CC40-0C713B4294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3053616"/>
            <a:ext cx="10536452" cy="2869882"/>
          </a:xfrm>
        </p:spPr>
        <p:txBody>
          <a:bodyPr vert="horz"/>
          <a:lstStyle/>
          <a:p>
            <a:r>
              <a:rPr lang="it-IT">
                <a:solidFill>
                  <a:schemeClr val="tx2"/>
                </a:solidFill>
              </a:rPr>
              <a:t>STABLECOIN </a:t>
            </a:r>
            <a:br>
              <a:rPr lang="it-IT">
                <a:solidFill>
                  <a:schemeClr val="tx2"/>
                </a:solidFill>
              </a:rPr>
            </a:br>
            <a:r>
              <a:rPr lang="it-IT">
                <a:solidFill>
                  <a:schemeClr val="tx2"/>
                </a:solidFill>
              </a:rPr>
              <a:t>IN FOCUS:</a:t>
            </a:r>
            <a:br>
              <a:rPr lang="it-IT">
                <a:solidFill>
                  <a:schemeClr val="tx2"/>
                </a:solidFill>
              </a:rPr>
            </a:br>
            <a:r>
              <a:rPr lang="it-IT" sz="3600"/>
              <a:t>orientarsi nel nuovo panorama </a:t>
            </a:r>
            <a:br>
              <a:rPr lang="it-IT" sz="3600"/>
            </a:br>
            <a:r>
              <a:rPr lang="it-IT" sz="3600"/>
              <a:t>finanziario digitale</a:t>
            </a:r>
            <a:br>
              <a:rPr lang="it-IT" sz="3600"/>
            </a:br>
            <a:r>
              <a:rPr lang="it-IT" sz="2800" b="0" i="1"/>
              <a:t>(ricerca EY)</a:t>
            </a:r>
            <a:br>
              <a:rPr lang="it-IT"/>
            </a:br>
            <a:endParaRPr lang="it-I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C2A497-DD16-3C41-23C4-E1284F3EB1B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it-IT">
                <a:solidFill>
                  <a:schemeClr val="tx1">
                    <a:alpha val="50000"/>
                  </a:schemeClr>
                </a:solidFill>
              </a:rPr>
              <a:t>02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946BD83-7865-1C6E-5C95-EB634402FDD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485747" y="6520888"/>
            <a:ext cx="509098" cy="123111"/>
          </a:xfrm>
        </p:spPr>
        <p:txBody>
          <a:bodyPr/>
          <a:lstStyle/>
          <a:p>
            <a:fld id="{F1BC30E3-FFE5-4B91-AA19-87A149EBB9EE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765CDCCC-7413-ABF2-8A0F-B300B1B9525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051325" y="6520888"/>
            <a:ext cx="4222633" cy="123111"/>
          </a:xfrm>
        </p:spPr>
        <p:txBody>
          <a:bodyPr/>
          <a:lstStyle/>
          <a:p>
            <a:r>
              <a:rPr lang="it-IT"/>
              <a:t>Le </a:t>
            </a:r>
            <a:r>
              <a:rPr lang="it-IT" err="1"/>
              <a:t>stablecoin</a:t>
            </a:r>
            <a:r>
              <a:rPr lang="it-IT"/>
              <a:t> e il futuro dei pagamenti digitali | Salone dei pagamenti | 30 ottobre 2025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69460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AE287E-583C-EFF2-3D19-302F74D6CD4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it-IT"/>
              <a:t>Le stablecoin e il futuro dei pagamenti digitali | Salone dei pagamenti | 30 ottobre 2025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A02D79-BF61-3F18-D2E5-C8666A43184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9</a:t>
            </a:fld>
            <a:endParaRPr lang="en-GB"/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DCA0B042-C0B9-4D29-EF7F-2C99A39A411F}"/>
              </a:ext>
            </a:extLst>
          </p:cNvPr>
          <p:cNvSpPr txBox="1">
            <a:spLocks/>
          </p:cNvSpPr>
          <p:nvPr/>
        </p:nvSpPr>
        <p:spPr>
          <a:xfrm>
            <a:off x="485523" y="369888"/>
            <a:ext cx="11584558" cy="45147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600" b="1" i="0" kern="1200">
                <a:solidFill>
                  <a:schemeClr val="tx2"/>
                </a:solidFill>
                <a:latin typeface="EYInterstate Regular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it-IT" sz="2400">
                <a:latin typeface="+mn-lt"/>
              </a:rPr>
              <a:t>La ricerca volta a rilevare come le </a:t>
            </a:r>
            <a:r>
              <a:rPr lang="it-IT" sz="2400" err="1">
                <a:latin typeface="+mn-lt"/>
              </a:rPr>
              <a:t>stablecoin</a:t>
            </a:r>
            <a:r>
              <a:rPr lang="it-IT" sz="2400">
                <a:latin typeface="+mn-lt"/>
              </a:rPr>
              <a:t> sono percepite, ha coinvolto 350 intervistati tra Corporate (#250) e Financial Institution (#100)</a:t>
            </a:r>
          </a:p>
        </p:txBody>
      </p:sp>
      <p:sp>
        <p:nvSpPr>
          <p:cNvPr id="183" name="Arrow: Right 17">
            <a:extLst>
              <a:ext uri="{FF2B5EF4-FFF2-40B4-BE49-F238E27FC236}">
                <a16:creationId xmlns:a16="http://schemas.microsoft.com/office/drawing/2014/main" id="{C48254EB-C975-9821-F8C5-25C2BFCFCB09}"/>
              </a:ext>
            </a:extLst>
          </p:cNvPr>
          <p:cNvSpPr/>
          <p:nvPr/>
        </p:nvSpPr>
        <p:spPr>
          <a:xfrm>
            <a:off x="5443539" y="2496241"/>
            <a:ext cx="984249" cy="2891129"/>
          </a:xfrm>
          <a:prstGeom prst="rightArrow">
            <a:avLst>
              <a:gd name="adj1" fmla="val 68157"/>
              <a:gd name="adj2" fmla="val 72944"/>
            </a:avLst>
          </a:prstGeom>
          <a:solidFill>
            <a:schemeClr val="tx1">
              <a:alpha val="21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ctr" anchorCtr="0"/>
          <a:lstStyle/>
          <a:p>
            <a:pPr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</a:pPr>
            <a:endParaRPr lang="it-IT" b="1" kern="0"/>
          </a:p>
        </p:txBody>
      </p:sp>
      <p:sp>
        <p:nvSpPr>
          <p:cNvPr id="184" name="Rounded Rectangle 42">
            <a:extLst>
              <a:ext uri="{FF2B5EF4-FFF2-40B4-BE49-F238E27FC236}">
                <a16:creationId xmlns:a16="http://schemas.microsoft.com/office/drawing/2014/main" id="{25F70D30-86E6-AD05-B04E-A4D721484705}"/>
              </a:ext>
            </a:extLst>
          </p:cNvPr>
          <p:cNvSpPr/>
          <p:nvPr/>
        </p:nvSpPr>
        <p:spPr>
          <a:xfrm>
            <a:off x="496819" y="1692876"/>
            <a:ext cx="4940154" cy="4497859"/>
          </a:xfrm>
          <a:prstGeom prst="roundRect">
            <a:avLst>
              <a:gd name="adj" fmla="val 0"/>
            </a:avLst>
          </a:prstGeom>
          <a:solidFill>
            <a:srgbClr val="000700"/>
          </a:solidFill>
          <a:ln w="12700" cap="flat" cmpd="sng" algn="ctr">
            <a:solidFill>
              <a:schemeClr val="tx1">
                <a:lumMod val="9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t" anchorCtr="0"/>
          <a:lstStyle/>
          <a:p>
            <a:pPr lvl="1">
              <a:lnSpc>
                <a:spcPct val="90000"/>
              </a:lnSpc>
              <a:spcBef>
                <a:spcPts val="400"/>
              </a:spcBef>
              <a:spcAft>
                <a:spcPts val="600"/>
              </a:spcAft>
              <a:buClr>
                <a:srgbClr val="FFE600"/>
              </a:buClr>
            </a:pPr>
            <a:r>
              <a:rPr kumimoji="0" lang="it-IT" sz="14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COSA ABBIAMO FATTO</a:t>
            </a:r>
          </a:p>
          <a:p>
            <a:pPr>
              <a:lnSpc>
                <a:spcPct val="90000"/>
              </a:lnSpc>
              <a:spcAft>
                <a:spcPts val="1200"/>
              </a:spcAft>
              <a:buClr>
                <a:srgbClr val="FFE600"/>
              </a:buClr>
            </a:pPr>
            <a:r>
              <a:rPr lang="it-IT" sz="1200"/>
              <a:t>Per comprendere meglio come </a:t>
            </a:r>
            <a:r>
              <a:rPr lang="it-IT" sz="1200">
                <a:solidFill>
                  <a:schemeClr val="tx2"/>
                </a:solidFill>
              </a:rPr>
              <a:t>Corporate e Financial Institution percepiscono le </a:t>
            </a:r>
            <a:r>
              <a:rPr lang="it-IT" sz="1200" err="1">
                <a:solidFill>
                  <a:schemeClr val="tx2"/>
                </a:solidFill>
              </a:rPr>
              <a:t>stablecoin</a:t>
            </a:r>
            <a:r>
              <a:rPr lang="it-IT" sz="1200">
                <a:solidFill>
                  <a:schemeClr val="tx2"/>
                </a:solidFill>
              </a:rPr>
              <a:t> </a:t>
            </a:r>
            <a:r>
              <a:rPr lang="it-IT" sz="1200"/>
              <a:t>— includendo lo stato attuale dei pagamenti, i casi d’uso, i benefici e le sfide attese, i piani di implementazione e le proposte di valore per i clienti — il team </a:t>
            </a:r>
            <a:r>
              <a:rPr lang="it-IT" sz="1200">
                <a:solidFill>
                  <a:schemeClr val="tx2"/>
                </a:solidFill>
              </a:rPr>
              <a:t>EY ha condotto un sondaggio su 350 intervistati</a:t>
            </a:r>
            <a:br>
              <a:rPr lang="it-IT" sz="1200">
                <a:solidFill>
                  <a:schemeClr val="tx2"/>
                </a:solidFill>
              </a:rPr>
            </a:br>
            <a:endParaRPr lang="it-IT" sz="1200">
              <a:solidFill>
                <a:schemeClr val="tx2"/>
              </a:solidFill>
            </a:endParaRPr>
          </a:p>
          <a:p>
            <a:pPr lvl="1">
              <a:lnSpc>
                <a:spcPct val="90000"/>
              </a:lnSpc>
              <a:spcAft>
                <a:spcPts val="600"/>
              </a:spcAft>
              <a:buClr>
                <a:srgbClr val="FFE600"/>
              </a:buClr>
            </a:pPr>
            <a:r>
              <a:rPr lang="it-IT" sz="1400" b="1" kern="0">
                <a:solidFill>
                  <a:schemeClr val="tx2"/>
                </a:solidFill>
              </a:rPr>
              <a:t>QUANDO</a:t>
            </a:r>
          </a:p>
          <a:p>
            <a:pPr>
              <a:lnSpc>
                <a:spcPct val="90000"/>
              </a:lnSpc>
              <a:spcAft>
                <a:spcPts val="600"/>
              </a:spcAft>
              <a:buClr>
                <a:srgbClr val="FFE600"/>
              </a:buClr>
            </a:pPr>
            <a:r>
              <a:rPr lang="it-IT" sz="1200"/>
              <a:t>Il sondaggio si è svolto dal </a:t>
            </a:r>
            <a:r>
              <a:rPr lang="it-IT" sz="1200" b="1">
                <a:solidFill>
                  <a:schemeClr val="tx2"/>
                </a:solidFill>
              </a:rPr>
              <a:t>10 al 24 giugno 2025</a:t>
            </a:r>
            <a:r>
              <a:rPr lang="it-IT" sz="1200"/>
              <a:t>, </a:t>
            </a:r>
            <a:r>
              <a:rPr lang="it-IT" sz="1200" b="1">
                <a:solidFill>
                  <a:schemeClr val="tx2"/>
                </a:solidFill>
              </a:rPr>
              <a:t>dopo l’approvazione del GENIUS Act </a:t>
            </a:r>
            <a:r>
              <a:rPr lang="it-IT" sz="1200"/>
              <a:t>da parte del Senato USA (17 giugno 2025)</a:t>
            </a:r>
          </a:p>
          <a:p>
            <a:pPr>
              <a:lnSpc>
                <a:spcPct val="90000"/>
              </a:lnSpc>
              <a:spcAft>
                <a:spcPts val="600"/>
              </a:spcAft>
              <a:buClr>
                <a:srgbClr val="FFE600"/>
              </a:buClr>
            </a:pPr>
            <a:endParaRPr lang="it-IT" sz="1000"/>
          </a:p>
          <a:p>
            <a:pPr lvl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</a:pPr>
            <a:r>
              <a:rPr kumimoji="0" lang="it-IT" sz="14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PARTECIPANTI</a:t>
            </a:r>
            <a:endParaRPr lang="it-IT" sz="1400" b="1" kern="0">
              <a:solidFill>
                <a:schemeClr val="tx2"/>
              </a:solidFill>
            </a:endParaRPr>
          </a:p>
          <a:p>
            <a:pPr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</a:pPr>
            <a:endParaRPr kumimoji="0" lang="it-IT" sz="1400" b="1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834225E3-E91C-3AAE-7999-F969B9904D0F}"/>
              </a:ext>
            </a:extLst>
          </p:cNvPr>
          <p:cNvSpPr txBox="1"/>
          <p:nvPr/>
        </p:nvSpPr>
        <p:spPr>
          <a:xfrm>
            <a:off x="1108760" y="1261830"/>
            <a:ext cx="3716272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it-IT" b="1"/>
              <a:t>OBIETTIVO E METODOLOGIA</a:t>
            </a: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FF8E14C2-AEF4-8BCF-9A69-02A722897E4B}"/>
              </a:ext>
            </a:extLst>
          </p:cNvPr>
          <p:cNvSpPr/>
          <p:nvPr/>
        </p:nvSpPr>
        <p:spPr>
          <a:xfrm>
            <a:off x="644979" y="4530852"/>
            <a:ext cx="1505097" cy="1513661"/>
          </a:xfrm>
          <a:prstGeom prst="rect">
            <a:avLst/>
          </a:prstGeom>
          <a:solidFill>
            <a:schemeClr val="tx1">
              <a:alpha val="21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108000" rIns="0" bIns="0" rtlCol="0" anchor="t" anchorCtr="0"/>
          <a:lstStyle/>
          <a:p>
            <a:pPr algn="ctr">
              <a:lnSpc>
                <a:spcPct val="90000"/>
              </a:lnSpc>
              <a:spcAft>
                <a:spcPts val="200"/>
              </a:spcAft>
              <a:buClr>
                <a:srgbClr val="FFE600"/>
              </a:buClr>
            </a:pPr>
            <a:r>
              <a:rPr lang="it-IT" sz="1100" b="1" kern="0">
                <a:solidFill>
                  <a:schemeClr val="tx2"/>
                </a:solidFill>
              </a:rPr>
              <a:t>AUDIENCE</a:t>
            </a:r>
          </a:p>
          <a:p>
            <a:pPr lvl="1">
              <a:lnSpc>
                <a:spcPct val="150000"/>
              </a:lnSpc>
              <a:buClr>
                <a:srgbClr val="FFE600"/>
              </a:buClr>
            </a:pPr>
            <a:r>
              <a:rPr lang="it-IT" sz="1000" b="1" kern="0"/>
              <a:t>CFO</a:t>
            </a:r>
          </a:p>
          <a:p>
            <a:pPr lvl="1">
              <a:lnSpc>
                <a:spcPct val="150000"/>
              </a:lnSpc>
              <a:buClr>
                <a:srgbClr val="FFE600"/>
              </a:buClr>
            </a:pPr>
            <a:r>
              <a:rPr lang="it-IT" sz="1000" b="1" kern="0"/>
              <a:t>CTO</a:t>
            </a:r>
          </a:p>
          <a:p>
            <a:pPr lvl="1">
              <a:lnSpc>
                <a:spcPct val="150000"/>
              </a:lnSpc>
              <a:buClr>
                <a:srgbClr val="FFE600"/>
              </a:buClr>
            </a:pPr>
            <a:r>
              <a:rPr lang="it-IT" sz="1000" b="1" kern="0"/>
              <a:t>CIO</a:t>
            </a:r>
          </a:p>
          <a:p>
            <a:pPr lvl="1">
              <a:lnSpc>
                <a:spcPct val="150000"/>
              </a:lnSpc>
              <a:buClr>
                <a:srgbClr val="FFE600"/>
              </a:buClr>
            </a:pPr>
            <a:endParaRPr lang="it-IT" sz="100" b="1" kern="0"/>
          </a:p>
          <a:p>
            <a:pPr lvl="1">
              <a:buClr>
                <a:srgbClr val="FFE600"/>
              </a:buClr>
            </a:pPr>
            <a:r>
              <a:rPr lang="it-IT" sz="1000" b="1" kern="0"/>
              <a:t>RESPONSABILI BLOCKCHAIN/</a:t>
            </a:r>
            <a:br>
              <a:rPr lang="it-IT" sz="1000" b="1" kern="0"/>
            </a:br>
            <a:r>
              <a:rPr lang="it-IT" sz="1000" b="1" kern="0"/>
              <a:t>DIGITAL ASSET</a:t>
            </a:r>
          </a:p>
          <a:p>
            <a:pPr marL="171450" indent="-17145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  <a:buFont typeface="Arial" panose="020B0604020202020204" pitchFamily="34" charset="0"/>
              <a:buChar char="•"/>
            </a:pPr>
            <a:endParaRPr lang="it-IT" sz="1100" b="1" kern="0"/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89260871-D97D-0C5F-6144-3F8A5CB320AC}"/>
              </a:ext>
            </a:extLst>
          </p:cNvPr>
          <p:cNvSpPr/>
          <p:nvPr/>
        </p:nvSpPr>
        <p:spPr>
          <a:xfrm>
            <a:off x="2238147" y="4530852"/>
            <a:ext cx="1444198" cy="1513661"/>
          </a:xfrm>
          <a:prstGeom prst="rect">
            <a:avLst/>
          </a:prstGeom>
          <a:solidFill>
            <a:schemeClr val="tx1">
              <a:alpha val="21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t" anchorCtr="0"/>
          <a:lstStyle/>
          <a:p>
            <a:pPr algn="ctr">
              <a:lnSpc>
                <a:spcPct val="90000"/>
              </a:lnSpc>
              <a:spcAft>
                <a:spcPts val="200"/>
              </a:spcAft>
              <a:buClr>
                <a:srgbClr val="FFE600"/>
              </a:buClr>
            </a:pPr>
            <a:r>
              <a:rPr lang="it-IT" sz="1100" b="1" kern="0">
                <a:solidFill>
                  <a:schemeClr val="tx2"/>
                </a:solidFill>
              </a:rPr>
              <a:t>CAMPIONE</a:t>
            </a:r>
          </a:p>
          <a:p>
            <a:pPr lvl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</a:pPr>
            <a:r>
              <a:rPr lang="it-IT" sz="1000" b="1" kern="0">
                <a:solidFill>
                  <a:schemeClr val="tx2"/>
                </a:solidFill>
              </a:rPr>
              <a:t>100</a:t>
            </a:r>
            <a:r>
              <a:rPr lang="it-IT" sz="1000" b="1" kern="0"/>
              <a:t> Financial Institution</a:t>
            </a:r>
          </a:p>
          <a:p>
            <a:pPr lvl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</a:pPr>
            <a:endParaRPr lang="it-IT" sz="100" b="1" kern="0">
              <a:solidFill>
                <a:schemeClr val="tx2"/>
              </a:solidFill>
            </a:endParaRPr>
          </a:p>
          <a:p>
            <a:pPr lvl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</a:pPr>
            <a:r>
              <a:rPr lang="it-IT" sz="1000" b="1" kern="0">
                <a:solidFill>
                  <a:schemeClr val="tx2"/>
                </a:solidFill>
              </a:rPr>
              <a:t>250</a:t>
            </a:r>
            <a:r>
              <a:rPr lang="it-IT" sz="1000" b="1" kern="0"/>
              <a:t> Corporate</a:t>
            </a: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F22A71AC-6834-BFAC-7309-A2364B1DE093}"/>
              </a:ext>
            </a:extLst>
          </p:cNvPr>
          <p:cNvSpPr/>
          <p:nvPr/>
        </p:nvSpPr>
        <p:spPr>
          <a:xfrm>
            <a:off x="3770413" y="4541738"/>
            <a:ext cx="1523901" cy="1513661"/>
          </a:xfrm>
          <a:prstGeom prst="rect">
            <a:avLst/>
          </a:prstGeom>
          <a:solidFill>
            <a:schemeClr val="tx1">
              <a:alpha val="21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t" anchorCtr="0"/>
          <a:lstStyle/>
          <a:p>
            <a:pPr algn="ctr">
              <a:lnSpc>
                <a:spcPct val="90000"/>
              </a:lnSpc>
              <a:spcAft>
                <a:spcPts val="200"/>
              </a:spcAft>
              <a:buClr>
                <a:srgbClr val="FFE600"/>
              </a:buClr>
            </a:pPr>
            <a:r>
              <a:rPr lang="it-IT" sz="1100" b="1" kern="0">
                <a:solidFill>
                  <a:schemeClr val="tx2"/>
                </a:solidFill>
              </a:rPr>
              <a:t>DISTRIBUZIONE</a:t>
            </a:r>
          </a:p>
        </p:txBody>
      </p:sp>
      <p:sp>
        <p:nvSpPr>
          <p:cNvPr id="189" name="Rounded Rectangle 42">
            <a:extLst>
              <a:ext uri="{FF2B5EF4-FFF2-40B4-BE49-F238E27FC236}">
                <a16:creationId xmlns:a16="http://schemas.microsoft.com/office/drawing/2014/main" id="{6BD7B437-A252-AE16-BB06-6E8CCFFE0605}"/>
              </a:ext>
            </a:extLst>
          </p:cNvPr>
          <p:cNvSpPr/>
          <p:nvPr/>
        </p:nvSpPr>
        <p:spPr>
          <a:xfrm>
            <a:off x="6427790" y="1692876"/>
            <a:ext cx="5480758" cy="4497859"/>
          </a:xfrm>
          <a:prstGeom prst="roundRect">
            <a:avLst>
              <a:gd name="adj" fmla="val 0"/>
            </a:avLst>
          </a:prstGeom>
          <a:solidFill>
            <a:srgbClr val="000700"/>
          </a:solidFill>
          <a:ln w="12700" cap="flat" cmpd="sng" algn="ctr">
            <a:solidFill>
              <a:schemeClr val="tx1">
                <a:lumMod val="9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t" anchorCtr="0"/>
          <a:lstStyle/>
          <a:p>
            <a:pPr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</a:pPr>
            <a:endParaRPr kumimoji="0" lang="it-IT" sz="1400" b="1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id="{0E12B359-BD1E-D8E9-805A-428DB9D1C059}"/>
              </a:ext>
            </a:extLst>
          </p:cNvPr>
          <p:cNvSpPr txBox="1"/>
          <p:nvPr/>
        </p:nvSpPr>
        <p:spPr>
          <a:xfrm>
            <a:off x="7310033" y="1261830"/>
            <a:ext cx="3716272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it-IT" b="1"/>
              <a:t>DETTAGLIO PARTECIPANTI</a:t>
            </a:r>
          </a:p>
        </p:txBody>
      </p:sp>
      <p:graphicFrame>
        <p:nvGraphicFramePr>
          <p:cNvPr id="191" name="Chart 190">
            <a:extLst>
              <a:ext uri="{FF2B5EF4-FFF2-40B4-BE49-F238E27FC236}">
                <a16:creationId xmlns:a16="http://schemas.microsoft.com/office/drawing/2014/main" id="{A6CE0B6D-2328-3DF1-C60D-E1D5A19FD30F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0457327"/>
              </p:ext>
            </p:extLst>
          </p:nvPr>
        </p:nvGraphicFramePr>
        <p:xfrm>
          <a:off x="10093325" y="2413000"/>
          <a:ext cx="1290638" cy="12906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6"/>
          </a:graphicData>
        </a:graphic>
      </p:graphicFrame>
      <p:sp>
        <p:nvSpPr>
          <p:cNvPr id="192" name="Text Placeholder 2">
            <a:extLst>
              <a:ext uri="{FF2B5EF4-FFF2-40B4-BE49-F238E27FC236}">
                <a16:creationId xmlns:a16="http://schemas.microsoft.com/office/drawing/2014/main" id="{ED3D591B-58D7-E7D2-D7C5-7FD5FD1C2B2B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10775156" y="2547937"/>
            <a:ext cx="269875" cy="212725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7A29F0-EE60-494A-8D6C-65E95564C726}" type="datetime'''''''''''''''''''''''8''''%'''''">
              <a:rPr lang="it-IT" altLang="en-US" sz="1400" b="1" smtClean="0">
                <a:solidFill>
                  <a:schemeClr val="tx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%</a:t>
            </a:fld>
            <a:endParaRPr lang="it-IT" sz="1400" b="1">
              <a:solidFill>
                <a:schemeClr val="tx1"/>
              </a:solidFill>
            </a:endParaRPr>
          </a:p>
        </p:txBody>
      </p:sp>
      <p:sp>
        <p:nvSpPr>
          <p:cNvPr id="193" name="Text Placeholder 2">
            <a:extLst>
              <a:ext uri="{FF2B5EF4-FFF2-40B4-BE49-F238E27FC236}">
                <a16:creationId xmlns:a16="http://schemas.microsoft.com/office/drawing/2014/main" id="{300172A1-4E45-A6DB-F3D2-915C2AAF6B1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0906125" y="2335213"/>
            <a:ext cx="9001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 b="1">
                <a:solidFill>
                  <a:srgbClr val="FFFFFF"/>
                </a:solidFill>
              </a:rPr>
              <a:t>$100M-$500M</a:t>
            </a:r>
            <a:endParaRPr lang="en-GB" sz="1000" b="1">
              <a:solidFill>
                <a:srgbClr val="FFFFFF"/>
              </a:solidFill>
            </a:endParaRPr>
          </a:p>
        </p:txBody>
      </p:sp>
      <p:sp>
        <p:nvSpPr>
          <p:cNvPr id="194" name="Text Placeholder 2">
            <a:extLst>
              <a:ext uri="{FF2B5EF4-FFF2-40B4-BE49-F238E27FC236}">
                <a16:creationId xmlns:a16="http://schemas.microsoft.com/office/drawing/2014/main" id="{FF92C493-8A4F-73E0-B393-72B4F748B1B0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0745788" y="2767013"/>
            <a:ext cx="379413" cy="212725"/>
          </a:xfrm>
          <a:prstGeom prst="rect">
            <a:avLst/>
          </a:prstGeom>
          <a:solidFill>
            <a:srgbClr val="C4C4CD"/>
          </a:solidFill>
          <a:ln>
            <a:noFill/>
          </a:ln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69797FE-D110-4997-91B5-0E2571588659}" type="datetime'1''''''''''''''''''''''''''''''''0%'''''''''''''''''''''''''''">
              <a:rPr lang="it-IT" altLang="en-US" sz="14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%</a:t>
            </a:fld>
            <a:endParaRPr lang="it-IT" sz="1400" b="1"/>
          </a:p>
        </p:txBody>
      </p:sp>
      <p:sp>
        <p:nvSpPr>
          <p:cNvPr id="195" name="Text Placeholder 2">
            <a:extLst>
              <a:ext uri="{FF2B5EF4-FFF2-40B4-BE49-F238E27FC236}">
                <a16:creationId xmlns:a16="http://schemas.microsoft.com/office/drawing/2014/main" id="{3BCB1323-37C7-7E5F-D576-C1F985AF574E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1179175" y="2501900"/>
            <a:ext cx="704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 b="1">
                <a:solidFill>
                  <a:srgbClr val="FFFFFF"/>
                </a:solidFill>
              </a:rPr>
              <a:t>$501M-$1B</a:t>
            </a:r>
            <a:endParaRPr lang="en-GB" sz="1000" b="1">
              <a:solidFill>
                <a:srgbClr val="FFFFFF"/>
              </a:solidFill>
            </a:endParaRPr>
          </a:p>
        </p:txBody>
      </p:sp>
      <p:sp>
        <p:nvSpPr>
          <p:cNvPr id="196" name="Text Placeholder 2">
            <a:extLst>
              <a:ext uri="{FF2B5EF4-FFF2-40B4-BE49-F238E27FC236}">
                <a16:creationId xmlns:a16="http://schemas.microsoft.com/office/drawing/2014/main" id="{FD4308EC-9A3B-F9AE-CDCD-327E8A67D5EB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0831513" y="3157538"/>
            <a:ext cx="379413" cy="2127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53A8C8-4E79-4417-84EC-6127A623D650}" type="datetime'''''''''''3''4''''''''''%'''''''''''''''''''''''''''''''''''">
              <a:rPr lang="it-IT" altLang="en-US" sz="14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%</a:t>
            </a:fld>
            <a:endParaRPr lang="it-IT" sz="1400" b="1"/>
          </a:p>
        </p:txBody>
      </p:sp>
      <p:sp>
        <p:nvSpPr>
          <p:cNvPr id="197" name="Text Placeholder 2">
            <a:extLst>
              <a:ext uri="{FF2B5EF4-FFF2-40B4-BE49-F238E27FC236}">
                <a16:creationId xmlns:a16="http://schemas.microsoft.com/office/drawing/2014/main" id="{32363EA9-2018-80FA-715C-64B61BE22373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1085513" y="3538538"/>
            <a:ext cx="5095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 b="1">
                <a:solidFill>
                  <a:srgbClr val="FFFFFF"/>
                </a:solidFill>
              </a:rPr>
              <a:t>$2B-$5B</a:t>
            </a:r>
            <a:endParaRPr lang="en-GB" sz="1000" b="1">
              <a:solidFill>
                <a:srgbClr val="FFFFFF"/>
              </a:solidFill>
            </a:endParaRPr>
          </a:p>
        </p:txBody>
      </p:sp>
      <p:sp>
        <p:nvSpPr>
          <p:cNvPr id="198" name="Text Placeholder 2">
            <a:extLst>
              <a:ext uri="{FF2B5EF4-FFF2-40B4-BE49-F238E27FC236}">
                <a16:creationId xmlns:a16="http://schemas.microsoft.com/office/drawing/2014/main" id="{842D55FD-A15E-E689-6380-FD1FAFCB126E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0372725" y="3271838"/>
            <a:ext cx="379413" cy="212725"/>
          </a:xfrm>
          <a:prstGeom prst="rect">
            <a:avLst/>
          </a:prstGeom>
          <a:solidFill>
            <a:srgbClr val="FFEFBA"/>
          </a:solidFill>
          <a:ln>
            <a:noFill/>
          </a:ln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94BABAF-CE8F-4DC4-9D98-5A601943DC41}" type="datetime'1''''''''''''''''''2''''%'''''">
              <a:rPr lang="it-IT" altLang="en-US" sz="14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%</a:t>
            </a:fld>
            <a:endParaRPr lang="it-IT" sz="1400" b="1"/>
          </a:p>
        </p:txBody>
      </p:sp>
      <p:sp>
        <p:nvSpPr>
          <p:cNvPr id="199" name="Text Placeholder 2">
            <a:extLst>
              <a:ext uri="{FF2B5EF4-FFF2-40B4-BE49-F238E27FC236}">
                <a16:creationId xmlns:a16="http://schemas.microsoft.com/office/drawing/2014/main" id="{162E1E3A-B15D-3434-B3DE-8B02F938C36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9963150" y="3621088"/>
            <a:ext cx="5889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 b="1">
                <a:solidFill>
                  <a:srgbClr val="FFFFFF"/>
                </a:solidFill>
              </a:rPr>
              <a:t>$6B-$10B</a:t>
            </a:r>
            <a:endParaRPr lang="en-GB" sz="1000" b="1">
              <a:solidFill>
                <a:srgbClr val="FFFFFF"/>
              </a:solidFill>
            </a:endParaRPr>
          </a:p>
        </p:txBody>
      </p:sp>
      <p:sp>
        <p:nvSpPr>
          <p:cNvPr id="200" name="Text Placeholder 2">
            <a:extLst>
              <a:ext uri="{FF2B5EF4-FFF2-40B4-BE49-F238E27FC236}">
                <a16:creationId xmlns:a16="http://schemas.microsoft.com/office/drawing/2014/main" id="{E1747962-C49D-904C-09D3-75B2B3A3D36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0185400" y="2916238"/>
            <a:ext cx="379413" cy="212725"/>
          </a:xfrm>
          <a:prstGeom prst="rect">
            <a:avLst/>
          </a:prstGeom>
          <a:solidFill>
            <a:srgbClr val="747480"/>
          </a:solidFill>
          <a:ln>
            <a:noFill/>
          </a:ln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17AD8D9-4E1C-4E2B-8947-5DAF61D7214F}" type="datetime'''''''''''''''''''''''2''''5''''''''%'''''''''''">
              <a:rPr lang="it-IT" altLang="en-US" sz="1400" b="1" smtClean="0">
                <a:solidFill>
                  <a:schemeClr val="tx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%</a:t>
            </a:fld>
            <a:endParaRPr lang="it-IT" sz="1400" b="1">
              <a:solidFill>
                <a:schemeClr val="tx1"/>
              </a:solidFill>
            </a:endParaRPr>
          </a:p>
        </p:txBody>
      </p:sp>
      <p:sp>
        <p:nvSpPr>
          <p:cNvPr id="201" name="Text Placeholder 2">
            <a:extLst>
              <a:ext uri="{FF2B5EF4-FFF2-40B4-BE49-F238E27FC236}">
                <a16:creationId xmlns:a16="http://schemas.microsoft.com/office/drawing/2014/main" id="{4C9B4C8B-BDB8-CAF5-84AA-499E8C63C7F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9458325" y="2894013"/>
            <a:ext cx="668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 b="1">
                <a:solidFill>
                  <a:srgbClr val="FFFFFF"/>
                </a:solidFill>
              </a:rPr>
              <a:t>$11B-$50B</a:t>
            </a:r>
            <a:endParaRPr lang="en-GB" sz="1000" b="1">
              <a:solidFill>
                <a:srgbClr val="FFFFFF"/>
              </a:solidFill>
            </a:endParaRPr>
          </a:p>
        </p:txBody>
      </p:sp>
      <p:sp>
        <p:nvSpPr>
          <p:cNvPr id="202" name="Text Placeholder 2">
            <a:extLst>
              <a:ext uri="{FF2B5EF4-FFF2-40B4-BE49-F238E27FC236}">
                <a16:creationId xmlns:a16="http://schemas.microsoft.com/office/drawing/2014/main" id="{605C68CA-0BA4-8D5C-B80F-054D0976C0F3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0280650" y="2566194"/>
            <a:ext cx="379413" cy="21272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2897E9-F509-4B18-B096-9D2D0CC52F4E}" type="datetime'''''''''''''''''11''''''''''''''''''''''''''''''''%'''''''">
              <a:rPr lang="it-IT" altLang="en-US" sz="14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%</a:t>
            </a:fld>
            <a:endParaRPr lang="it-IT" sz="1400" b="1"/>
          </a:p>
        </p:txBody>
      </p:sp>
      <p:sp>
        <p:nvSpPr>
          <p:cNvPr id="203" name="Text Placeholder 2">
            <a:extLst>
              <a:ext uri="{FF2B5EF4-FFF2-40B4-BE49-F238E27FC236}">
                <a16:creationId xmlns:a16="http://schemas.microsoft.com/office/drawing/2014/main" id="{5575721C-42BC-AF34-69BB-B43C7FE3BB8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977438" y="2441575"/>
            <a:ext cx="3905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 b="1">
                <a:solidFill>
                  <a:srgbClr val="FFFFFF"/>
                </a:solidFill>
              </a:rPr>
              <a:t>$51B+</a:t>
            </a:r>
            <a:endParaRPr lang="en-GB" sz="1000" b="1">
              <a:solidFill>
                <a:srgbClr val="FFFFFF"/>
              </a:solidFill>
            </a:endParaRPr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id="{1525C8E7-6209-8CDD-DD1C-012457B7B611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6746875" y="1817020"/>
            <a:ext cx="2032000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it-IT" sz="1200" b="1">
                <a:solidFill>
                  <a:schemeClr val="tx2"/>
                </a:solidFill>
              </a:rPr>
              <a:t>DISTRIBUZIONE GEOGRAFICA</a:t>
            </a:r>
            <a:endParaRPr lang="it-IT" sz="1200" b="1"/>
          </a:p>
        </p:txBody>
      </p:sp>
      <p:sp>
        <p:nvSpPr>
          <p:cNvPr id="205" name="TextBox 204">
            <a:extLst>
              <a:ext uri="{FF2B5EF4-FFF2-40B4-BE49-F238E27FC236}">
                <a16:creationId xmlns:a16="http://schemas.microsoft.com/office/drawing/2014/main" id="{3C3F5145-F22E-9E81-FEF1-FFB29A3F59B7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9673431" y="1817020"/>
            <a:ext cx="2032000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it-IT" sz="1200" b="1">
                <a:solidFill>
                  <a:schemeClr val="tx2"/>
                </a:solidFill>
              </a:rPr>
              <a:t>DIMENSIONE FATTURATO ($)</a:t>
            </a:r>
            <a:endParaRPr lang="it-IT" sz="1200" b="1"/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id="{24752E96-2DA4-3BE5-EB1B-2D0E7551D1EF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6746875" y="4016823"/>
            <a:ext cx="2032000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it-IT" sz="1200" b="1">
                <a:solidFill>
                  <a:schemeClr val="tx2"/>
                </a:solidFill>
              </a:rPr>
              <a:t>SETTORE </a:t>
            </a:r>
          </a:p>
          <a:p>
            <a:pPr algn="ctr"/>
            <a:r>
              <a:rPr lang="it-IT" sz="1200" b="1">
                <a:solidFill>
                  <a:schemeClr val="tx2"/>
                </a:solidFill>
              </a:rPr>
              <a:t>COPRORATE</a:t>
            </a:r>
            <a:endParaRPr lang="it-IT" sz="1200" b="1"/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E29C761F-93DF-B7B8-6093-7C7E856CE902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9674225" y="4016823"/>
            <a:ext cx="2032000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it-IT" sz="1200" b="1">
                <a:solidFill>
                  <a:schemeClr val="tx2"/>
                </a:solidFill>
              </a:rPr>
              <a:t>SETTORE FINANCIAL INSTITUTION</a:t>
            </a:r>
            <a:endParaRPr lang="it-IT" sz="1200" b="1"/>
          </a:p>
        </p:txBody>
      </p:sp>
      <p:graphicFrame>
        <p:nvGraphicFramePr>
          <p:cNvPr id="208" name="Chart 207">
            <a:extLst>
              <a:ext uri="{FF2B5EF4-FFF2-40B4-BE49-F238E27FC236}">
                <a16:creationId xmlns:a16="http://schemas.microsoft.com/office/drawing/2014/main" id="{7C26C20E-75E7-6A92-C5CD-345FF4245135}"/>
              </a:ext>
            </a:extLst>
          </p:cNvPr>
          <p:cNvGraphicFramePr/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577965299"/>
              </p:ext>
            </p:extLst>
          </p:nvPr>
        </p:nvGraphicFramePr>
        <p:xfrm>
          <a:off x="7183438" y="2413000"/>
          <a:ext cx="1290637" cy="12906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7"/>
          </a:graphicData>
        </a:graphic>
      </p:graphicFrame>
      <p:sp>
        <p:nvSpPr>
          <p:cNvPr id="209" name="Text Placeholder 2">
            <a:extLst>
              <a:ext uri="{FF2B5EF4-FFF2-40B4-BE49-F238E27FC236}">
                <a16:creationId xmlns:a16="http://schemas.microsoft.com/office/drawing/2014/main" id="{92D15A1F-1400-E9E3-19C6-601F16209A91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961313" y="3090863"/>
            <a:ext cx="379413" cy="212725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548F4E-7DB1-40E2-9E30-79E69CF2DAD1}" type="datetime'''''6''''''3%'''''''''''''''''''''''''''''''''''''''''''''">
              <a:rPr lang="it-IT" altLang="en-US" sz="1400" b="1" smtClean="0">
                <a:solidFill>
                  <a:schemeClr val="tx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%</a:t>
            </a:fld>
            <a:endParaRPr lang="it-IT" sz="1400" b="1">
              <a:solidFill>
                <a:schemeClr val="tx1"/>
              </a:solidFill>
            </a:endParaRPr>
          </a:p>
        </p:txBody>
      </p:sp>
      <p:sp>
        <p:nvSpPr>
          <p:cNvPr id="210" name="Text Placeholder 2">
            <a:extLst>
              <a:ext uri="{FF2B5EF4-FFF2-40B4-BE49-F238E27FC236}">
                <a16:creationId xmlns:a16="http://schemas.microsoft.com/office/drawing/2014/main" id="{D7FC55B9-1D81-D9B6-5A2B-913622EAE5C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947025" y="3638550"/>
            <a:ext cx="1682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92055FA-99E1-4A1D-AEC4-9ADDC84D1C87}" type="datetime'''''''''U''''S'''''''''''''''''''''''''''''''''''''">
              <a:rPr lang="en-GB" altLang="en-US" sz="1000" b="1" smtClean="0">
                <a:solidFill>
                  <a:srgbClr val="FFFFFF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US</a:t>
            </a:fld>
            <a:endParaRPr lang="en-GB" sz="1000" b="1">
              <a:solidFill>
                <a:srgbClr val="FFFFFF"/>
              </a:solidFill>
            </a:endParaRPr>
          </a:p>
        </p:txBody>
      </p:sp>
      <p:sp>
        <p:nvSpPr>
          <p:cNvPr id="211" name="Text Placeholder 2">
            <a:extLst>
              <a:ext uri="{FF2B5EF4-FFF2-40B4-BE49-F238E27FC236}">
                <a16:creationId xmlns:a16="http://schemas.microsoft.com/office/drawing/2014/main" id="{C072048B-286F-E3F8-7437-0939ECA2678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7405688" y="3221038"/>
            <a:ext cx="269875" cy="212725"/>
          </a:xfrm>
          <a:prstGeom prst="rect">
            <a:avLst/>
          </a:prstGeom>
          <a:solidFill>
            <a:srgbClr val="C4C4CD"/>
          </a:solidFill>
          <a:ln>
            <a:noFill/>
          </a:ln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E31C246-963D-4C67-9710-EBB8D77F88E9}" type="datetime'''0''''''''''%'''''''''''''''">
              <a:rPr lang="it-IT" altLang="en-US" sz="14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it-IT" sz="1400" b="1"/>
          </a:p>
        </p:txBody>
      </p:sp>
      <p:sp>
        <p:nvSpPr>
          <p:cNvPr id="212" name="Text Placeholder 2">
            <a:extLst>
              <a:ext uri="{FF2B5EF4-FFF2-40B4-BE49-F238E27FC236}">
                <a16:creationId xmlns:a16="http://schemas.microsoft.com/office/drawing/2014/main" id="{F705AD4B-B623-63B0-F0EC-AFBCACE7BDC1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811963" y="3459163"/>
            <a:ext cx="5715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5B007E4-6A66-4513-B409-AC1F9E6F61B5}" type="datetime'''''''''''''AMERI''''C''''''A&#10;LA''''''TI''''NA'''''' '">
              <a:rPr lang="en-GB" altLang="en-US" sz="1000" b="1" smtClean="0">
                <a:solidFill>
                  <a:srgbClr val="FFFFFF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AMERICA
LATINA </a:t>
            </a:fld>
            <a:endParaRPr lang="en-GB" sz="1000" b="1">
              <a:solidFill>
                <a:srgbClr val="FFFFFF"/>
              </a:solidFill>
            </a:endParaRPr>
          </a:p>
        </p:txBody>
      </p:sp>
      <p:sp>
        <p:nvSpPr>
          <p:cNvPr id="213" name="Text Placeholder 2">
            <a:extLst>
              <a:ext uri="{FF2B5EF4-FFF2-40B4-BE49-F238E27FC236}">
                <a16:creationId xmlns:a16="http://schemas.microsoft.com/office/drawing/2014/main" id="{2CE923F4-4F19-E77D-7EF1-51A8DEE69B20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7383463" y="3008313"/>
            <a:ext cx="379413" cy="2127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776A12-1C01-49A1-B26D-082BF87DF885}" type="datetime'''''''1''''''''''''''''''''''''''''''''7''''%'''''''''''''">
              <a:rPr lang="it-IT" altLang="en-US" sz="14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%</a:t>
            </a:fld>
            <a:endParaRPr lang="it-IT" sz="1400" b="1"/>
          </a:p>
        </p:txBody>
      </p:sp>
      <p:sp>
        <p:nvSpPr>
          <p:cNvPr id="214" name="Text Placeholder 2">
            <a:extLst>
              <a:ext uri="{FF2B5EF4-FFF2-40B4-BE49-F238E27FC236}">
                <a16:creationId xmlns:a16="http://schemas.microsoft.com/office/drawing/2014/main" id="{C1E56AE7-EFF4-0D1A-7FD3-97E67E3C0AF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864350" y="3038475"/>
            <a:ext cx="349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C702FF7-EEB0-4952-A0C4-4C418603F8CA}" type="datetime'''''''E''''''''''ME''A'''''">
              <a:rPr lang="en-GB" altLang="en-US" sz="1000" b="1" smtClean="0">
                <a:solidFill>
                  <a:srgbClr val="FFFFFF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EMEA</a:t>
            </a:fld>
            <a:endParaRPr lang="en-GB" sz="1000" b="1">
              <a:solidFill>
                <a:srgbClr val="FFFFFF"/>
              </a:solidFill>
            </a:endParaRPr>
          </a:p>
        </p:txBody>
      </p:sp>
      <p:sp>
        <p:nvSpPr>
          <p:cNvPr id="215" name="Text Placeholder 2">
            <a:extLst>
              <a:ext uri="{FF2B5EF4-FFF2-40B4-BE49-F238E27FC236}">
                <a16:creationId xmlns:a16="http://schemas.microsoft.com/office/drawing/2014/main" id="{8C5E09F2-4FB4-9639-6F1D-26B9165CDA14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7388225" y="2700338"/>
            <a:ext cx="379413" cy="212725"/>
          </a:xfrm>
          <a:prstGeom prst="rect">
            <a:avLst/>
          </a:prstGeom>
          <a:solidFill>
            <a:srgbClr val="FFEFBA"/>
          </a:solidFill>
          <a:ln>
            <a:noFill/>
          </a:ln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D10AF9D-2657-4D5D-B3F8-7CC7DD86060C}" type="datetime'1''''''''5''''%'''''''''''''''''''''''''''">
              <a:rPr lang="it-IT" altLang="en-US" sz="14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%</a:t>
            </a:fld>
            <a:endParaRPr lang="it-IT" sz="1400" b="1"/>
          </a:p>
        </p:txBody>
      </p:sp>
      <p:sp>
        <p:nvSpPr>
          <p:cNvPr id="216" name="Text Placeholder 2">
            <a:extLst>
              <a:ext uri="{FF2B5EF4-FFF2-40B4-BE49-F238E27FC236}">
                <a16:creationId xmlns:a16="http://schemas.microsoft.com/office/drawing/2014/main" id="{7DDF9666-B7DA-7019-E73B-A195387D86CF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032625" y="2562225"/>
            <a:ext cx="2984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5C92252-1FEB-4B97-B19B-68E5460CA2CA}" type="datetime'''A''''''''''''''S''''''''''''''''''''I''''''''A'''''">
              <a:rPr lang="en-GB" altLang="en-US" sz="1000" b="1" smtClean="0">
                <a:solidFill>
                  <a:srgbClr val="FFFFFF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ASIA</a:t>
            </a:fld>
            <a:endParaRPr lang="en-GB" sz="1000" b="1">
              <a:solidFill>
                <a:srgbClr val="FFFFFF"/>
              </a:solidFill>
            </a:endParaRPr>
          </a:p>
        </p:txBody>
      </p:sp>
      <p:sp>
        <p:nvSpPr>
          <p:cNvPr id="217" name="Text Placeholder 2">
            <a:extLst>
              <a:ext uri="{FF2B5EF4-FFF2-40B4-BE49-F238E27FC236}">
                <a16:creationId xmlns:a16="http://schemas.microsoft.com/office/drawing/2014/main" id="{AFEA52B3-B8DB-AC83-BBBE-171CB79C6D9B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7620000" y="2487613"/>
            <a:ext cx="269875" cy="212725"/>
          </a:xfrm>
          <a:prstGeom prst="rect">
            <a:avLst/>
          </a:prstGeom>
          <a:solidFill>
            <a:srgbClr val="747480"/>
          </a:solidFill>
          <a:ln>
            <a:noFill/>
          </a:ln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49DD4B-06D2-4E69-B6C7-B07ECAFAA447}" type="datetime'''''''''''''''''''''''''5''''%'''''">
              <a:rPr lang="it-IT" altLang="en-US" sz="1400" b="1" smtClean="0">
                <a:solidFill>
                  <a:schemeClr val="tx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endParaRPr lang="it-IT" sz="1400" b="1">
              <a:solidFill>
                <a:schemeClr val="tx1"/>
              </a:solidFill>
            </a:endParaRPr>
          </a:p>
        </p:txBody>
      </p:sp>
      <p:sp>
        <p:nvSpPr>
          <p:cNvPr id="218" name="Text Placeholder 2">
            <a:extLst>
              <a:ext uri="{FF2B5EF4-FFF2-40B4-BE49-F238E27FC236}">
                <a16:creationId xmlns:a16="http://schemas.microsoft.com/office/drawing/2014/main" id="{3E2FF413-9C32-D9F4-D714-1C6B6765174C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267575" y="2311400"/>
            <a:ext cx="5302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8257EC9-7458-4D3B-9B8D-454D1EDF3D04}" type="datetime'''CA''''''''''''''''''''''''''''''N''''''A''D''A'''''''''''">
              <a:rPr lang="en-GB" altLang="en-US" sz="1000" b="1" smtClean="0">
                <a:solidFill>
                  <a:srgbClr val="FFFFFF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ANADA</a:t>
            </a:fld>
            <a:endParaRPr lang="en-GB" sz="1000" b="1">
              <a:solidFill>
                <a:srgbClr val="FFFFFF"/>
              </a:solidFill>
            </a:endParaRPr>
          </a:p>
        </p:txBody>
      </p:sp>
      <p:graphicFrame>
        <p:nvGraphicFramePr>
          <p:cNvPr id="219" name="Chart 218">
            <a:extLst>
              <a:ext uri="{FF2B5EF4-FFF2-40B4-BE49-F238E27FC236}">
                <a16:creationId xmlns:a16="http://schemas.microsoft.com/office/drawing/2014/main" id="{94FCE6F8-4E2E-C39A-7A6E-18C37C496387}"/>
              </a:ext>
            </a:extLst>
          </p:cNvPr>
          <p:cNvGraphicFramePr/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434084856"/>
              </p:ext>
            </p:extLst>
          </p:nvPr>
        </p:nvGraphicFramePr>
        <p:xfrm>
          <a:off x="7122248" y="4619049"/>
          <a:ext cx="1309686" cy="13030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8"/>
          </a:graphicData>
        </a:graphic>
      </p:graphicFrame>
      <p:sp>
        <p:nvSpPr>
          <p:cNvPr id="220" name="Text Placeholder 2">
            <a:extLst>
              <a:ext uri="{FF2B5EF4-FFF2-40B4-BE49-F238E27FC236}">
                <a16:creationId xmlns:a16="http://schemas.microsoft.com/office/drawing/2014/main" id="{818B8D00-92FD-6FC4-E8B7-B2CBD44D69F9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7808913" y="4852988"/>
            <a:ext cx="379413" cy="2127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20FF211-D3F8-4376-847E-C60AB9BDEE50}" type="datetime'''2''1''''''''''''''''''''''%'''''''''''">
              <a:rPr lang="it-IT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%</a:t>
            </a:fld>
            <a:endParaRPr lang="it-IT" sz="1400"/>
          </a:p>
        </p:txBody>
      </p:sp>
      <p:sp>
        <p:nvSpPr>
          <p:cNvPr id="221" name="Text Placeholder 2">
            <a:extLst>
              <a:ext uri="{FF2B5EF4-FFF2-40B4-BE49-F238E27FC236}">
                <a16:creationId xmlns:a16="http://schemas.microsoft.com/office/drawing/2014/main" id="{17FABE08-726A-0447-0F66-7D62C266E4B7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8132763" y="4611688"/>
            <a:ext cx="857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CC79887-C658-4ACF-B023-0B0B47ED84B6}" type="datetime'''''''''M''''''a''n''u''''f''''''''''''ac''tur''''''''''i''ng'">
              <a:rPr lang="it-IT" altLang="en-US" sz="1000" b="1" smtClean="0">
                <a:solidFill>
                  <a:srgbClr val="FFFFFF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Manufacturing</a:t>
            </a:fld>
            <a:endParaRPr lang="it-IT" sz="1000" b="1">
              <a:solidFill>
                <a:srgbClr val="FFFFFF"/>
              </a:solidFill>
            </a:endParaRPr>
          </a:p>
        </p:txBody>
      </p:sp>
      <p:sp>
        <p:nvSpPr>
          <p:cNvPr id="222" name="Text Placeholder 2">
            <a:extLst>
              <a:ext uri="{FF2B5EF4-FFF2-40B4-BE49-F238E27FC236}">
                <a16:creationId xmlns:a16="http://schemas.microsoft.com/office/drawing/2014/main" id="{AA192E6B-EDAA-DB28-4B01-5F5DF16ADB50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7942263" y="5291138"/>
            <a:ext cx="379413" cy="212725"/>
          </a:xfrm>
          <a:prstGeom prst="rect">
            <a:avLst/>
          </a:prstGeom>
          <a:solidFill>
            <a:srgbClr val="FFEFBA"/>
          </a:solidFill>
          <a:ln>
            <a:noFill/>
          </a:ln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08EAE2D-D8D0-4B92-82D9-AA5CE1E7D634}" type="datetime'''''''''''''1''''''''''''''''''''''''''''8''''''''%'''''">
              <a:rPr lang="it-IT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%</a:t>
            </a:fld>
            <a:endParaRPr lang="it-IT" sz="1400"/>
          </a:p>
        </p:txBody>
      </p:sp>
      <p:sp>
        <p:nvSpPr>
          <p:cNvPr id="223" name="Text Placeholder 2">
            <a:extLst>
              <a:ext uri="{FF2B5EF4-FFF2-40B4-BE49-F238E27FC236}">
                <a16:creationId xmlns:a16="http://schemas.microsoft.com/office/drawing/2014/main" id="{71386B93-268C-A848-DCD3-45A7056B848C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8389938" y="5424488"/>
            <a:ext cx="682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20BA988-DA18-4389-A38D-32C59811CD33}" type="datetime'''''''Tech''''''nol''''''o''''''''''g''''y'''''''''''''">
              <a:rPr lang="it-IT" altLang="en-US" sz="1000" b="1" smtClean="0">
                <a:solidFill>
                  <a:srgbClr val="FFFFFF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Technology</a:t>
            </a:fld>
            <a:endParaRPr lang="it-IT" sz="1000" b="1">
              <a:solidFill>
                <a:srgbClr val="FFFFFF"/>
              </a:solidFill>
            </a:endParaRPr>
          </a:p>
        </p:txBody>
      </p:sp>
      <p:sp>
        <p:nvSpPr>
          <p:cNvPr id="224" name="Text Placeholder 2">
            <a:extLst>
              <a:ext uri="{FF2B5EF4-FFF2-40B4-BE49-F238E27FC236}">
                <a16:creationId xmlns:a16="http://schemas.microsoft.com/office/drawing/2014/main" id="{D2E8AAA1-0076-996E-0A9A-D02C557D8A8D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8101013" y="5803900"/>
            <a:ext cx="8858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FA8B3E0-1AAD-4A85-BF6A-0BE725593CAB}" type="datetime'Tran''sp''''''o''''''''r''''t''a''''''''''''''t''i''o''n'''''">
              <a:rPr lang="it-IT" altLang="en-US" sz="1000" b="1" smtClean="0">
                <a:solidFill>
                  <a:srgbClr val="FFFFFF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Transportation</a:t>
            </a:fld>
            <a:endParaRPr lang="it-IT" sz="1000" b="1">
              <a:solidFill>
                <a:srgbClr val="FFFFFF"/>
              </a:solidFill>
            </a:endParaRPr>
          </a:p>
        </p:txBody>
      </p:sp>
      <p:sp>
        <p:nvSpPr>
          <p:cNvPr id="225" name="Text Placeholder 2">
            <a:extLst>
              <a:ext uri="{FF2B5EF4-FFF2-40B4-BE49-F238E27FC236}">
                <a16:creationId xmlns:a16="http://schemas.microsoft.com/office/drawing/2014/main" id="{7DBF03EB-C899-7D34-FE5B-AC7ECCB348D1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7480300" y="5956300"/>
            <a:ext cx="5730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A88D11F-9A27-4387-B8E2-64F5149D5323}" type="datetime'''H''''''ea''''lt''''''''''''''''''''ca''r''''e'''">
              <a:rPr lang="it-IT" altLang="en-US" sz="1000" b="1" smtClean="0">
                <a:solidFill>
                  <a:srgbClr val="FFFFFF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Healtcare</a:t>
            </a:fld>
            <a:endParaRPr lang="it-IT" sz="1000" b="1">
              <a:solidFill>
                <a:srgbClr val="FFFFFF"/>
              </a:solidFill>
            </a:endParaRPr>
          </a:p>
        </p:txBody>
      </p:sp>
      <p:sp>
        <p:nvSpPr>
          <p:cNvPr id="226" name="Text Placeholder 2">
            <a:extLst>
              <a:ext uri="{FF2B5EF4-FFF2-40B4-BE49-F238E27FC236}">
                <a16:creationId xmlns:a16="http://schemas.microsoft.com/office/drawing/2014/main" id="{9D48607B-EDAC-E811-B3D9-216BC217E84A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7295356" y="5543035"/>
            <a:ext cx="269875" cy="212725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662FE24-6E0A-4CF9-AC3F-74564824D45F}" type="datetime'''''''''''''''''9''''''''%'''''''''">
              <a:rPr lang="it-IT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%</a:t>
            </a:fld>
            <a:endParaRPr lang="it-IT" sz="1400"/>
          </a:p>
        </p:txBody>
      </p:sp>
      <p:sp>
        <p:nvSpPr>
          <p:cNvPr id="227" name="Text Placeholder 2">
            <a:extLst>
              <a:ext uri="{FF2B5EF4-FFF2-40B4-BE49-F238E27FC236}">
                <a16:creationId xmlns:a16="http://schemas.microsoft.com/office/drawing/2014/main" id="{878C87F8-50D6-5EB4-0E40-865465096C40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6829425" y="5820570"/>
            <a:ext cx="53657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7332FAB-D5F5-4D53-9D33-6B4817688351}" type="datetime'''E''''''''n''er''gy'''''''' &amp;''&#10;''U''t''il''itie''''s'''''">
              <a:rPr lang="it-IT" altLang="en-US" sz="1000" b="1" smtClean="0">
                <a:solidFill>
                  <a:srgbClr val="FFFFFF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Energy &amp;
Utilities</a:t>
            </a:fld>
            <a:endParaRPr lang="it-IT" sz="1000" b="1">
              <a:solidFill>
                <a:srgbClr val="FFFFFF"/>
              </a:solidFill>
            </a:endParaRPr>
          </a:p>
        </p:txBody>
      </p:sp>
      <p:sp>
        <p:nvSpPr>
          <p:cNvPr id="228" name="Text Placeholder 2">
            <a:extLst>
              <a:ext uri="{FF2B5EF4-FFF2-40B4-BE49-F238E27FC236}">
                <a16:creationId xmlns:a16="http://schemas.microsoft.com/office/drawing/2014/main" id="{CFB34342-AAB0-014B-2CC7-A622874BE3F0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7246938" y="5343525"/>
            <a:ext cx="269875" cy="212725"/>
          </a:xfrm>
          <a:prstGeom prst="rect">
            <a:avLst/>
          </a:prstGeom>
          <a:solidFill>
            <a:srgbClr val="969696"/>
          </a:solidFill>
          <a:ln>
            <a:noFill/>
          </a:ln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6B11B5-51D5-4536-800B-32044B034E83}" type="datetime'''''''''''''''''''''''''''''''''''''''''''''''8%'''''">
              <a:rPr lang="it-IT" altLang="en-US" sz="1400" smtClean="0">
                <a:solidFill>
                  <a:schemeClr val="tx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%</a:t>
            </a:fld>
            <a:endParaRPr lang="it-IT" sz="1400">
              <a:solidFill>
                <a:schemeClr val="tx1"/>
              </a:solidFill>
            </a:endParaRPr>
          </a:p>
        </p:txBody>
      </p:sp>
      <p:sp>
        <p:nvSpPr>
          <p:cNvPr id="229" name="Text Placeholder 2">
            <a:extLst>
              <a:ext uri="{FF2B5EF4-FFF2-40B4-BE49-F238E27FC236}">
                <a16:creationId xmlns:a16="http://schemas.microsoft.com/office/drawing/2014/main" id="{CC4F54F9-AE84-B9BF-787E-DB0E07007A0A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6799263" y="5513388"/>
            <a:ext cx="3460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4871EFC-F1DA-432F-94B1-903D95A3E648}" type="datetime'R''''e''t''''''a''i''''''l'''''''''''''''">
              <a:rPr lang="it-IT" altLang="en-US" sz="1000" b="1" smtClean="0">
                <a:solidFill>
                  <a:srgbClr val="FFFFFF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Retail</a:t>
            </a:fld>
            <a:endParaRPr lang="it-IT" sz="1000" b="1">
              <a:solidFill>
                <a:srgbClr val="FFFFFF"/>
              </a:solidFill>
            </a:endParaRPr>
          </a:p>
        </p:txBody>
      </p:sp>
      <p:sp>
        <p:nvSpPr>
          <p:cNvPr id="230" name="Text Placeholder 2">
            <a:extLst>
              <a:ext uri="{FF2B5EF4-FFF2-40B4-BE49-F238E27FC236}">
                <a16:creationId xmlns:a16="http://schemas.microsoft.com/office/drawing/2014/main" id="{95F66958-5E58-0909-85C4-83E4449EFB72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7259638" y="4916488"/>
            <a:ext cx="379413" cy="212725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432F36-1F6A-4C60-B770-2C1261CA7B3A}" type="datetime'2''''''''''''''''''''8''''''''''''''''''''%'''''''''''''''''">
              <a:rPr lang="it-IT" altLang="en-US" sz="1400" smtClean="0">
                <a:solidFill>
                  <a:schemeClr val="tx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%</a:t>
            </a:fld>
            <a:endParaRPr lang="it-IT" sz="1400">
              <a:solidFill>
                <a:schemeClr val="tx1"/>
              </a:solidFill>
            </a:endParaRPr>
          </a:p>
        </p:txBody>
      </p:sp>
      <p:sp>
        <p:nvSpPr>
          <p:cNvPr id="231" name="Text Placeholder 2">
            <a:extLst>
              <a:ext uri="{FF2B5EF4-FFF2-40B4-BE49-F238E27FC236}">
                <a16:creationId xmlns:a16="http://schemas.microsoft.com/office/drawing/2014/main" id="{F5325CCA-42E7-2769-F365-706D0184D8C0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6948488" y="4724400"/>
            <a:ext cx="300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C4E4CB9-07AB-4328-BA56-5E3192D01D44}" type="datetime'''''Al''''''''''t''r''''''o'''''''''''''''''''''''">
              <a:rPr lang="it-IT" altLang="en-US" sz="1000" b="1" smtClean="0">
                <a:solidFill>
                  <a:srgbClr val="FFFFFF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Altro</a:t>
            </a:fld>
            <a:endParaRPr lang="it-IT" sz="1000" b="1">
              <a:solidFill>
                <a:srgbClr val="FFFFFF"/>
              </a:solidFill>
            </a:endParaRPr>
          </a:p>
        </p:txBody>
      </p:sp>
      <p:graphicFrame>
        <p:nvGraphicFramePr>
          <p:cNvPr id="232" name="Chart 231">
            <a:extLst>
              <a:ext uri="{FF2B5EF4-FFF2-40B4-BE49-F238E27FC236}">
                <a16:creationId xmlns:a16="http://schemas.microsoft.com/office/drawing/2014/main" id="{4B350A02-3B87-63C2-A8BC-6E123E723CCE}"/>
              </a:ext>
            </a:extLst>
          </p:cNvPr>
          <p:cNvGraphicFramePr/>
          <p:nvPr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3761437706"/>
              </p:ext>
            </p:extLst>
          </p:nvPr>
        </p:nvGraphicFramePr>
        <p:xfrm>
          <a:off x="10123488" y="4587875"/>
          <a:ext cx="1376362" cy="1376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9"/>
          </a:graphicData>
        </a:graphic>
      </p:graphicFrame>
      <p:sp>
        <p:nvSpPr>
          <p:cNvPr id="233" name="Text Placeholder 2">
            <a:extLst>
              <a:ext uri="{FF2B5EF4-FFF2-40B4-BE49-F238E27FC236}">
                <a16:creationId xmlns:a16="http://schemas.microsoft.com/office/drawing/2014/main" id="{836A4B98-9A06-D0D3-517A-CFF8BD80E083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10947400" y="4948238"/>
            <a:ext cx="379413" cy="2127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FDE687-F817-499A-89F9-8E180221788D}" type="datetime'''''3''''''''''''''''''''''1''%'''''''''''''''''''''''''''">
              <a:rPr lang="it-IT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%</a:t>
            </a:fld>
            <a:endParaRPr lang="it-IT" sz="1400"/>
          </a:p>
        </p:txBody>
      </p:sp>
      <p:sp>
        <p:nvSpPr>
          <p:cNvPr id="234" name="Text Placeholder 2">
            <a:extLst>
              <a:ext uri="{FF2B5EF4-FFF2-40B4-BE49-F238E27FC236}">
                <a16:creationId xmlns:a16="http://schemas.microsoft.com/office/drawing/2014/main" id="{D7221549-2D9B-C0E6-643F-E55A3FCE43E1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11361738" y="4781550"/>
            <a:ext cx="474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1B597A4-E671-4E28-AA5D-3B0DB8C4933E}" type="datetime'''''Ba''''n''''''k''''''''i''n''''''g'''''''''''''''''''''">
              <a:rPr lang="it-IT" altLang="en-US" sz="1000" b="1" smtClean="0">
                <a:solidFill>
                  <a:srgbClr val="FFFFFF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Banking</a:t>
            </a:fld>
            <a:endParaRPr lang="it-IT" sz="1000" b="1">
              <a:solidFill>
                <a:srgbClr val="FFFFFF"/>
              </a:solidFill>
            </a:endParaRPr>
          </a:p>
        </p:txBody>
      </p:sp>
      <p:sp>
        <p:nvSpPr>
          <p:cNvPr id="235" name="Text Placeholder 2">
            <a:extLst>
              <a:ext uri="{FF2B5EF4-FFF2-40B4-BE49-F238E27FC236}">
                <a16:creationId xmlns:a16="http://schemas.microsoft.com/office/drawing/2014/main" id="{E2D042E6-18A7-8CE6-07E2-0F5E283FE3C8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10798175" y="5541963"/>
            <a:ext cx="379413" cy="212725"/>
          </a:xfrm>
          <a:prstGeom prst="rect">
            <a:avLst/>
          </a:prstGeom>
          <a:solidFill>
            <a:srgbClr val="FFEFBA"/>
          </a:solidFill>
          <a:ln>
            <a:noFill/>
          </a:ln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CAEF3B2-8605-481F-B2D2-B8338F7DDC73}" type="datetime'''''''''''2''''''''''4''%'''''">
              <a:rPr lang="it-IT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%</a:t>
            </a:fld>
            <a:endParaRPr lang="it-IT" sz="1400"/>
          </a:p>
        </p:txBody>
      </p:sp>
      <p:sp>
        <p:nvSpPr>
          <p:cNvPr id="236" name="Text Placeholder 2">
            <a:extLst>
              <a:ext uri="{FF2B5EF4-FFF2-40B4-BE49-F238E27FC236}">
                <a16:creationId xmlns:a16="http://schemas.microsoft.com/office/drawing/2014/main" id="{120DC4A0-E2CD-0B92-ABE3-4A8059BF9148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11193463" y="5783263"/>
            <a:ext cx="40957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E11B037-B3C4-49EF-944B-BF8D2EF46749}" type="datetime'''''''A''''''''''''''sse''t''&#10;Mn''''''gm''t'''''''''''">
              <a:rPr lang="it-IT" altLang="en-US" sz="1000" b="1" smtClean="0">
                <a:solidFill>
                  <a:srgbClr val="FFFFFF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sset
Mngmt</a:t>
            </a:fld>
            <a:endParaRPr lang="it-IT" sz="1000" b="1">
              <a:solidFill>
                <a:srgbClr val="FFFFFF"/>
              </a:solidFill>
            </a:endParaRPr>
          </a:p>
        </p:txBody>
      </p:sp>
      <p:sp>
        <p:nvSpPr>
          <p:cNvPr id="237" name="Text Placeholder 2">
            <a:extLst>
              <a:ext uri="{FF2B5EF4-FFF2-40B4-BE49-F238E27FC236}">
                <a16:creationId xmlns:a16="http://schemas.microsoft.com/office/drawing/2014/main" id="{01392A8F-6B81-CF88-2BEB-87093A5D1760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10340975" y="5449888"/>
            <a:ext cx="379413" cy="212725"/>
          </a:xfrm>
          <a:prstGeom prst="rect">
            <a:avLst/>
          </a:prstGeom>
          <a:solidFill>
            <a:srgbClr val="C4C4CD"/>
          </a:solidFill>
          <a:ln>
            <a:noFill/>
          </a:ln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3ED05C-89D3-42E0-AF24-37646B923A8A}" type="datetime'''''''''''''''''1''''''''''''''''''5''''''''''''''''''%'">
              <a:rPr lang="it-IT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%</a:t>
            </a:fld>
            <a:endParaRPr lang="it-IT" sz="1400"/>
          </a:p>
        </p:txBody>
      </p:sp>
      <p:sp>
        <p:nvSpPr>
          <p:cNvPr id="238" name="Text Placeholder 2">
            <a:extLst>
              <a:ext uri="{FF2B5EF4-FFF2-40B4-BE49-F238E27FC236}">
                <a16:creationId xmlns:a16="http://schemas.microsoft.com/office/drawing/2014/main" id="{F675B1B1-BCB9-8815-5A39-4F73F54456A8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9767888" y="5726113"/>
            <a:ext cx="5889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A1E9B6C-0928-4BF9-A95A-AE5914525B22}" type="datetime'''P''''''''''''a''''''''''''''y''''''m''''''''en''t''''s'''''">
              <a:rPr lang="it-IT" altLang="en-US" sz="1000" b="1" smtClean="0">
                <a:solidFill>
                  <a:srgbClr val="FFFFFF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ayments</a:t>
            </a:fld>
            <a:endParaRPr lang="it-IT" sz="1000" b="1">
              <a:solidFill>
                <a:srgbClr val="FFFFFF"/>
              </a:solidFill>
            </a:endParaRPr>
          </a:p>
        </p:txBody>
      </p:sp>
      <p:sp>
        <p:nvSpPr>
          <p:cNvPr id="239" name="Text Placeholder 2">
            <a:extLst>
              <a:ext uri="{FF2B5EF4-FFF2-40B4-BE49-F238E27FC236}">
                <a16:creationId xmlns:a16="http://schemas.microsoft.com/office/drawing/2014/main" id="{FCE201D0-EB65-6B31-2B16-C6D70E425CCB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10217150" y="5118100"/>
            <a:ext cx="379413" cy="21272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F146570-A052-4AFE-8347-3CFA994868E1}" type="datetime'''''''''''''1''''''''''''4''''''''%'''">
              <a:rPr lang="it-IT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%</a:t>
            </a:fld>
            <a:endParaRPr lang="it-IT" sz="1400"/>
          </a:p>
        </p:txBody>
      </p:sp>
      <p:sp>
        <p:nvSpPr>
          <p:cNvPr id="240" name="Text Placeholder 2">
            <a:extLst>
              <a:ext uri="{FF2B5EF4-FFF2-40B4-BE49-F238E27FC236}">
                <a16:creationId xmlns:a16="http://schemas.microsoft.com/office/drawing/2014/main" id="{F9215E17-8689-C643-EC6E-1C7B5C3736AA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9677400" y="5011738"/>
            <a:ext cx="4762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B988121-B7A0-428E-BE1F-45AFE43D122A}" type="datetime'''''C''a''p''''i''''''t''''al &#10;M''ar''ke''''''''''t''s'''''">
              <a:rPr lang="it-IT" altLang="en-US" sz="1000" b="1" smtClean="0">
                <a:solidFill>
                  <a:srgbClr val="FFFFFF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apital 
Markets</a:t>
            </a:fld>
            <a:endParaRPr lang="it-IT" sz="1000" b="1">
              <a:solidFill>
                <a:srgbClr val="FFFFFF"/>
              </a:solidFill>
            </a:endParaRPr>
          </a:p>
        </p:txBody>
      </p:sp>
      <p:sp>
        <p:nvSpPr>
          <p:cNvPr id="241" name="Text Placeholder 2">
            <a:extLst>
              <a:ext uri="{FF2B5EF4-FFF2-40B4-BE49-F238E27FC236}">
                <a16:creationId xmlns:a16="http://schemas.microsoft.com/office/drawing/2014/main" id="{137F66FA-910E-F576-968B-4448AF12BFF8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10387013" y="4841875"/>
            <a:ext cx="269875" cy="212725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3F36D1-A96F-4DEF-97AE-2B8B5594BFEC}" type="datetime'''''9''''''''''''''''''''%'''''''''''">
              <a:rPr lang="it-IT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%</a:t>
            </a:fld>
            <a:endParaRPr lang="it-IT" sz="1400"/>
          </a:p>
        </p:txBody>
      </p:sp>
      <p:sp>
        <p:nvSpPr>
          <p:cNvPr id="242" name="Text Placeholder 2">
            <a:extLst>
              <a:ext uri="{FF2B5EF4-FFF2-40B4-BE49-F238E27FC236}">
                <a16:creationId xmlns:a16="http://schemas.microsoft.com/office/drawing/2014/main" id="{E3C6C5CB-B540-98A6-99AB-0528C2B46445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9544050" y="4640263"/>
            <a:ext cx="8509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61E097E-186C-4FC4-A0BC-F70878A40DD0}" type="datetime'W''ealt''''''''''''''''''''''h'''' Mng''''''''''m''t'''">
              <a:rPr lang="it-IT" altLang="en-US" sz="1000" b="1" smtClean="0">
                <a:solidFill>
                  <a:srgbClr val="FFFFFF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Wealth Mngmt</a:t>
            </a:fld>
            <a:endParaRPr lang="it-IT" sz="1000" b="1">
              <a:solidFill>
                <a:srgbClr val="FFFFFF"/>
              </a:solidFill>
            </a:endParaRPr>
          </a:p>
        </p:txBody>
      </p:sp>
      <p:sp>
        <p:nvSpPr>
          <p:cNvPr id="243" name="Text Placeholder 2">
            <a:extLst>
              <a:ext uri="{FF2B5EF4-FFF2-40B4-BE49-F238E27FC236}">
                <a16:creationId xmlns:a16="http://schemas.microsoft.com/office/drawing/2014/main" id="{163D72EA-6E50-7563-7CDD-267E9684DD03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10648951" y="4716463"/>
            <a:ext cx="269875" cy="212725"/>
          </a:xfrm>
          <a:prstGeom prst="rect">
            <a:avLst/>
          </a:prstGeom>
          <a:solidFill>
            <a:srgbClr val="969696"/>
          </a:solidFill>
          <a:ln>
            <a:noFill/>
          </a:ln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5E6A10-3117-468A-962E-74DC657EFB16}" type="datetime'''''''''''''''''''''''''''''''''''''7%'''">
              <a:rPr lang="it-IT" altLang="en-US" sz="1400" smtClean="0">
                <a:solidFill>
                  <a:schemeClr val="tx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%</a:t>
            </a:fld>
            <a:endParaRPr lang="it-IT" sz="1400">
              <a:solidFill>
                <a:schemeClr val="tx1"/>
              </a:solidFill>
            </a:endParaRPr>
          </a:p>
        </p:txBody>
      </p:sp>
      <p:sp>
        <p:nvSpPr>
          <p:cNvPr id="244" name="Text Placeholder 2">
            <a:extLst>
              <a:ext uri="{FF2B5EF4-FFF2-40B4-BE49-F238E27FC236}">
                <a16:creationId xmlns:a16="http://schemas.microsoft.com/office/drawing/2014/main" id="{8A80B297-2AFF-FC0E-B589-3E9387B1CF46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10502900" y="4491038"/>
            <a:ext cx="300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698A2C0-9691-48A2-94D2-F3377E7E953A}" type="datetime'''''''A''lt''''''r''''''''o'''''''''''''''''''''''''''''''''''">
              <a:rPr lang="it-IT" altLang="en-US" sz="1000" b="1" smtClean="0">
                <a:solidFill>
                  <a:srgbClr val="FFFFFF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ltro</a:t>
            </a:fld>
            <a:endParaRPr lang="it-IT" sz="1000" b="1">
              <a:solidFill>
                <a:srgbClr val="FFFFFF"/>
              </a:solidFill>
            </a:endParaRPr>
          </a:p>
        </p:txBody>
      </p:sp>
      <p:grpSp>
        <p:nvGrpSpPr>
          <p:cNvPr id="245" name="Check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0640944-2730-80C3-044A-59740B167E05}"/>
              </a:ext>
            </a:extLst>
          </p:cNvPr>
          <p:cNvGrpSpPr>
            <a:grpSpLocks noChangeAspect="1"/>
          </p:cNvGrpSpPr>
          <p:nvPr/>
        </p:nvGrpSpPr>
        <p:grpSpPr>
          <a:xfrm>
            <a:off x="684418" y="1746226"/>
            <a:ext cx="230530" cy="268882"/>
            <a:chOff x="5633065" y="435703"/>
            <a:chExt cx="1080378" cy="1260111"/>
          </a:xfrm>
          <a:solidFill>
            <a:schemeClr val="dk2"/>
          </a:solidFill>
        </p:grpSpPr>
        <p:sp>
          <p:nvSpPr>
            <p:cNvPr id="246" name="Free-form: Shape 983">
              <a:extLst>
                <a:ext uri="{FF2B5EF4-FFF2-40B4-BE49-F238E27FC236}">
                  <a16:creationId xmlns:a16="http://schemas.microsoft.com/office/drawing/2014/main" id="{F9505999-14A0-247F-58CC-D0C326AB89DB}"/>
                </a:ext>
              </a:extLst>
            </p:cNvPr>
            <p:cNvSpPr/>
            <p:nvPr/>
          </p:nvSpPr>
          <p:spPr>
            <a:xfrm>
              <a:off x="5633065" y="435703"/>
              <a:ext cx="1080378" cy="1260111"/>
            </a:xfrm>
            <a:custGeom>
              <a:avLst/>
              <a:gdLst>
                <a:gd name="connsiteX0" fmla="*/ 539618 w 1080378"/>
                <a:gd name="connsiteY0" fmla="*/ 88 h 1260111"/>
                <a:gd name="connsiteX1" fmla="*/ 620588 w 1080378"/>
                <a:gd name="connsiteY1" fmla="*/ 44156 h 1260111"/>
                <a:gd name="connsiteX2" fmla="*/ 674434 w 1080378"/>
                <a:gd name="connsiteY2" fmla="*/ 77843 h 1260111"/>
                <a:gd name="connsiteX3" fmla="*/ 850505 w 1080378"/>
                <a:gd name="connsiteY3" fmla="*/ 176360 h 1260111"/>
                <a:gd name="connsiteX4" fmla="*/ 1056111 w 1080378"/>
                <a:gd name="connsiteY4" fmla="*/ 275278 h 1260111"/>
                <a:gd name="connsiteX5" fmla="*/ 1080154 w 1080378"/>
                <a:gd name="connsiteY5" fmla="*/ 314323 h 1260111"/>
                <a:gd name="connsiteX6" fmla="*/ 1079217 w 1080378"/>
                <a:gd name="connsiteY6" fmla="*/ 667671 h 1260111"/>
                <a:gd name="connsiteX7" fmla="*/ 1078681 w 1080378"/>
                <a:gd name="connsiteY7" fmla="*/ 962217 h 1260111"/>
                <a:gd name="connsiteX8" fmla="*/ 1054839 w 1080378"/>
                <a:gd name="connsiteY8" fmla="*/ 993627 h 1260111"/>
                <a:gd name="connsiteX9" fmla="*/ 954313 w 1080378"/>
                <a:gd name="connsiteY9" fmla="*/ 1039169 h 1260111"/>
                <a:gd name="connsiteX10" fmla="*/ 731361 w 1080378"/>
                <a:gd name="connsiteY10" fmla="*/ 1148736 h 1260111"/>
                <a:gd name="connsiteX11" fmla="*/ 557835 w 1080378"/>
                <a:gd name="connsiteY11" fmla="*/ 1254820 h 1260111"/>
                <a:gd name="connsiteX12" fmla="*/ 501913 w 1080378"/>
                <a:gd name="connsiteY12" fmla="*/ 1240823 h 1260111"/>
                <a:gd name="connsiteX13" fmla="*/ 346938 w 1080378"/>
                <a:gd name="connsiteY13" fmla="*/ 1150611 h 1260111"/>
                <a:gd name="connsiteX14" fmla="*/ 52727 w 1080378"/>
                <a:gd name="connsiteY14" fmla="*/ 1007892 h 1260111"/>
                <a:gd name="connsiteX15" fmla="*/ 14820 w 1080378"/>
                <a:gd name="connsiteY15" fmla="*/ 989676 h 1260111"/>
                <a:gd name="connsiteX16" fmla="*/ 3167 w 1080378"/>
                <a:gd name="connsiteY16" fmla="*/ 968914 h 1260111"/>
                <a:gd name="connsiteX17" fmla="*/ 1158 w 1080378"/>
                <a:gd name="connsiteY17" fmla="*/ 803693 h 1260111"/>
                <a:gd name="connsiteX18" fmla="*/ 2297 w 1080378"/>
                <a:gd name="connsiteY18" fmla="*/ 528703 h 1260111"/>
                <a:gd name="connsiteX19" fmla="*/ 2631 w 1080378"/>
                <a:gd name="connsiteY19" fmla="*/ 291553 h 1260111"/>
                <a:gd name="connsiteX20" fmla="*/ 6851 w 1080378"/>
                <a:gd name="connsiteY20" fmla="*/ 284922 h 1260111"/>
                <a:gd name="connsiteX21" fmla="*/ 193771 w 1080378"/>
                <a:gd name="connsiteY21" fmla="*/ 191295 h 1260111"/>
                <a:gd name="connsiteX22" fmla="*/ 531113 w 1080378"/>
                <a:gd name="connsiteY22" fmla="*/ 2901 h 1260111"/>
                <a:gd name="connsiteX23" fmla="*/ 539618 w 1080378"/>
                <a:gd name="connsiteY23" fmla="*/ 88 h 1260111"/>
                <a:gd name="connsiteX24" fmla="*/ 1013249 w 1080378"/>
                <a:gd name="connsiteY24" fmla="*/ 327986 h 1260111"/>
                <a:gd name="connsiteX25" fmla="*/ 907365 w 1080378"/>
                <a:gd name="connsiteY25" fmla="*/ 274475 h 1260111"/>
                <a:gd name="connsiteX26" fmla="*/ 801548 w 1080378"/>
                <a:gd name="connsiteY26" fmla="*/ 221164 h 1260111"/>
                <a:gd name="connsiteX27" fmla="*/ 550535 w 1080378"/>
                <a:gd name="connsiteY27" fmla="*/ 76035 h 1260111"/>
                <a:gd name="connsiteX28" fmla="*/ 535466 w 1080378"/>
                <a:gd name="connsiteY28" fmla="*/ 76303 h 1260111"/>
                <a:gd name="connsiteX29" fmla="*/ 354975 w 1080378"/>
                <a:gd name="connsiteY29" fmla="*/ 180914 h 1260111"/>
                <a:gd name="connsiteX30" fmla="*/ 69805 w 1080378"/>
                <a:gd name="connsiteY30" fmla="*/ 319547 h 1260111"/>
                <a:gd name="connsiteX31" fmla="*/ 64447 w 1080378"/>
                <a:gd name="connsiteY31" fmla="*/ 327182 h 1260111"/>
                <a:gd name="connsiteX32" fmla="*/ 64447 w 1080378"/>
                <a:gd name="connsiteY32" fmla="*/ 939513 h 1260111"/>
                <a:gd name="connsiteX33" fmla="*/ 71144 w 1080378"/>
                <a:gd name="connsiteY33" fmla="*/ 948822 h 1260111"/>
                <a:gd name="connsiteX34" fmla="*/ 111462 w 1080378"/>
                <a:gd name="connsiteY34" fmla="*/ 963422 h 1260111"/>
                <a:gd name="connsiteX35" fmla="*/ 380491 w 1080378"/>
                <a:gd name="connsiteY35" fmla="*/ 1095292 h 1260111"/>
                <a:gd name="connsiteX36" fmla="*/ 502449 w 1080378"/>
                <a:gd name="connsiteY36" fmla="*/ 1162800 h 1260111"/>
                <a:gd name="connsiteX37" fmla="*/ 540556 w 1080378"/>
                <a:gd name="connsiteY37" fmla="*/ 1190929 h 1260111"/>
                <a:gd name="connsiteX38" fmla="*/ 545311 w 1080378"/>
                <a:gd name="connsiteY38" fmla="*/ 1189723 h 1260111"/>
                <a:gd name="connsiteX39" fmla="*/ 566608 w 1080378"/>
                <a:gd name="connsiteY39" fmla="*/ 1168292 h 1260111"/>
                <a:gd name="connsiteX40" fmla="*/ 680797 w 1080378"/>
                <a:gd name="connsiteY40" fmla="*/ 1101520 h 1260111"/>
                <a:gd name="connsiteX41" fmla="*/ 956858 w 1080378"/>
                <a:gd name="connsiteY41" fmla="*/ 965900 h 1260111"/>
                <a:gd name="connsiteX42" fmla="*/ 1000591 w 1080378"/>
                <a:gd name="connsiteY42" fmla="*/ 949291 h 1260111"/>
                <a:gd name="connsiteX43" fmla="*/ 1011843 w 1080378"/>
                <a:gd name="connsiteY43" fmla="*/ 932213 h 1260111"/>
                <a:gd name="connsiteX44" fmla="*/ 1015124 w 1080378"/>
                <a:gd name="connsiteY44" fmla="*/ 721182 h 1260111"/>
                <a:gd name="connsiteX45" fmla="*/ 1015124 w 1080378"/>
                <a:gd name="connsiteY45" fmla="*/ 587304 h 1260111"/>
                <a:gd name="connsiteX46" fmla="*/ 1013517 w 1080378"/>
                <a:gd name="connsiteY46" fmla="*/ 393083 h 1260111"/>
                <a:gd name="connsiteX47" fmla="*/ 1015727 w 1080378"/>
                <a:gd name="connsiteY47" fmla="*/ 332473 h 1260111"/>
                <a:gd name="connsiteX48" fmla="*/ 1013249 w 1080378"/>
                <a:gd name="connsiteY48" fmla="*/ 327986 h 1260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080378" h="1260111">
                  <a:moveTo>
                    <a:pt x="539618" y="88"/>
                  </a:moveTo>
                  <a:cubicBezTo>
                    <a:pt x="563326" y="-1654"/>
                    <a:pt x="588977" y="22858"/>
                    <a:pt x="620588" y="44156"/>
                  </a:cubicBezTo>
                  <a:cubicBezTo>
                    <a:pt x="638490" y="56211"/>
                    <a:pt x="656439" y="67440"/>
                    <a:pt x="674434" y="77843"/>
                  </a:cubicBezTo>
                  <a:cubicBezTo>
                    <a:pt x="765966" y="130617"/>
                    <a:pt x="824654" y="163456"/>
                    <a:pt x="850505" y="176360"/>
                  </a:cubicBezTo>
                  <a:cubicBezTo>
                    <a:pt x="919306" y="210739"/>
                    <a:pt x="987846" y="243714"/>
                    <a:pt x="1056111" y="275278"/>
                  </a:cubicBezTo>
                  <a:cubicBezTo>
                    <a:pt x="1072051" y="282645"/>
                    <a:pt x="1080067" y="295658"/>
                    <a:pt x="1080154" y="314323"/>
                  </a:cubicBezTo>
                  <a:cubicBezTo>
                    <a:pt x="1080643" y="422464"/>
                    <a:pt x="1080335" y="540242"/>
                    <a:pt x="1079217" y="667671"/>
                  </a:cubicBezTo>
                  <a:cubicBezTo>
                    <a:pt x="1078279" y="771144"/>
                    <a:pt x="1080757" y="867116"/>
                    <a:pt x="1078681" y="962217"/>
                  </a:cubicBezTo>
                  <a:cubicBezTo>
                    <a:pt x="1078279" y="981371"/>
                    <a:pt x="1068970" y="985992"/>
                    <a:pt x="1054839" y="993627"/>
                  </a:cubicBezTo>
                  <a:cubicBezTo>
                    <a:pt x="1052562" y="994879"/>
                    <a:pt x="1019055" y="1010056"/>
                    <a:pt x="954313" y="1039169"/>
                  </a:cubicBezTo>
                  <a:cubicBezTo>
                    <a:pt x="877227" y="1073860"/>
                    <a:pt x="804830" y="1112236"/>
                    <a:pt x="731361" y="1148736"/>
                  </a:cubicBezTo>
                  <a:cubicBezTo>
                    <a:pt x="664388" y="1182088"/>
                    <a:pt x="613690" y="1215708"/>
                    <a:pt x="557835" y="1254820"/>
                  </a:cubicBezTo>
                  <a:cubicBezTo>
                    <a:pt x="539149" y="1268014"/>
                    <a:pt x="521803" y="1253950"/>
                    <a:pt x="501913" y="1240823"/>
                  </a:cubicBezTo>
                  <a:cubicBezTo>
                    <a:pt x="450880" y="1207203"/>
                    <a:pt x="399223" y="1177132"/>
                    <a:pt x="346938" y="1150611"/>
                  </a:cubicBezTo>
                  <a:cubicBezTo>
                    <a:pt x="204554" y="1078415"/>
                    <a:pt x="135438" y="1039570"/>
                    <a:pt x="52727" y="1007892"/>
                  </a:cubicBezTo>
                  <a:cubicBezTo>
                    <a:pt x="38261" y="1002354"/>
                    <a:pt x="25623" y="996286"/>
                    <a:pt x="14820" y="989676"/>
                  </a:cubicBezTo>
                  <a:cubicBezTo>
                    <a:pt x="7581" y="985262"/>
                    <a:pt x="3167" y="977393"/>
                    <a:pt x="3167" y="968914"/>
                  </a:cubicBezTo>
                  <a:cubicBezTo>
                    <a:pt x="3167" y="911920"/>
                    <a:pt x="-717" y="864303"/>
                    <a:pt x="1158" y="803693"/>
                  </a:cubicBezTo>
                  <a:cubicBezTo>
                    <a:pt x="4687" y="689792"/>
                    <a:pt x="5063" y="598134"/>
                    <a:pt x="2297" y="528703"/>
                  </a:cubicBezTo>
                  <a:cubicBezTo>
                    <a:pt x="-871" y="449494"/>
                    <a:pt x="-764" y="370447"/>
                    <a:pt x="2631" y="291553"/>
                  </a:cubicBezTo>
                  <a:cubicBezTo>
                    <a:pt x="2759" y="288760"/>
                    <a:pt x="4366" y="286242"/>
                    <a:pt x="6851" y="284922"/>
                  </a:cubicBezTo>
                  <a:cubicBezTo>
                    <a:pt x="70294" y="251657"/>
                    <a:pt x="132605" y="220450"/>
                    <a:pt x="193771" y="191295"/>
                  </a:cubicBezTo>
                  <a:cubicBezTo>
                    <a:pt x="311643" y="135105"/>
                    <a:pt x="426903" y="70409"/>
                    <a:pt x="531113" y="2901"/>
                  </a:cubicBezTo>
                  <a:cubicBezTo>
                    <a:pt x="533664" y="1273"/>
                    <a:pt x="536584" y="307"/>
                    <a:pt x="539618" y="88"/>
                  </a:cubicBezTo>
                  <a:close/>
                  <a:moveTo>
                    <a:pt x="1013249" y="327986"/>
                  </a:moveTo>
                  <a:cubicBezTo>
                    <a:pt x="967172" y="303789"/>
                    <a:pt x="931877" y="285947"/>
                    <a:pt x="907365" y="274475"/>
                  </a:cubicBezTo>
                  <a:cubicBezTo>
                    <a:pt x="865259" y="254832"/>
                    <a:pt x="829992" y="237057"/>
                    <a:pt x="801548" y="221164"/>
                  </a:cubicBezTo>
                  <a:cubicBezTo>
                    <a:pt x="707472" y="168435"/>
                    <a:pt x="623803" y="120058"/>
                    <a:pt x="550535" y="76035"/>
                  </a:cubicBezTo>
                  <a:cubicBezTo>
                    <a:pt x="545867" y="73206"/>
                    <a:pt x="540000" y="73311"/>
                    <a:pt x="535466" y="76303"/>
                  </a:cubicBezTo>
                  <a:cubicBezTo>
                    <a:pt x="480147" y="113004"/>
                    <a:pt x="419985" y="147874"/>
                    <a:pt x="354975" y="180914"/>
                  </a:cubicBezTo>
                  <a:cubicBezTo>
                    <a:pt x="213260" y="253043"/>
                    <a:pt x="142336" y="293562"/>
                    <a:pt x="69805" y="319547"/>
                  </a:cubicBezTo>
                  <a:cubicBezTo>
                    <a:pt x="66584" y="320706"/>
                    <a:pt x="64440" y="323760"/>
                    <a:pt x="64447" y="327182"/>
                  </a:cubicBezTo>
                  <a:lnTo>
                    <a:pt x="64447" y="939513"/>
                  </a:lnTo>
                  <a:cubicBezTo>
                    <a:pt x="64454" y="943732"/>
                    <a:pt x="67146" y="947476"/>
                    <a:pt x="71144" y="948822"/>
                  </a:cubicBezTo>
                  <a:cubicBezTo>
                    <a:pt x="85276" y="953577"/>
                    <a:pt x="95924" y="955921"/>
                    <a:pt x="111462" y="963422"/>
                  </a:cubicBezTo>
                  <a:cubicBezTo>
                    <a:pt x="201339" y="1007002"/>
                    <a:pt x="291016" y="1050956"/>
                    <a:pt x="380491" y="1095292"/>
                  </a:cubicBezTo>
                  <a:cubicBezTo>
                    <a:pt x="422463" y="1116100"/>
                    <a:pt x="463115" y="1138603"/>
                    <a:pt x="502449" y="1162800"/>
                  </a:cubicBezTo>
                  <a:cubicBezTo>
                    <a:pt x="514905" y="1170502"/>
                    <a:pt x="529238" y="1184432"/>
                    <a:pt x="540556" y="1190929"/>
                  </a:cubicBezTo>
                  <a:cubicBezTo>
                    <a:pt x="542478" y="1192000"/>
                    <a:pt x="544058" y="1191598"/>
                    <a:pt x="545311" y="1189723"/>
                  </a:cubicBezTo>
                  <a:cubicBezTo>
                    <a:pt x="551519" y="1180166"/>
                    <a:pt x="558618" y="1173027"/>
                    <a:pt x="566608" y="1168292"/>
                  </a:cubicBezTo>
                  <a:cubicBezTo>
                    <a:pt x="567901" y="1167535"/>
                    <a:pt x="605968" y="1145273"/>
                    <a:pt x="680797" y="1101520"/>
                  </a:cubicBezTo>
                  <a:cubicBezTo>
                    <a:pt x="720799" y="1078127"/>
                    <a:pt x="812820" y="1032920"/>
                    <a:pt x="956858" y="965900"/>
                  </a:cubicBezTo>
                  <a:cubicBezTo>
                    <a:pt x="970386" y="959605"/>
                    <a:pt x="984451" y="955386"/>
                    <a:pt x="1000591" y="949291"/>
                  </a:cubicBezTo>
                  <a:cubicBezTo>
                    <a:pt x="1009766" y="945809"/>
                    <a:pt x="1011307" y="942125"/>
                    <a:pt x="1011843" y="932213"/>
                  </a:cubicBezTo>
                  <a:cubicBezTo>
                    <a:pt x="1015640" y="864082"/>
                    <a:pt x="1016731" y="793734"/>
                    <a:pt x="1015124" y="721182"/>
                  </a:cubicBezTo>
                  <a:cubicBezTo>
                    <a:pt x="1014139" y="675688"/>
                    <a:pt x="1014139" y="631057"/>
                    <a:pt x="1015124" y="587304"/>
                  </a:cubicBezTo>
                  <a:cubicBezTo>
                    <a:pt x="1016149" y="540738"/>
                    <a:pt x="1015613" y="475995"/>
                    <a:pt x="1013517" y="393083"/>
                  </a:cubicBezTo>
                  <a:cubicBezTo>
                    <a:pt x="1013115" y="375315"/>
                    <a:pt x="1013852" y="355110"/>
                    <a:pt x="1015727" y="332473"/>
                  </a:cubicBezTo>
                  <a:cubicBezTo>
                    <a:pt x="1015881" y="330598"/>
                    <a:pt x="1014903" y="328823"/>
                    <a:pt x="1013249" y="327986"/>
                  </a:cubicBezTo>
                  <a:close/>
                </a:path>
              </a:pathLst>
            </a:custGeom>
            <a:grpFill/>
            <a:ln w="66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7" name="Free-form: Shape 984">
              <a:extLst>
                <a:ext uri="{FF2B5EF4-FFF2-40B4-BE49-F238E27FC236}">
                  <a16:creationId xmlns:a16="http://schemas.microsoft.com/office/drawing/2014/main" id="{FE1B08A4-C341-BBFC-ED55-83B187501A49}"/>
                </a:ext>
              </a:extLst>
            </p:cNvPr>
            <p:cNvSpPr/>
            <p:nvPr/>
          </p:nvSpPr>
          <p:spPr>
            <a:xfrm>
              <a:off x="5747211" y="602474"/>
              <a:ext cx="844509" cy="923195"/>
            </a:xfrm>
            <a:custGeom>
              <a:avLst/>
              <a:gdLst>
                <a:gd name="connsiteX0" fmla="*/ 36763 w 844509"/>
                <a:gd name="connsiteY0" fmla="*/ 202135 h 923195"/>
                <a:gd name="connsiteX1" fmla="*/ 66231 w 844509"/>
                <a:gd name="connsiteY1" fmla="*/ 188138 h 923195"/>
                <a:gd name="connsiteX2" fmla="*/ 235805 w 844509"/>
                <a:gd name="connsiteY2" fmla="*/ 81584 h 923195"/>
                <a:gd name="connsiteX3" fmla="*/ 426343 w 844509"/>
                <a:gd name="connsiteY3" fmla="*/ 748 h 923195"/>
                <a:gd name="connsiteX4" fmla="*/ 432571 w 844509"/>
                <a:gd name="connsiteY4" fmla="*/ 279 h 923195"/>
                <a:gd name="connsiteX5" fmla="*/ 528476 w 844509"/>
                <a:gd name="connsiteY5" fmla="*/ 38454 h 923195"/>
                <a:gd name="connsiteX6" fmla="*/ 651705 w 844509"/>
                <a:gd name="connsiteY6" fmla="*/ 101006 h 923195"/>
                <a:gd name="connsiteX7" fmla="*/ 781365 w 844509"/>
                <a:gd name="connsiteY7" fmla="*/ 177221 h 923195"/>
                <a:gd name="connsiteX8" fmla="*/ 823758 w 844509"/>
                <a:gd name="connsiteY8" fmla="*/ 197246 h 923195"/>
                <a:gd name="connsiteX9" fmla="*/ 830322 w 844509"/>
                <a:gd name="connsiteY9" fmla="*/ 206555 h 923195"/>
                <a:gd name="connsiteX10" fmla="*/ 842645 w 844509"/>
                <a:gd name="connsiteY10" fmla="*/ 435803 h 923195"/>
                <a:gd name="connsiteX11" fmla="*/ 831393 w 844509"/>
                <a:gd name="connsiteY11" fmla="*/ 654870 h 923195"/>
                <a:gd name="connsiteX12" fmla="*/ 819405 w 844509"/>
                <a:gd name="connsiteY12" fmla="*/ 739925 h 923195"/>
                <a:gd name="connsiteX13" fmla="*/ 812507 w 844509"/>
                <a:gd name="connsiteY13" fmla="*/ 747091 h 923195"/>
                <a:gd name="connsiteX14" fmla="*/ 740109 w 844509"/>
                <a:gd name="connsiteY14" fmla="*/ 771670 h 923195"/>
                <a:gd name="connsiteX15" fmla="*/ 615875 w 844509"/>
                <a:gd name="connsiteY15" fmla="*/ 845139 h 923195"/>
                <a:gd name="connsiteX16" fmla="*/ 457418 w 844509"/>
                <a:gd name="connsiteY16" fmla="*/ 911911 h 923195"/>
                <a:gd name="connsiteX17" fmla="*/ 442416 w 844509"/>
                <a:gd name="connsiteY17" fmla="*/ 919077 h 923195"/>
                <a:gd name="connsiteX18" fmla="*/ 425807 w 844509"/>
                <a:gd name="connsiteY18" fmla="*/ 922694 h 923195"/>
                <a:gd name="connsiteX19" fmla="*/ 109428 w 844509"/>
                <a:gd name="connsiteY19" fmla="*/ 775622 h 923195"/>
                <a:gd name="connsiteX20" fmla="*/ 25243 w 844509"/>
                <a:gd name="connsiteY20" fmla="*/ 738385 h 923195"/>
                <a:gd name="connsiteX21" fmla="*/ 20890 w 844509"/>
                <a:gd name="connsiteY21" fmla="*/ 732357 h 923195"/>
                <a:gd name="connsiteX22" fmla="*/ 18412 w 844509"/>
                <a:gd name="connsiteY22" fmla="*/ 670810 h 923195"/>
                <a:gd name="connsiteX23" fmla="*/ 6089 w 844509"/>
                <a:gd name="connsiteY23" fmla="*/ 373987 h 923195"/>
                <a:gd name="connsiteX24" fmla="*/ 26784 w 844509"/>
                <a:gd name="connsiteY24" fmla="*/ 258928 h 923195"/>
                <a:gd name="connsiteX25" fmla="*/ 20488 w 844509"/>
                <a:gd name="connsiteY25" fmla="*/ 207828 h 923195"/>
                <a:gd name="connsiteX26" fmla="*/ 22966 w 844509"/>
                <a:gd name="connsiteY26" fmla="*/ 202604 h 923195"/>
                <a:gd name="connsiteX27" fmla="*/ 30400 w 844509"/>
                <a:gd name="connsiteY27" fmla="*/ 202403 h 923195"/>
                <a:gd name="connsiteX28" fmla="*/ 36763 w 844509"/>
                <a:gd name="connsiteY28" fmla="*/ 202135 h 923195"/>
                <a:gd name="connsiteX29" fmla="*/ 125166 w 844509"/>
                <a:gd name="connsiteY29" fmla="*/ 210440 h 923195"/>
                <a:gd name="connsiteX30" fmla="*/ 88198 w 844509"/>
                <a:gd name="connsiteY30" fmla="*/ 241247 h 923195"/>
                <a:gd name="connsiteX31" fmla="*/ 78888 w 844509"/>
                <a:gd name="connsiteY31" fmla="*/ 245667 h 923195"/>
                <a:gd name="connsiteX32" fmla="*/ 78018 w 844509"/>
                <a:gd name="connsiteY32" fmla="*/ 250623 h 923195"/>
                <a:gd name="connsiteX33" fmla="*/ 73865 w 844509"/>
                <a:gd name="connsiteY33" fmla="*/ 323088 h 923195"/>
                <a:gd name="connsiteX34" fmla="*/ 54979 w 844509"/>
                <a:gd name="connsiteY34" fmla="*/ 442567 h 923195"/>
                <a:gd name="connsiteX35" fmla="*/ 58462 w 844509"/>
                <a:gd name="connsiteY35" fmla="*/ 531707 h 923195"/>
                <a:gd name="connsiteX36" fmla="*/ 75741 w 844509"/>
                <a:gd name="connsiteY36" fmla="*/ 690433 h 923195"/>
                <a:gd name="connsiteX37" fmla="*/ 82780 w 844509"/>
                <a:gd name="connsiteY37" fmla="*/ 697049 h 923195"/>
                <a:gd name="connsiteX38" fmla="*/ 83443 w 844509"/>
                <a:gd name="connsiteY38" fmla="*/ 696996 h 923195"/>
                <a:gd name="connsiteX39" fmla="*/ 139030 w 844509"/>
                <a:gd name="connsiteY39" fmla="*/ 696192 h 923195"/>
                <a:gd name="connsiteX40" fmla="*/ 141481 w 844509"/>
                <a:gd name="connsiteY40" fmla="*/ 703961 h 923195"/>
                <a:gd name="connsiteX41" fmla="*/ 139833 w 844509"/>
                <a:gd name="connsiteY41" fmla="*/ 705903 h 923195"/>
                <a:gd name="connsiteX42" fmla="*/ 122086 w 844509"/>
                <a:gd name="connsiteY42" fmla="*/ 719097 h 923195"/>
                <a:gd name="connsiteX43" fmla="*/ 123358 w 844509"/>
                <a:gd name="connsiteY43" fmla="*/ 730348 h 923195"/>
                <a:gd name="connsiteX44" fmla="*/ 251008 w 844509"/>
                <a:gd name="connsiteY44" fmla="*/ 795245 h 923195"/>
                <a:gd name="connsiteX45" fmla="*/ 377988 w 844509"/>
                <a:gd name="connsiteY45" fmla="*/ 850095 h 923195"/>
                <a:gd name="connsiteX46" fmla="*/ 469607 w 844509"/>
                <a:gd name="connsiteY46" fmla="*/ 848823 h 923195"/>
                <a:gd name="connsiteX47" fmla="*/ 539459 w 844509"/>
                <a:gd name="connsiteY47" fmla="*/ 817346 h 923195"/>
                <a:gd name="connsiteX48" fmla="*/ 694367 w 844509"/>
                <a:gd name="connsiteY48" fmla="*/ 742470 h 923195"/>
                <a:gd name="connsiteX49" fmla="*/ 713120 w 844509"/>
                <a:gd name="connsiteY49" fmla="*/ 737916 h 923195"/>
                <a:gd name="connsiteX50" fmla="*/ 715531 w 844509"/>
                <a:gd name="connsiteY50" fmla="*/ 733965 h 923195"/>
                <a:gd name="connsiteX51" fmla="*/ 709570 w 844509"/>
                <a:gd name="connsiteY51" fmla="*/ 694451 h 923195"/>
                <a:gd name="connsiteX52" fmla="*/ 723433 w 844509"/>
                <a:gd name="connsiteY52" fmla="*/ 687620 h 923195"/>
                <a:gd name="connsiteX53" fmla="*/ 757723 w 844509"/>
                <a:gd name="connsiteY53" fmla="*/ 695590 h 923195"/>
                <a:gd name="connsiteX54" fmla="*/ 762016 w 844509"/>
                <a:gd name="connsiteY54" fmla="*/ 692904 h 923195"/>
                <a:gd name="connsiteX55" fmla="*/ 762077 w 844509"/>
                <a:gd name="connsiteY55" fmla="*/ 692576 h 923195"/>
                <a:gd name="connsiteX56" fmla="*/ 788530 w 844509"/>
                <a:gd name="connsiteY56" fmla="*/ 540749 h 923195"/>
                <a:gd name="connsiteX57" fmla="*/ 788665 w 844509"/>
                <a:gd name="connsiteY57" fmla="*/ 512017 h 923195"/>
                <a:gd name="connsiteX58" fmla="*/ 785517 w 844509"/>
                <a:gd name="connsiteY58" fmla="*/ 470963 h 923195"/>
                <a:gd name="connsiteX59" fmla="*/ 767233 w 844509"/>
                <a:gd name="connsiteY59" fmla="*/ 291878 h 923195"/>
                <a:gd name="connsiteX60" fmla="*/ 773328 w 844509"/>
                <a:gd name="connsiteY60" fmla="*/ 250087 h 923195"/>
                <a:gd name="connsiteX61" fmla="*/ 770173 w 844509"/>
                <a:gd name="connsiteY61" fmla="*/ 239760 h 923195"/>
                <a:gd name="connsiteX62" fmla="*/ 765827 w 844509"/>
                <a:gd name="connsiteY62" fmla="*/ 238903 h 923195"/>
                <a:gd name="connsiteX63" fmla="*/ 712182 w 844509"/>
                <a:gd name="connsiteY63" fmla="*/ 206756 h 923195"/>
                <a:gd name="connsiteX64" fmla="*/ 472889 w 844509"/>
                <a:gd name="connsiteY64" fmla="*/ 78503 h 923195"/>
                <a:gd name="connsiteX65" fmla="*/ 389374 w 844509"/>
                <a:gd name="connsiteY65" fmla="*/ 77298 h 923195"/>
                <a:gd name="connsiteX66" fmla="*/ 238886 w 844509"/>
                <a:gd name="connsiteY66" fmla="*/ 141659 h 923195"/>
                <a:gd name="connsiteX67" fmla="*/ 170306 w 844509"/>
                <a:gd name="connsiteY67" fmla="*/ 179967 h 923195"/>
                <a:gd name="connsiteX68" fmla="*/ 147000 w 844509"/>
                <a:gd name="connsiteY68" fmla="*/ 194098 h 923195"/>
                <a:gd name="connsiteX69" fmla="*/ 125166 w 844509"/>
                <a:gd name="connsiteY69" fmla="*/ 210440 h 923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844509" h="923195">
                  <a:moveTo>
                    <a:pt x="36763" y="202135"/>
                  </a:moveTo>
                  <a:cubicBezTo>
                    <a:pt x="47391" y="198565"/>
                    <a:pt x="57209" y="193897"/>
                    <a:pt x="66231" y="188138"/>
                  </a:cubicBezTo>
                  <a:cubicBezTo>
                    <a:pt x="115589" y="156527"/>
                    <a:pt x="176334" y="110115"/>
                    <a:pt x="235805" y="81584"/>
                  </a:cubicBezTo>
                  <a:cubicBezTo>
                    <a:pt x="294293" y="53501"/>
                    <a:pt x="357809" y="26555"/>
                    <a:pt x="426343" y="748"/>
                  </a:cubicBezTo>
                  <a:cubicBezTo>
                    <a:pt x="428399" y="-56"/>
                    <a:pt x="430475" y="-212"/>
                    <a:pt x="432571" y="279"/>
                  </a:cubicBezTo>
                  <a:cubicBezTo>
                    <a:pt x="466593" y="8182"/>
                    <a:pt x="496932" y="23586"/>
                    <a:pt x="528476" y="38454"/>
                  </a:cubicBezTo>
                  <a:cubicBezTo>
                    <a:pt x="591919" y="68411"/>
                    <a:pt x="633000" y="89266"/>
                    <a:pt x="651705" y="101006"/>
                  </a:cubicBezTo>
                  <a:cubicBezTo>
                    <a:pt x="694253" y="127574"/>
                    <a:pt x="737477" y="152977"/>
                    <a:pt x="781365" y="177221"/>
                  </a:cubicBezTo>
                  <a:cubicBezTo>
                    <a:pt x="795208" y="184903"/>
                    <a:pt x="809339" y="191573"/>
                    <a:pt x="823758" y="197246"/>
                  </a:cubicBezTo>
                  <a:cubicBezTo>
                    <a:pt x="827589" y="198760"/>
                    <a:pt x="830168" y="202410"/>
                    <a:pt x="830322" y="206555"/>
                  </a:cubicBezTo>
                  <a:cubicBezTo>
                    <a:pt x="830770" y="219548"/>
                    <a:pt x="834876" y="295964"/>
                    <a:pt x="842645" y="435803"/>
                  </a:cubicBezTo>
                  <a:cubicBezTo>
                    <a:pt x="846529" y="506258"/>
                    <a:pt x="845055" y="581267"/>
                    <a:pt x="831393" y="654870"/>
                  </a:cubicBezTo>
                  <a:cubicBezTo>
                    <a:pt x="826257" y="682282"/>
                    <a:pt x="822265" y="710638"/>
                    <a:pt x="819405" y="739925"/>
                  </a:cubicBezTo>
                  <a:cubicBezTo>
                    <a:pt x="819063" y="743616"/>
                    <a:pt x="816204" y="746583"/>
                    <a:pt x="812507" y="747091"/>
                  </a:cubicBezTo>
                  <a:cubicBezTo>
                    <a:pt x="786970" y="750440"/>
                    <a:pt x="762833" y="758631"/>
                    <a:pt x="740109" y="771670"/>
                  </a:cubicBezTo>
                  <a:cubicBezTo>
                    <a:pt x="697180" y="796316"/>
                    <a:pt x="660948" y="823239"/>
                    <a:pt x="615875" y="845139"/>
                  </a:cubicBezTo>
                  <a:cubicBezTo>
                    <a:pt x="558279" y="873047"/>
                    <a:pt x="505457" y="895302"/>
                    <a:pt x="457418" y="911911"/>
                  </a:cubicBezTo>
                  <a:cubicBezTo>
                    <a:pt x="454022" y="913117"/>
                    <a:pt x="449026" y="915508"/>
                    <a:pt x="442416" y="919077"/>
                  </a:cubicBezTo>
                  <a:cubicBezTo>
                    <a:pt x="435585" y="922781"/>
                    <a:pt x="430046" y="923986"/>
                    <a:pt x="425807" y="922694"/>
                  </a:cubicBezTo>
                  <a:cubicBezTo>
                    <a:pt x="310567" y="888089"/>
                    <a:pt x="205112" y="839065"/>
                    <a:pt x="109428" y="775622"/>
                  </a:cubicBezTo>
                  <a:cubicBezTo>
                    <a:pt x="79625" y="755865"/>
                    <a:pt x="56118" y="746422"/>
                    <a:pt x="25243" y="738385"/>
                  </a:cubicBezTo>
                  <a:cubicBezTo>
                    <a:pt x="22531" y="737682"/>
                    <a:pt x="20702" y="735150"/>
                    <a:pt x="20890" y="732357"/>
                  </a:cubicBezTo>
                  <a:cubicBezTo>
                    <a:pt x="22451" y="707892"/>
                    <a:pt x="21627" y="687372"/>
                    <a:pt x="18412" y="670810"/>
                  </a:cubicBezTo>
                  <a:cubicBezTo>
                    <a:pt x="-923" y="570438"/>
                    <a:pt x="-5028" y="471499"/>
                    <a:pt x="6089" y="373987"/>
                  </a:cubicBezTo>
                  <a:cubicBezTo>
                    <a:pt x="10375" y="335879"/>
                    <a:pt x="19952" y="300049"/>
                    <a:pt x="26784" y="258928"/>
                  </a:cubicBezTo>
                  <a:cubicBezTo>
                    <a:pt x="29596" y="241716"/>
                    <a:pt x="23837" y="225642"/>
                    <a:pt x="20488" y="207828"/>
                  </a:cubicBezTo>
                  <a:cubicBezTo>
                    <a:pt x="20039" y="205504"/>
                    <a:pt x="20870" y="203762"/>
                    <a:pt x="22966" y="202604"/>
                  </a:cubicBezTo>
                  <a:cubicBezTo>
                    <a:pt x="24620" y="201713"/>
                    <a:pt x="27098" y="201646"/>
                    <a:pt x="30400" y="202403"/>
                  </a:cubicBezTo>
                  <a:cubicBezTo>
                    <a:pt x="32543" y="202892"/>
                    <a:pt x="34666" y="202805"/>
                    <a:pt x="36763" y="202135"/>
                  </a:cubicBezTo>
                  <a:close/>
                  <a:moveTo>
                    <a:pt x="125166" y="210440"/>
                  </a:moveTo>
                  <a:lnTo>
                    <a:pt x="88198" y="241247"/>
                  </a:lnTo>
                  <a:cubicBezTo>
                    <a:pt x="84534" y="242319"/>
                    <a:pt x="81433" y="243792"/>
                    <a:pt x="78888" y="245667"/>
                  </a:cubicBezTo>
                  <a:cubicBezTo>
                    <a:pt x="77100" y="247054"/>
                    <a:pt x="76812" y="248701"/>
                    <a:pt x="78018" y="250623"/>
                  </a:cubicBezTo>
                  <a:cubicBezTo>
                    <a:pt x="88398" y="267366"/>
                    <a:pt x="78621" y="305809"/>
                    <a:pt x="73865" y="323088"/>
                  </a:cubicBezTo>
                  <a:cubicBezTo>
                    <a:pt x="61496" y="368006"/>
                    <a:pt x="55200" y="407828"/>
                    <a:pt x="54979" y="442567"/>
                  </a:cubicBezTo>
                  <a:cubicBezTo>
                    <a:pt x="54845" y="462880"/>
                    <a:pt x="56004" y="492595"/>
                    <a:pt x="58462" y="531707"/>
                  </a:cubicBezTo>
                  <a:cubicBezTo>
                    <a:pt x="61743" y="584683"/>
                    <a:pt x="74066" y="635180"/>
                    <a:pt x="75741" y="690433"/>
                  </a:cubicBezTo>
                  <a:cubicBezTo>
                    <a:pt x="75855" y="694203"/>
                    <a:pt x="79009" y="697163"/>
                    <a:pt x="82780" y="697049"/>
                  </a:cubicBezTo>
                  <a:cubicBezTo>
                    <a:pt x="83000" y="697043"/>
                    <a:pt x="83221" y="697023"/>
                    <a:pt x="83443" y="696996"/>
                  </a:cubicBezTo>
                  <a:cubicBezTo>
                    <a:pt x="107820" y="693915"/>
                    <a:pt x="124363" y="688691"/>
                    <a:pt x="139030" y="696192"/>
                  </a:cubicBezTo>
                  <a:cubicBezTo>
                    <a:pt x="141849" y="697659"/>
                    <a:pt x="142948" y="701142"/>
                    <a:pt x="141481" y="703961"/>
                  </a:cubicBezTo>
                  <a:cubicBezTo>
                    <a:pt x="141079" y="704725"/>
                    <a:pt x="140517" y="705388"/>
                    <a:pt x="139833" y="705903"/>
                  </a:cubicBezTo>
                  <a:lnTo>
                    <a:pt x="122086" y="719097"/>
                  </a:lnTo>
                  <a:cubicBezTo>
                    <a:pt x="116058" y="723564"/>
                    <a:pt x="116480" y="727314"/>
                    <a:pt x="123358" y="730348"/>
                  </a:cubicBezTo>
                  <a:cubicBezTo>
                    <a:pt x="163991" y="748384"/>
                    <a:pt x="206538" y="770016"/>
                    <a:pt x="251008" y="795245"/>
                  </a:cubicBezTo>
                  <a:cubicBezTo>
                    <a:pt x="293469" y="819355"/>
                    <a:pt x="338073" y="835763"/>
                    <a:pt x="377988" y="850095"/>
                  </a:cubicBezTo>
                  <a:cubicBezTo>
                    <a:pt x="412010" y="862284"/>
                    <a:pt x="436656" y="865968"/>
                    <a:pt x="469607" y="848823"/>
                  </a:cubicBezTo>
                  <a:cubicBezTo>
                    <a:pt x="482821" y="841992"/>
                    <a:pt x="506107" y="831497"/>
                    <a:pt x="539459" y="817346"/>
                  </a:cubicBezTo>
                  <a:cubicBezTo>
                    <a:pt x="594645" y="793905"/>
                    <a:pt x="642664" y="767585"/>
                    <a:pt x="694367" y="742470"/>
                  </a:cubicBezTo>
                  <a:cubicBezTo>
                    <a:pt x="701131" y="739189"/>
                    <a:pt x="706489" y="738452"/>
                    <a:pt x="713120" y="737916"/>
                  </a:cubicBezTo>
                  <a:cubicBezTo>
                    <a:pt x="715752" y="737735"/>
                    <a:pt x="716555" y="736423"/>
                    <a:pt x="715531" y="733965"/>
                  </a:cubicBezTo>
                  <a:cubicBezTo>
                    <a:pt x="709436" y="719365"/>
                    <a:pt x="701935" y="710993"/>
                    <a:pt x="709570" y="694451"/>
                  </a:cubicBezTo>
                  <a:cubicBezTo>
                    <a:pt x="711994" y="689180"/>
                    <a:pt x="717781" y="686327"/>
                    <a:pt x="723433" y="687620"/>
                  </a:cubicBezTo>
                  <a:lnTo>
                    <a:pt x="757723" y="695590"/>
                  </a:lnTo>
                  <a:cubicBezTo>
                    <a:pt x="759632" y="696045"/>
                    <a:pt x="761547" y="694846"/>
                    <a:pt x="762016" y="692904"/>
                  </a:cubicBezTo>
                  <a:cubicBezTo>
                    <a:pt x="762043" y="692797"/>
                    <a:pt x="762063" y="692683"/>
                    <a:pt x="762077" y="692576"/>
                  </a:cubicBezTo>
                  <a:cubicBezTo>
                    <a:pt x="768687" y="644804"/>
                    <a:pt x="777500" y="594193"/>
                    <a:pt x="788530" y="540749"/>
                  </a:cubicBezTo>
                  <a:cubicBezTo>
                    <a:pt x="790587" y="530837"/>
                    <a:pt x="790627" y="521260"/>
                    <a:pt x="788665" y="512017"/>
                  </a:cubicBezTo>
                  <a:cubicBezTo>
                    <a:pt x="785497" y="496969"/>
                    <a:pt x="784445" y="483286"/>
                    <a:pt x="785517" y="470963"/>
                  </a:cubicBezTo>
                  <a:cubicBezTo>
                    <a:pt x="791009" y="409750"/>
                    <a:pt x="780226" y="365481"/>
                    <a:pt x="767233" y="291878"/>
                  </a:cubicBezTo>
                  <a:cubicBezTo>
                    <a:pt x="764508" y="276475"/>
                    <a:pt x="766544" y="262544"/>
                    <a:pt x="773328" y="250087"/>
                  </a:cubicBezTo>
                  <a:cubicBezTo>
                    <a:pt x="775310" y="246364"/>
                    <a:pt x="773897" y="241743"/>
                    <a:pt x="770173" y="239760"/>
                  </a:cubicBezTo>
                  <a:cubicBezTo>
                    <a:pt x="768841" y="239050"/>
                    <a:pt x="767327" y="238756"/>
                    <a:pt x="765827" y="238903"/>
                  </a:cubicBezTo>
                  <a:cubicBezTo>
                    <a:pt x="740779" y="241381"/>
                    <a:pt x="726916" y="216534"/>
                    <a:pt x="712182" y="206756"/>
                  </a:cubicBezTo>
                  <a:cubicBezTo>
                    <a:pt x="638425" y="158047"/>
                    <a:pt x="558660" y="115291"/>
                    <a:pt x="472889" y="78503"/>
                  </a:cubicBezTo>
                  <a:cubicBezTo>
                    <a:pt x="447754" y="67701"/>
                    <a:pt x="419913" y="67299"/>
                    <a:pt x="389374" y="77298"/>
                  </a:cubicBezTo>
                  <a:cubicBezTo>
                    <a:pt x="323071" y="98997"/>
                    <a:pt x="272908" y="120448"/>
                    <a:pt x="238886" y="141659"/>
                  </a:cubicBezTo>
                  <a:cubicBezTo>
                    <a:pt x="215934" y="155944"/>
                    <a:pt x="193077" y="168716"/>
                    <a:pt x="170306" y="179967"/>
                  </a:cubicBezTo>
                  <a:cubicBezTo>
                    <a:pt x="162537" y="183851"/>
                    <a:pt x="154768" y="188560"/>
                    <a:pt x="147000" y="194098"/>
                  </a:cubicBezTo>
                  <a:cubicBezTo>
                    <a:pt x="139144" y="199724"/>
                    <a:pt x="131864" y="205169"/>
                    <a:pt x="125166" y="210440"/>
                  </a:cubicBezTo>
                  <a:close/>
                </a:path>
              </a:pathLst>
            </a:custGeom>
            <a:grpFill/>
            <a:ln w="66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8" name="Free-form: Shape 985">
              <a:extLst>
                <a:ext uri="{FF2B5EF4-FFF2-40B4-BE49-F238E27FC236}">
                  <a16:creationId xmlns:a16="http://schemas.microsoft.com/office/drawing/2014/main" id="{4B204FFE-8839-D1F0-B0C7-CBC709901F3D}"/>
                </a:ext>
              </a:extLst>
            </p:cNvPr>
            <p:cNvSpPr/>
            <p:nvPr/>
          </p:nvSpPr>
          <p:spPr>
            <a:xfrm>
              <a:off x="5877670" y="851605"/>
              <a:ext cx="586982" cy="453593"/>
            </a:xfrm>
            <a:custGeom>
              <a:avLst/>
              <a:gdLst>
                <a:gd name="connsiteX0" fmla="*/ 233331 w 586982"/>
                <a:gd name="connsiteY0" fmla="*/ 253980 h 453593"/>
                <a:gd name="connsiteX1" fmla="*/ 339885 w 586982"/>
                <a:gd name="connsiteY1" fmla="*/ 140595 h 453593"/>
                <a:gd name="connsiteX2" fmla="*/ 478853 w 586982"/>
                <a:gd name="connsiteY2" fmla="*/ 2564 h 453593"/>
                <a:gd name="connsiteX3" fmla="*/ 492575 w 586982"/>
                <a:gd name="connsiteY3" fmla="*/ 3133 h 453593"/>
                <a:gd name="connsiteX4" fmla="*/ 492783 w 586982"/>
                <a:gd name="connsiteY4" fmla="*/ 3368 h 453593"/>
                <a:gd name="connsiteX5" fmla="*/ 585139 w 586982"/>
                <a:gd name="connsiteY5" fmla="*/ 109854 h 453593"/>
                <a:gd name="connsiteX6" fmla="*/ 584428 w 586982"/>
                <a:gd name="connsiteY6" fmla="*/ 120396 h 453593"/>
                <a:gd name="connsiteX7" fmla="*/ 584134 w 586982"/>
                <a:gd name="connsiteY7" fmla="*/ 120637 h 453593"/>
                <a:gd name="connsiteX8" fmla="*/ 518166 w 586982"/>
                <a:gd name="connsiteY8" fmla="*/ 174952 h 453593"/>
                <a:gd name="connsiteX9" fmla="*/ 240028 w 586982"/>
                <a:gd name="connsiteY9" fmla="*/ 451415 h 453593"/>
                <a:gd name="connsiteX10" fmla="*/ 230987 w 586982"/>
                <a:gd name="connsiteY10" fmla="*/ 452085 h 453593"/>
                <a:gd name="connsiteX11" fmla="*/ 179686 w 586982"/>
                <a:gd name="connsiteY11" fmla="*/ 405405 h 453593"/>
                <a:gd name="connsiteX12" fmla="*/ 33217 w 586982"/>
                <a:gd name="connsiteY12" fmla="*/ 267374 h 453593"/>
                <a:gd name="connsiteX13" fmla="*/ 4887 w 586982"/>
                <a:gd name="connsiteY13" fmla="*/ 240250 h 453593"/>
                <a:gd name="connsiteX14" fmla="*/ 4887 w 586982"/>
                <a:gd name="connsiteY14" fmla="*/ 224713 h 453593"/>
                <a:gd name="connsiteX15" fmla="*/ 100926 w 586982"/>
                <a:gd name="connsiteY15" fmla="*/ 135706 h 453593"/>
                <a:gd name="connsiteX16" fmla="*/ 112981 w 586982"/>
                <a:gd name="connsiteY16" fmla="*/ 134366 h 453593"/>
                <a:gd name="connsiteX17" fmla="*/ 142583 w 586982"/>
                <a:gd name="connsiteY17" fmla="*/ 160151 h 453593"/>
                <a:gd name="connsiteX18" fmla="*/ 230518 w 586982"/>
                <a:gd name="connsiteY18" fmla="*/ 253913 h 453593"/>
                <a:gd name="connsiteX19" fmla="*/ 233331 w 586982"/>
                <a:gd name="connsiteY19" fmla="*/ 253980 h 453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86982" h="453593">
                  <a:moveTo>
                    <a:pt x="233331" y="253980"/>
                  </a:moveTo>
                  <a:cubicBezTo>
                    <a:pt x="273160" y="212236"/>
                    <a:pt x="308675" y="174436"/>
                    <a:pt x="339885" y="140595"/>
                  </a:cubicBezTo>
                  <a:cubicBezTo>
                    <a:pt x="384221" y="92421"/>
                    <a:pt x="430545" y="46411"/>
                    <a:pt x="478853" y="2564"/>
                  </a:cubicBezTo>
                  <a:cubicBezTo>
                    <a:pt x="482798" y="-1066"/>
                    <a:pt x="488945" y="-811"/>
                    <a:pt x="492575" y="3133"/>
                  </a:cubicBezTo>
                  <a:cubicBezTo>
                    <a:pt x="492642" y="3214"/>
                    <a:pt x="492716" y="3288"/>
                    <a:pt x="492783" y="3368"/>
                  </a:cubicBezTo>
                  <a:lnTo>
                    <a:pt x="585139" y="109854"/>
                  </a:lnTo>
                  <a:cubicBezTo>
                    <a:pt x="587851" y="112989"/>
                    <a:pt x="587536" y="117704"/>
                    <a:pt x="584428" y="120396"/>
                  </a:cubicBezTo>
                  <a:cubicBezTo>
                    <a:pt x="584335" y="120476"/>
                    <a:pt x="584234" y="120557"/>
                    <a:pt x="584134" y="120637"/>
                  </a:cubicBezTo>
                  <a:cubicBezTo>
                    <a:pt x="553012" y="145236"/>
                    <a:pt x="531024" y="163345"/>
                    <a:pt x="518166" y="174952"/>
                  </a:cubicBezTo>
                  <a:cubicBezTo>
                    <a:pt x="415343" y="267421"/>
                    <a:pt x="322626" y="359575"/>
                    <a:pt x="240028" y="451415"/>
                  </a:cubicBezTo>
                  <a:cubicBezTo>
                    <a:pt x="237657" y="454034"/>
                    <a:pt x="233666" y="454335"/>
                    <a:pt x="230987" y="452085"/>
                  </a:cubicBezTo>
                  <a:cubicBezTo>
                    <a:pt x="217458" y="440833"/>
                    <a:pt x="195759" y="423086"/>
                    <a:pt x="179686" y="405405"/>
                  </a:cubicBezTo>
                  <a:cubicBezTo>
                    <a:pt x="134767" y="355932"/>
                    <a:pt x="85944" y="309922"/>
                    <a:pt x="33217" y="267374"/>
                  </a:cubicBezTo>
                  <a:cubicBezTo>
                    <a:pt x="23037" y="259203"/>
                    <a:pt x="14464" y="247952"/>
                    <a:pt x="4887" y="240250"/>
                  </a:cubicBezTo>
                  <a:cubicBezTo>
                    <a:pt x="-1629" y="235073"/>
                    <a:pt x="-1629" y="229890"/>
                    <a:pt x="4887" y="224713"/>
                  </a:cubicBezTo>
                  <a:cubicBezTo>
                    <a:pt x="42211" y="195245"/>
                    <a:pt x="74224" y="165576"/>
                    <a:pt x="100926" y="135706"/>
                  </a:cubicBezTo>
                  <a:cubicBezTo>
                    <a:pt x="104020" y="132257"/>
                    <a:pt x="109204" y="131681"/>
                    <a:pt x="112981" y="134366"/>
                  </a:cubicBezTo>
                  <a:cubicBezTo>
                    <a:pt x="122404" y="141111"/>
                    <a:pt x="132269" y="149703"/>
                    <a:pt x="142583" y="160151"/>
                  </a:cubicBezTo>
                  <a:cubicBezTo>
                    <a:pt x="179820" y="197836"/>
                    <a:pt x="209134" y="229086"/>
                    <a:pt x="230518" y="253913"/>
                  </a:cubicBezTo>
                  <a:cubicBezTo>
                    <a:pt x="231409" y="254937"/>
                    <a:pt x="232347" y="254964"/>
                    <a:pt x="233331" y="253980"/>
                  </a:cubicBezTo>
                  <a:close/>
                </a:path>
              </a:pathLst>
            </a:custGeom>
            <a:grpFill/>
            <a:ln w="66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49" name="Date_and_Tim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2A4F92D-F42A-9BD2-9404-E7B16AFB998A}"/>
              </a:ext>
            </a:extLst>
          </p:cNvPr>
          <p:cNvGrpSpPr>
            <a:grpSpLocks noChangeAspect="1"/>
          </p:cNvGrpSpPr>
          <p:nvPr>
            <p:custDataLst>
              <p:tags r:id="rId55"/>
            </p:custDataLst>
          </p:nvPr>
        </p:nvGrpSpPr>
        <p:grpSpPr bwMode="auto">
          <a:xfrm>
            <a:off x="644979" y="3128963"/>
            <a:ext cx="292703" cy="293998"/>
            <a:chOff x="8" y="10"/>
            <a:chExt cx="452" cy="454"/>
          </a:xfrm>
          <a:solidFill>
            <a:schemeClr val="dk2"/>
          </a:solidFill>
        </p:grpSpPr>
        <p:sp>
          <p:nvSpPr>
            <p:cNvPr id="250" name="Date_and_Time">
              <a:extLst>
                <a:ext uri="{FF2B5EF4-FFF2-40B4-BE49-F238E27FC236}">
                  <a16:creationId xmlns:a16="http://schemas.microsoft.com/office/drawing/2014/main" id="{0FD15579-9A1E-49EC-6446-05AF953C06F3}"/>
                </a:ext>
              </a:extLst>
            </p:cNvPr>
            <p:cNvSpPr>
              <a:spLocks noEditPoints="1"/>
            </p:cNvSpPr>
            <p:nvPr>
              <p:custDataLst>
                <p:tags r:id="rId58"/>
              </p:custDataLst>
            </p:nvPr>
          </p:nvSpPr>
          <p:spPr bwMode="auto">
            <a:xfrm>
              <a:off x="233" y="237"/>
              <a:ext cx="227" cy="227"/>
            </a:xfrm>
            <a:custGeom>
              <a:avLst/>
              <a:gdLst>
                <a:gd name="T0" fmla="*/ 157 w 313"/>
                <a:gd name="T1" fmla="*/ 25 h 313"/>
                <a:gd name="T2" fmla="*/ 288 w 313"/>
                <a:gd name="T3" fmla="*/ 156 h 313"/>
                <a:gd name="T4" fmla="*/ 157 w 313"/>
                <a:gd name="T5" fmla="*/ 288 h 313"/>
                <a:gd name="T6" fmla="*/ 25 w 313"/>
                <a:gd name="T7" fmla="*/ 156 h 313"/>
                <a:gd name="T8" fmla="*/ 157 w 313"/>
                <a:gd name="T9" fmla="*/ 25 h 313"/>
                <a:gd name="T10" fmla="*/ 157 w 313"/>
                <a:gd name="T11" fmla="*/ 0 h 313"/>
                <a:gd name="T12" fmla="*/ 0 w 313"/>
                <a:gd name="T13" fmla="*/ 156 h 313"/>
                <a:gd name="T14" fmla="*/ 157 w 313"/>
                <a:gd name="T15" fmla="*/ 313 h 313"/>
                <a:gd name="T16" fmla="*/ 313 w 313"/>
                <a:gd name="T17" fmla="*/ 156 h 313"/>
                <a:gd name="T18" fmla="*/ 157 w 313"/>
                <a:gd name="T19" fmla="*/ 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3" h="313">
                  <a:moveTo>
                    <a:pt x="157" y="25"/>
                  </a:moveTo>
                  <a:cubicBezTo>
                    <a:pt x="229" y="25"/>
                    <a:pt x="288" y="84"/>
                    <a:pt x="288" y="156"/>
                  </a:cubicBezTo>
                  <a:cubicBezTo>
                    <a:pt x="288" y="229"/>
                    <a:pt x="229" y="288"/>
                    <a:pt x="157" y="288"/>
                  </a:cubicBezTo>
                  <a:cubicBezTo>
                    <a:pt x="84" y="288"/>
                    <a:pt x="25" y="229"/>
                    <a:pt x="25" y="156"/>
                  </a:cubicBezTo>
                  <a:cubicBezTo>
                    <a:pt x="25" y="84"/>
                    <a:pt x="84" y="25"/>
                    <a:pt x="157" y="25"/>
                  </a:cubicBezTo>
                  <a:close/>
                  <a:moveTo>
                    <a:pt x="157" y="0"/>
                  </a:moveTo>
                  <a:cubicBezTo>
                    <a:pt x="70" y="0"/>
                    <a:pt x="0" y="70"/>
                    <a:pt x="0" y="156"/>
                  </a:cubicBezTo>
                  <a:cubicBezTo>
                    <a:pt x="0" y="243"/>
                    <a:pt x="70" y="313"/>
                    <a:pt x="157" y="313"/>
                  </a:cubicBezTo>
                  <a:cubicBezTo>
                    <a:pt x="243" y="313"/>
                    <a:pt x="313" y="243"/>
                    <a:pt x="313" y="156"/>
                  </a:cubicBezTo>
                  <a:cubicBezTo>
                    <a:pt x="313" y="70"/>
                    <a:pt x="243" y="0"/>
                    <a:pt x="15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Date_and_Time">
              <a:extLst>
                <a:ext uri="{FF2B5EF4-FFF2-40B4-BE49-F238E27FC236}">
                  <a16:creationId xmlns:a16="http://schemas.microsoft.com/office/drawing/2014/main" id="{6EE99929-4051-C750-84B5-16E14393815E}"/>
                </a:ext>
              </a:extLst>
            </p:cNvPr>
            <p:cNvSpPr>
              <a:spLocks noChangeArrowheads="1"/>
            </p:cNvSpPr>
            <p:nvPr>
              <p:custDataLst>
                <p:tags r:id="rId59"/>
              </p:custDataLst>
            </p:nvPr>
          </p:nvSpPr>
          <p:spPr bwMode="auto">
            <a:xfrm>
              <a:off x="17" y="142"/>
              <a:ext cx="385" cy="1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Date_and_Time">
              <a:extLst>
                <a:ext uri="{FF2B5EF4-FFF2-40B4-BE49-F238E27FC236}">
                  <a16:creationId xmlns:a16="http://schemas.microsoft.com/office/drawing/2014/main" id="{14D8218C-CC79-DBA0-1F97-5F6DD6FDD19E}"/>
                </a:ext>
              </a:extLst>
            </p:cNvPr>
            <p:cNvSpPr>
              <a:spLocks noChangeArrowheads="1"/>
            </p:cNvSpPr>
            <p:nvPr>
              <p:custDataLst>
                <p:tags r:id="rId60"/>
              </p:custDataLst>
            </p:nvPr>
          </p:nvSpPr>
          <p:spPr bwMode="auto">
            <a:xfrm>
              <a:off x="88" y="10"/>
              <a:ext cx="19" cy="7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Date_and_Time">
              <a:extLst>
                <a:ext uri="{FF2B5EF4-FFF2-40B4-BE49-F238E27FC236}">
                  <a16:creationId xmlns:a16="http://schemas.microsoft.com/office/drawing/2014/main" id="{E0176063-35E2-B75D-CAB7-2648B49929CF}"/>
                </a:ext>
              </a:extLst>
            </p:cNvPr>
            <p:cNvSpPr>
              <a:spLocks noChangeArrowheads="1"/>
            </p:cNvSpPr>
            <p:nvPr>
              <p:custDataLst>
                <p:tags r:id="rId61"/>
              </p:custDataLst>
            </p:nvPr>
          </p:nvSpPr>
          <p:spPr bwMode="auto">
            <a:xfrm>
              <a:off x="196" y="10"/>
              <a:ext cx="19" cy="7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4" name="Date_and_Time">
              <a:extLst>
                <a:ext uri="{FF2B5EF4-FFF2-40B4-BE49-F238E27FC236}">
                  <a16:creationId xmlns:a16="http://schemas.microsoft.com/office/drawing/2014/main" id="{CD1D7784-4657-EBC4-9934-62EAC218FD32}"/>
                </a:ext>
              </a:extLst>
            </p:cNvPr>
            <p:cNvSpPr>
              <a:spLocks noChangeArrowheads="1"/>
            </p:cNvSpPr>
            <p:nvPr>
              <p:custDataLst>
                <p:tags r:id="rId62"/>
              </p:custDataLst>
            </p:nvPr>
          </p:nvSpPr>
          <p:spPr bwMode="auto">
            <a:xfrm>
              <a:off x="307" y="10"/>
              <a:ext cx="18" cy="7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5" name="Date_and_Time">
              <a:extLst>
                <a:ext uri="{FF2B5EF4-FFF2-40B4-BE49-F238E27FC236}">
                  <a16:creationId xmlns:a16="http://schemas.microsoft.com/office/drawing/2014/main" id="{9D6F5968-466F-229E-BEDC-2C67466E19C6}"/>
                </a:ext>
              </a:extLst>
            </p:cNvPr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8" y="38"/>
              <a:ext cx="402" cy="398"/>
            </a:xfrm>
            <a:custGeom>
              <a:avLst/>
              <a:gdLst>
                <a:gd name="T0" fmla="*/ 373 w 555"/>
                <a:gd name="T1" fmla="*/ 549 h 549"/>
                <a:gd name="T2" fmla="*/ 0 w 555"/>
                <a:gd name="T3" fmla="*/ 549 h 549"/>
                <a:gd name="T4" fmla="*/ 0 w 555"/>
                <a:gd name="T5" fmla="*/ 0 h 549"/>
                <a:gd name="T6" fmla="*/ 555 w 555"/>
                <a:gd name="T7" fmla="*/ 0 h 549"/>
                <a:gd name="T8" fmla="*/ 555 w 555"/>
                <a:gd name="T9" fmla="*/ 305 h 549"/>
                <a:gd name="T10" fmla="*/ 530 w 555"/>
                <a:gd name="T11" fmla="*/ 305 h 549"/>
                <a:gd name="T12" fmla="*/ 530 w 555"/>
                <a:gd name="T13" fmla="*/ 25 h 549"/>
                <a:gd name="T14" fmla="*/ 25 w 555"/>
                <a:gd name="T15" fmla="*/ 25 h 549"/>
                <a:gd name="T16" fmla="*/ 25 w 555"/>
                <a:gd name="T17" fmla="*/ 524 h 549"/>
                <a:gd name="T18" fmla="*/ 373 w 555"/>
                <a:gd name="T19" fmla="*/ 524 h 549"/>
                <a:gd name="T20" fmla="*/ 373 w 555"/>
                <a:gd name="T21" fmla="*/ 549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5" h="549">
                  <a:moveTo>
                    <a:pt x="373" y="549"/>
                  </a:moveTo>
                  <a:lnTo>
                    <a:pt x="0" y="549"/>
                  </a:lnTo>
                  <a:lnTo>
                    <a:pt x="0" y="0"/>
                  </a:lnTo>
                  <a:lnTo>
                    <a:pt x="555" y="0"/>
                  </a:lnTo>
                  <a:lnTo>
                    <a:pt x="555" y="305"/>
                  </a:lnTo>
                  <a:lnTo>
                    <a:pt x="530" y="305"/>
                  </a:lnTo>
                  <a:lnTo>
                    <a:pt x="530" y="25"/>
                  </a:lnTo>
                  <a:lnTo>
                    <a:pt x="25" y="25"/>
                  </a:lnTo>
                  <a:lnTo>
                    <a:pt x="25" y="524"/>
                  </a:lnTo>
                  <a:lnTo>
                    <a:pt x="373" y="524"/>
                  </a:lnTo>
                  <a:lnTo>
                    <a:pt x="373" y="54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Date_and_Time">
              <a:extLst>
                <a:ext uri="{FF2B5EF4-FFF2-40B4-BE49-F238E27FC236}">
                  <a16:creationId xmlns:a16="http://schemas.microsoft.com/office/drawing/2014/main" id="{A6802665-30DB-9BA4-9712-EF42CD6D841A}"/>
                </a:ext>
              </a:extLst>
            </p:cNvPr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338" y="279"/>
              <a:ext cx="79" cy="86"/>
            </a:xfrm>
            <a:custGeom>
              <a:avLst/>
              <a:gdLst>
                <a:gd name="T0" fmla="*/ 109 w 109"/>
                <a:gd name="T1" fmla="*/ 118 h 118"/>
                <a:gd name="T2" fmla="*/ 0 w 109"/>
                <a:gd name="T3" fmla="*/ 118 h 118"/>
                <a:gd name="T4" fmla="*/ 0 w 109"/>
                <a:gd name="T5" fmla="*/ 0 h 118"/>
                <a:gd name="T6" fmla="*/ 25 w 109"/>
                <a:gd name="T7" fmla="*/ 0 h 118"/>
                <a:gd name="T8" fmla="*/ 25 w 109"/>
                <a:gd name="T9" fmla="*/ 93 h 118"/>
                <a:gd name="T10" fmla="*/ 109 w 109"/>
                <a:gd name="T11" fmla="*/ 93 h 118"/>
                <a:gd name="T12" fmla="*/ 109 w 109"/>
                <a:gd name="T1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" h="118">
                  <a:moveTo>
                    <a:pt x="109" y="118"/>
                  </a:moveTo>
                  <a:lnTo>
                    <a:pt x="0" y="118"/>
                  </a:lnTo>
                  <a:lnTo>
                    <a:pt x="0" y="0"/>
                  </a:lnTo>
                  <a:lnTo>
                    <a:pt x="25" y="0"/>
                  </a:lnTo>
                  <a:lnTo>
                    <a:pt x="25" y="93"/>
                  </a:lnTo>
                  <a:lnTo>
                    <a:pt x="109" y="93"/>
                  </a:lnTo>
                  <a:lnTo>
                    <a:pt x="109" y="11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7" name="Handshake9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4650BBB-B934-FEBA-9D4F-A198F1D48008}"/>
              </a:ext>
            </a:extLst>
          </p:cNvPr>
          <p:cNvGrpSpPr>
            <a:grpSpLocks noChangeAspect="1"/>
          </p:cNvGrpSpPr>
          <p:nvPr/>
        </p:nvGrpSpPr>
        <p:grpSpPr>
          <a:xfrm>
            <a:off x="644979" y="4214852"/>
            <a:ext cx="298382" cy="222220"/>
            <a:chOff x="3788774" y="-1380672"/>
            <a:chExt cx="1198730" cy="892753"/>
          </a:xfrm>
          <a:solidFill>
            <a:schemeClr val="dk2"/>
          </a:solidFill>
        </p:grpSpPr>
        <p:sp>
          <p:nvSpPr>
            <p:cNvPr id="258" name="Free-form: Shape 806">
              <a:extLst>
                <a:ext uri="{FF2B5EF4-FFF2-40B4-BE49-F238E27FC236}">
                  <a16:creationId xmlns:a16="http://schemas.microsoft.com/office/drawing/2014/main" id="{DF1EA40B-4C53-F195-4538-5CB225282225}"/>
                </a:ext>
              </a:extLst>
            </p:cNvPr>
            <p:cNvSpPr/>
            <p:nvPr/>
          </p:nvSpPr>
          <p:spPr>
            <a:xfrm>
              <a:off x="4487368" y="-1380672"/>
              <a:ext cx="254175" cy="258991"/>
            </a:xfrm>
            <a:custGeom>
              <a:avLst/>
              <a:gdLst>
                <a:gd name="connsiteX0" fmla="*/ 132507 w 254175"/>
                <a:gd name="connsiteY0" fmla="*/ 0 h 258991"/>
                <a:gd name="connsiteX1" fmla="*/ 215273 w 254175"/>
                <a:gd name="connsiteY1" fmla="*/ 36018 h 258991"/>
                <a:gd name="connsiteX2" fmla="*/ 250983 w 254175"/>
                <a:gd name="connsiteY2" fmla="*/ 158233 h 258991"/>
                <a:gd name="connsiteX3" fmla="*/ 205510 w 254175"/>
                <a:gd name="connsiteY3" fmla="*/ 231412 h 258991"/>
                <a:gd name="connsiteX4" fmla="*/ 76347 w 254175"/>
                <a:gd name="connsiteY4" fmla="*/ 248124 h 258991"/>
                <a:gd name="connsiteX5" fmla="*/ 15262 w 254175"/>
                <a:gd name="connsiteY5" fmla="*/ 190952 h 258991"/>
                <a:gd name="connsiteX6" fmla="*/ 45 w 254175"/>
                <a:gd name="connsiteY6" fmla="*/ 132462 h 258991"/>
                <a:gd name="connsiteX7" fmla="*/ 12271 w 254175"/>
                <a:gd name="connsiteY7" fmla="*/ 74982 h 258991"/>
                <a:gd name="connsiteX8" fmla="*/ 121248 w 254175"/>
                <a:gd name="connsiteY8" fmla="*/ 0 h 258991"/>
                <a:gd name="connsiteX9" fmla="*/ 132507 w 254175"/>
                <a:gd name="connsiteY9" fmla="*/ 0 h 258991"/>
                <a:gd name="connsiteX10" fmla="*/ 125464 w 254175"/>
                <a:gd name="connsiteY10" fmla="*/ 228363 h 258991"/>
                <a:gd name="connsiteX11" fmla="*/ 223659 w 254175"/>
                <a:gd name="connsiteY11" fmla="*/ 131419 h 258991"/>
                <a:gd name="connsiteX12" fmla="*/ 128907 w 254175"/>
                <a:gd name="connsiteY12" fmla="*/ 31108 h 258991"/>
                <a:gd name="connsiteX13" fmla="*/ 30713 w 254175"/>
                <a:gd name="connsiteY13" fmla="*/ 128051 h 258991"/>
                <a:gd name="connsiteX14" fmla="*/ 125464 w 254175"/>
                <a:gd name="connsiteY14" fmla="*/ 228363 h 258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54175" h="258991">
                  <a:moveTo>
                    <a:pt x="132507" y="0"/>
                  </a:moveTo>
                  <a:cubicBezTo>
                    <a:pt x="167015" y="2551"/>
                    <a:pt x="194604" y="14557"/>
                    <a:pt x="215273" y="36018"/>
                  </a:cubicBezTo>
                  <a:cubicBezTo>
                    <a:pt x="248638" y="70702"/>
                    <a:pt x="260541" y="111440"/>
                    <a:pt x="250983" y="158233"/>
                  </a:cubicBezTo>
                  <a:cubicBezTo>
                    <a:pt x="245061" y="187229"/>
                    <a:pt x="229903" y="211622"/>
                    <a:pt x="205510" y="231412"/>
                  </a:cubicBezTo>
                  <a:cubicBezTo>
                    <a:pt x="169272" y="260789"/>
                    <a:pt x="118610" y="267254"/>
                    <a:pt x="76347" y="248124"/>
                  </a:cubicBezTo>
                  <a:cubicBezTo>
                    <a:pt x="49374" y="235957"/>
                    <a:pt x="29012" y="216899"/>
                    <a:pt x="15262" y="190952"/>
                  </a:cubicBezTo>
                  <a:cubicBezTo>
                    <a:pt x="5704" y="172892"/>
                    <a:pt x="632" y="153395"/>
                    <a:pt x="45" y="132462"/>
                  </a:cubicBezTo>
                  <a:cubicBezTo>
                    <a:pt x="-482" y="113199"/>
                    <a:pt x="3593" y="94040"/>
                    <a:pt x="12271" y="74982"/>
                  </a:cubicBezTo>
                  <a:cubicBezTo>
                    <a:pt x="32296" y="31063"/>
                    <a:pt x="68622" y="6069"/>
                    <a:pt x="121248" y="0"/>
                  </a:cubicBezTo>
                  <a:lnTo>
                    <a:pt x="132507" y="0"/>
                  </a:lnTo>
                  <a:close/>
                  <a:moveTo>
                    <a:pt x="125464" y="228363"/>
                  </a:moveTo>
                  <a:cubicBezTo>
                    <a:pt x="178744" y="229293"/>
                    <a:pt x="222708" y="185890"/>
                    <a:pt x="223659" y="131419"/>
                  </a:cubicBezTo>
                  <a:cubicBezTo>
                    <a:pt x="224609" y="76949"/>
                    <a:pt x="182188" y="32038"/>
                    <a:pt x="128907" y="31108"/>
                  </a:cubicBezTo>
                  <a:cubicBezTo>
                    <a:pt x="75627" y="30178"/>
                    <a:pt x="31664" y="73581"/>
                    <a:pt x="30713" y="128051"/>
                  </a:cubicBezTo>
                  <a:cubicBezTo>
                    <a:pt x="29762" y="182522"/>
                    <a:pt x="72183" y="227433"/>
                    <a:pt x="125464" y="228363"/>
                  </a:cubicBezTo>
                  <a:close/>
                </a:path>
              </a:pathLst>
            </a:custGeom>
            <a:grpFill/>
            <a:ln w="43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9" name="Free-form: Shape 807">
              <a:extLst>
                <a:ext uri="{FF2B5EF4-FFF2-40B4-BE49-F238E27FC236}">
                  <a16:creationId xmlns:a16="http://schemas.microsoft.com/office/drawing/2014/main" id="{7EA99213-BE72-D446-4278-9D6115E166AB}"/>
                </a:ext>
              </a:extLst>
            </p:cNvPr>
            <p:cNvSpPr/>
            <p:nvPr/>
          </p:nvSpPr>
          <p:spPr>
            <a:xfrm>
              <a:off x="4025645" y="-1375878"/>
              <a:ext cx="258678" cy="258678"/>
            </a:xfrm>
            <a:custGeom>
              <a:avLst/>
              <a:gdLst>
                <a:gd name="connsiteX0" fmla="*/ 258678 w 258678"/>
                <a:gd name="connsiteY0" fmla="*/ 129339 h 258678"/>
                <a:gd name="connsiteX1" fmla="*/ 129339 w 258678"/>
                <a:gd name="connsiteY1" fmla="*/ 258678 h 258678"/>
                <a:gd name="connsiteX2" fmla="*/ 0 w 258678"/>
                <a:gd name="connsiteY2" fmla="*/ 129339 h 258678"/>
                <a:gd name="connsiteX3" fmla="*/ 129339 w 258678"/>
                <a:gd name="connsiteY3" fmla="*/ 0 h 258678"/>
                <a:gd name="connsiteX4" fmla="*/ 258678 w 258678"/>
                <a:gd name="connsiteY4" fmla="*/ 129339 h 258678"/>
                <a:gd name="connsiteX5" fmla="*/ 227982 w 258678"/>
                <a:gd name="connsiteY5" fmla="*/ 129339 h 258678"/>
                <a:gd name="connsiteX6" fmla="*/ 129339 w 258678"/>
                <a:gd name="connsiteY6" fmla="*/ 30697 h 258678"/>
                <a:gd name="connsiteX7" fmla="*/ 30697 w 258678"/>
                <a:gd name="connsiteY7" fmla="*/ 129339 h 258678"/>
                <a:gd name="connsiteX8" fmla="*/ 129339 w 258678"/>
                <a:gd name="connsiteY8" fmla="*/ 227982 h 258678"/>
                <a:gd name="connsiteX9" fmla="*/ 227982 w 258678"/>
                <a:gd name="connsiteY9" fmla="*/ 129339 h 258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678" h="258678">
                  <a:moveTo>
                    <a:pt x="258678" y="129339"/>
                  </a:moveTo>
                  <a:cubicBezTo>
                    <a:pt x="258678" y="200771"/>
                    <a:pt x="200771" y="258678"/>
                    <a:pt x="129339" y="258678"/>
                  </a:cubicBezTo>
                  <a:cubicBezTo>
                    <a:pt x="57907" y="258678"/>
                    <a:pt x="0" y="200771"/>
                    <a:pt x="0" y="129339"/>
                  </a:cubicBezTo>
                  <a:cubicBezTo>
                    <a:pt x="0" y="57907"/>
                    <a:pt x="57907" y="0"/>
                    <a:pt x="129339" y="0"/>
                  </a:cubicBezTo>
                  <a:cubicBezTo>
                    <a:pt x="200771" y="0"/>
                    <a:pt x="258678" y="57907"/>
                    <a:pt x="258678" y="129339"/>
                  </a:cubicBezTo>
                  <a:close/>
                  <a:moveTo>
                    <a:pt x="227982" y="129339"/>
                  </a:moveTo>
                  <a:cubicBezTo>
                    <a:pt x="227982" y="74860"/>
                    <a:pt x="183818" y="30697"/>
                    <a:pt x="129339" y="30697"/>
                  </a:cubicBezTo>
                  <a:cubicBezTo>
                    <a:pt x="74860" y="30697"/>
                    <a:pt x="30697" y="74860"/>
                    <a:pt x="30697" y="129339"/>
                  </a:cubicBezTo>
                  <a:cubicBezTo>
                    <a:pt x="30697" y="183818"/>
                    <a:pt x="74860" y="227982"/>
                    <a:pt x="129339" y="227982"/>
                  </a:cubicBezTo>
                  <a:cubicBezTo>
                    <a:pt x="183818" y="227982"/>
                    <a:pt x="227982" y="183818"/>
                    <a:pt x="227982" y="129339"/>
                  </a:cubicBezTo>
                  <a:close/>
                </a:path>
              </a:pathLst>
            </a:custGeom>
            <a:grpFill/>
            <a:ln w="43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0" name="Free-form: Shape 808">
              <a:extLst>
                <a:ext uri="{FF2B5EF4-FFF2-40B4-BE49-F238E27FC236}">
                  <a16:creationId xmlns:a16="http://schemas.microsoft.com/office/drawing/2014/main" id="{A814D38B-3E91-84AB-7372-814E6F02C370}"/>
                </a:ext>
              </a:extLst>
            </p:cNvPr>
            <p:cNvSpPr/>
            <p:nvPr/>
          </p:nvSpPr>
          <p:spPr>
            <a:xfrm>
              <a:off x="3788774" y="-1141714"/>
              <a:ext cx="1198730" cy="653795"/>
            </a:xfrm>
            <a:custGeom>
              <a:avLst/>
              <a:gdLst>
                <a:gd name="connsiteX0" fmla="*/ 1178086 w 1198730"/>
                <a:gd name="connsiteY0" fmla="*/ 653795 h 653795"/>
                <a:gd name="connsiteX1" fmla="*/ 25469 w 1198730"/>
                <a:gd name="connsiteY1" fmla="*/ 653795 h 653795"/>
                <a:gd name="connsiteX2" fmla="*/ 12760 w 1198730"/>
                <a:gd name="connsiteY2" fmla="*/ 637787 h 653795"/>
                <a:gd name="connsiteX3" fmla="*/ 21115 w 1198730"/>
                <a:gd name="connsiteY3" fmla="*/ 622747 h 653795"/>
                <a:gd name="connsiteX4" fmla="*/ 72525 w 1198730"/>
                <a:gd name="connsiteY4" fmla="*/ 567247 h 653795"/>
                <a:gd name="connsiteX5" fmla="*/ 72921 w 1198730"/>
                <a:gd name="connsiteY5" fmla="*/ 563597 h 653795"/>
                <a:gd name="connsiteX6" fmla="*/ 28592 w 1198730"/>
                <a:gd name="connsiteY6" fmla="*/ 473090 h 653795"/>
                <a:gd name="connsiteX7" fmla="*/ 4843 w 1198730"/>
                <a:gd name="connsiteY7" fmla="*/ 398855 h 653795"/>
                <a:gd name="connsiteX8" fmla="*/ 20324 w 1198730"/>
                <a:gd name="connsiteY8" fmla="*/ 244141 h 653795"/>
                <a:gd name="connsiteX9" fmla="*/ 129653 w 1198730"/>
                <a:gd name="connsiteY9" fmla="*/ 50066 h 653795"/>
                <a:gd name="connsiteX10" fmla="*/ 151246 w 1198730"/>
                <a:gd name="connsiteY10" fmla="*/ 32211 h 653795"/>
                <a:gd name="connsiteX11" fmla="*/ 252175 w 1198730"/>
                <a:gd name="connsiteY11" fmla="*/ 12640 h 653795"/>
                <a:gd name="connsiteX12" fmla="*/ 316075 w 1198730"/>
                <a:gd name="connsiteY12" fmla="*/ 42458 h 653795"/>
                <a:gd name="connsiteX13" fmla="*/ 358690 w 1198730"/>
                <a:gd name="connsiteY13" fmla="*/ 95979 h 653795"/>
                <a:gd name="connsiteX14" fmla="*/ 432485 w 1198730"/>
                <a:gd name="connsiteY14" fmla="*/ 206407 h 653795"/>
                <a:gd name="connsiteX15" fmla="*/ 437102 w 1198730"/>
                <a:gd name="connsiteY15" fmla="*/ 209486 h 653795"/>
                <a:gd name="connsiteX16" fmla="*/ 595951 w 1198730"/>
                <a:gd name="connsiteY16" fmla="*/ 244800 h 653795"/>
                <a:gd name="connsiteX17" fmla="*/ 604966 w 1198730"/>
                <a:gd name="connsiteY17" fmla="*/ 245064 h 653795"/>
                <a:gd name="connsiteX18" fmla="*/ 616312 w 1198730"/>
                <a:gd name="connsiteY18" fmla="*/ 240314 h 653795"/>
                <a:gd name="connsiteX19" fmla="*/ 775468 w 1198730"/>
                <a:gd name="connsiteY19" fmla="*/ 202361 h 653795"/>
                <a:gd name="connsiteX20" fmla="*/ 792356 w 1198730"/>
                <a:gd name="connsiteY20" fmla="*/ 189432 h 653795"/>
                <a:gd name="connsiteX21" fmla="*/ 866943 w 1198730"/>
                <a:gd name="connsiteY21" fmla="*/ 101256 h 653795"/>
                <a:gd name="connsiteX22" fmla="*/ 875518 w 1198730"/>
                <a:gd name="connsiteY22" fmla="*/ 90394 h 653795"/>
                <a:gd name="connsiteX23" fmla="*/ 879872 w 1198730"/>
                <a:gd name="connsiteY23" fmla="*/ 77596 h 653795"/>
                <a:gd name="connsiteX24" fmla="*/ 937483 w 1198730"/>
                <a:gd name="connsiteY24" fmla="*/ 6044 h 653795"/>
                <a:gd name="connsiteX25" fmla="*/ 1006704 w 1198730"/>
                <a:gd name="connsiteY25" fmla="*/ 5208 h 653795"/>
                <a:gd name="connsiteX26" fmla="*/ 1050770 w 1198730"/>
                <a:gd name="connsiteY26" fmla="*/ 26845 h 653795"/>
                <a:gd name="connsiteX27" fmla="*/ 1082654 w 1198730"/>
                <a:gd name="connsiteY27" fmla="*/ 62467 h 653795"/>
                <a:gd name="connsiteX28" fmla="*/ 1174260 w 1198730"/>
                <a:gd name="connsiteY28" fmla="*/ 227385 h 653795"/>
                <a:gd name="connsiteX29" fmla="*/ 1198536 w 1198730"/>
                <a:gd name="connsiteY29" fmla="*/ 337022 h 653795"/>
                <a:gd name="connsiteX30" fmla="*/ 1190004 w 1198730"/>
                <a:gd name="connsiteY30" fmla="*/ 402901 h 653795"/>
                <a:gd name="connsiteX31" fmla="*/ 1166432 w 1198730"/>
                <a:gd name="connsiteY31" fmla="*/ 465702 h 653795"/>
                <a:gd name="connsiteX32" fmla="*/ 1121619 w 1198730"/>
                <a:gd name="connsiteY32" fmla="*/ 553746 h 653795"/>
                <a:gd name="connsiteX33" fmla="*/ 1122190 w 1198730"/>
                <a:gd name="connsiteY33" fmla="*/ 558583 h 653795"/>
                <a:gd name="connsiteX34" fmla="*/ 1182836 w 1198730"/>
                <a:gd name="connsiteY34" fmla="*/ 623934 h 653795"/>
                <a:gd name="connsiteX35" fmla="*/ 1190224 w 1198730"/>
                <a:gd name="connsiteY35" fmla="*/ 637699 h 653795"/>
                <a:gd name="connsiteX36" fmla="*/ 1178086 w 1198730"/>
                <a:gd name="connsiteY36" fmla="*/ 653795 h 653795"/>
                <a:gd name="connsiteX37" fmla="*/ 1030760 w 1198730"/>
                <a:gd name="connsiteY37" fmla="*/ 229056 h 653795"/>
                <a:gd name="connsiteX38" fmla="*/ 1032080 w 1198730"/>
                <a:gd name="connsiteY38" fmla="*/ 231123 h 653795"/>
                <a:gd name="connsiteX39" fmla="*/ 1010442 w 1198730"/>
                <a:gd name="connsiteY39" fmla="*/ 321850 h 653795"/>
                <a:gd name="connsiteX40" fmla="*/ 969895 w 1198730"/>
                <a:gd name="connsiteY40" fmla="*/ 392126 h 653795"/>
                <a:gd name="connsiteX41" fmla="*/ 969851 w 1198730"/>
                <a:gd name="connsiteY41" fmla="*/ 395997 h 653795"/>
                <a:gd name="connsiteX42" fmla="*/ 1096551 w 1198730"/>
                <a:gd name="connsiteY42" fmla="*/ 531449 h 653795"/>
                <a:gd name="connsiteX43" fmla="*/ 1098398 w 1198730"/>
                <a:gd name="connsiteY43" fmla="*/ 531229 h 653795"/>
                <a:gd name="connsiteX44" fmla="*/ 1156405 w 1198730"/>
                <a:gd name="connsiteY44" fmla="*/ 407387 h 653795"/>
                <a:gd name="connsiteX45" fmla="*/ 1167752 w 1198730"/>
                <a:gd name="connsiteY45" fmla="*/ 341552 h 653795"/>
                <a:gd name="connsiteX46" fmla="*/ 1145806 w 1198730"/>
                <a:gd name="connsiteY46" fmla="*/ 239127 h 653795"/>
                <a:gd name="connsiteX47" fmla="*/ 1069461 w 1198730"/>
                <a:gd name="connsiteY47" fmla="*/ 97122 h 653795"/>
                <a:gd name="connsiteX48" fmla="*/ 1037181 w 1198730"/>
                <a:gd name="connsiteY48" fmla="*/ 55915 h 653795"/>
                <a:gd name="connsiteX49" fmla="*/ 988629 w 1198730"/>
                <a:gd name="connsiteY49" fmla="*/ 32387 h 653795"/>
                <a:gd name="connsiteX50" fmla="*/ 936999 w 1198730"/>
                <a:gd name="connsiteY50" fmla="*/ 40127 h 653795"/>
                <a:gd name="connsiteX51" fmla="*/ 908897 w 1198730"/>
                <a:gd name="connsiteY51" fmla="*/ 91625 h 653795"/>
                <a:gd name="connsiteX52" fmla="*/ 899222 w 1198730"/>
                <a:gd name="connsiteY52" fmla="*/ 300212 h 653795"/>
                <a:gd name="connsiteX53" fmla="*/ 893373 w 1198730"/>
                <a:gd name="connsiteY53" fmla="*/ 314901 h 653795"/>
                <a:gd name="connsiteX54" fmla="*/ 794115 w 1198730"/>
                <a:gd name="connsiteY54" fmla="*/ 431883 h 653795"/>
                <a:gd name="connsiteX55" fmla="*/ 796314 w 1198730"/>
                <a:gd name="connsiteY55" fmla="*/ 474761 h 653795"/>
                <a:gd name="connsiteX56" fmla="*/ 837917 w 1198730"/>
                <a:gd name="connsiteY56" fmla="*/ 474497 h 653795"/>
                <a:gd name="connsiteX57" fmla="*/ 941661 w 1198730"/>
                <a:gd name="connsiteY57" fmla="*/ 377174 h 653795"/>
                <a:gd name="connsiteX58" fmla="*/ 968839 w 1198730"/>
                <a:gd name="connsiteY58" fmla="*/ 342783 h 653795"/>
                <a:gd name="connsiteX59" fmla="*/ 986343 w 1198730"/>
                <a:gd name="connsiteY59" fmla="*/ 294012 h 653795"/>
                <a:gd name="connsiteX60" fmla="*/ 1001999 w 1198730"/>
                <a:gd name="connsiteY60" fmla="*/ 225142 h 653795"/>
                <a:gd name="connsiteX61" fmla="*/ 1004857 w 1198730"/>
                <a:gd name="connsiteY61" fmla="*/ 223339 h 653795"/>
                <a:gd name="connsiteX62" fmla="*/ 1030760 w 1198730"/>
                <a:gd name="connsiteY62" fmla="*/ 229056 h 653795"/>
                <a:gd name="connsiteX63" fmla="*/ 235244 w 1198730"/>
                <a:gd name="connsiteY63" fmla="*/ 186793 h 653795"/>
                <a:gd name="connsiteX64" fmla="*/ 253495 w 1198730"/>
                <a:gd name="connsiteY64" fmla="*/ 171753 h 653795"/>
                <a:gd name="connsiteX65" fmla="*/ 259168 w 1198730"/>
                <a:gd name="connsiteY65" fmla="*/ 172412 h 653795"/>
                <a:gd name="connsiteX66" fmla="*/ 343913 w 1198730"/>
                <a:gd name="connsiteY66" fmla="*/ 277432 h 653795"/>
                <a:gd name="connsiteX67" fmla="*/ 372499 w 1198730"/>
                <a:gd name="connsiteY67" fmla="*/ 303115 h 653795"/>
                <a:gd name="connsiteX68" fmla="*/ 389518 w 1198730"/>
                <a:gd name="connsiteY68" fmla="*/ 309404 h 653795"/>
                <a:gd name="connsiteX69" fmla="*/ 564199 w 1198730"/>
                <a:gd name="connsiteY69" fmla="*/ 332976 h 653795"/>
                <a:gd name="connsiteX70" fmla="*/ 593972 w 1198730"/>
                <a:gd name="connsiteY70" fmla="*/ 329546 h 653795"/>
                <a:gd name="connsiteX71" fmla="*/ 605406 w 1198730"/>
                <a:gd name="connsiteY71" fmla="*/ 319255 h 653795"/>
                <a:gd name="connsiteX72" fmla="*/ 599645 w 1198730"/>
                <a:gd name="connsiteY72" fmla="*/ 280950 h 653795"/>
                <a:gd name="connsiteX73" fmla="*/ 568508 w 1198730"/>
                <a:gd name="connsiteY73" fmla="*/ 269736 h 653795"/>
                <a:gd name="connsiteX74" fmla="*/ 422150 w 1198730"/>
                <a:gd name="connsiteY74" fmla="*/ 237720 h 653795"/>
                <a:gd name="connsiteX75" fmla="*/ 411771 w 1198730"/>
                <a:gd name="connsiteY75" fmla="*/ 230771 h 653795"/>
                <a:gd name="connsiteX76" fmla="*/ 334766 w 1198730"/>
                <a:gd name="connsiteY76" fmla="*/ 115373 h 653795"/>
                <a:gd name="connsiteX77" fmla="*/ 293031 w 1198730"/>
                <a:gd name="connsiteY77" fmla="*/ 63523 h 653795"/>
                <a:gd name="connsiteX78" fmla="*/ 185109 w 1198730"/>
                <a:gd name="connsiteY78" fmla="*/ 49934 h 653795"/>
                <a:gd name="connsiteX79" fmla="*/ 155556 w 1198730"/>
                <a:gd name="connsiteY79" fmla="*/ 67173 h 653795"/>
                <a:gd name="connsiteX80" fmla="*/ 46139 w 1198730"/>
                <a:gd name="connsiteY80" fmla="*/ 264370 h 653795"/>
                <a:gd name="connsiteX81" fmla="*/ 31846 w 1198730"/>
                <a:gd name="connsiteY81" fmla="*/ 373788 h 653795"/>
                <a:gd name="connsiteX82" fmla="*/ 56298 w 1198730"/>
                <a:gd name="connsiteY82" fmla="*/ 459501 h 653795"/>
                <a:gd name="connsiteX83" fmla="*/ 95350 w 1198730"/>
                <a:gd name="connsiteY83" fmla="*/ 540596 h 653795"/>
                <a:gd name="connsiteX84" fmla="*/ 97055 w 1198730"/>
                <a:gd name="connsiteY84" fmla="*/ 541114 h 653795"/>
                <a:gd name="connsiteX85" fmla="*/ 97373 w 1198730"/>
                <a:gd name="connsiteY85" fmla="*/ 540860 h 653795"/>
                <a:gd name="connsiteX86" fmla="*/ 195356 w 1198730"/>
                <a:gd name="connsiteY86" fmla="*/ 435753 h 653795"/>
                <a:gd name="connsiteX87" fmla="*/ 196147 w 1198730"/>
                <a:gd name="connsiteY87" fmla="*/ 431487 h 653795"/>
                <a:gd name="connsiteX88" fmla="*/ 172135 w 1198730"/>
                <a:gd name="connsiteY88" fmla="*/ 372952 h 653795"/>
                <a:gd name="connsiteX89" fmla="*/ 172707 w 1198730"/>
                <a:gd name="connsiteY89" fmla="*/ 357956 h 653795"/>
                <a:gd name="connsiteX90" fmla="*/ 245271 w 1198730"/>
                <a:gd name="connsiteY90" fmla="*/ 212872 h 653795"/>
                <a:gd name="connsiteX91" fmla="*/ 244567 w 1198730"/>
                <a:gd name="connsiteY91" fmla="*/ 203681 h 653795"/>
                <a:gd name="connsiteX92" fmla="*/ 234936 w 1198730"/>
                <a:gd name="connsiteY92" fmla="*/ 191587 h 653795"/>
                <a:gd name="connsiteX93" fmla="*/ 235244 w 1198730"/>
                <a:gd name="connsiteY93" fmla="*/ 186793 h 653795"/>
                <a:gd name="connsiteX94" fmla="*/ 630781 w 1198730"/>
                <a:gd name="connsiteY94" fmla="*/ 268065 h 653795"/>
                <a:gd name="connsiteX95" fmla="*/ 630537 w 1198730"/>
                <a:gd name="connsiteY95" fmla="*/ 268395 h 653795"/>
                <a:gd name="connsiteX96" fmla="*/ 630561 w 1198730"/>
                <a:gd name="connsiteY96" fmla="*/ 268460 h 653795"/>
                <a:gd name="connsiteX97" fmla="*/ 632760 w 1198730"/>
                <a:gd name="connsiteY97" fmla="*/ 332140 h 653795"/>
                <a:gd name="connsiteX98" fmla="*/ 636015 w 1198730"/>
                <a:gd name="connsiteY98" fmla="*/ 336318 h 653795"/>
                <a:gd name="connsiteX99" fmla="*/ 866415 w 1198730"/>
                <a:gd name="connsiteY99" fmla="*/ 284996 h 653795"/>
                <a:gd name="connsiteX100" fmla="*/ 869054 w 1198730"/>
                <a:gd name="connsiteY100" fmla="*/ 281830 h 653795"/>
                <a:gd name="connsiteX101" fmla="*/ 875562 w 1198730"/>
                <a:gd name="connsiteY101" fmla="*/ 140748 h 653795"/>
                <a:gd name="connsiteX102" fmla="*/ 874155 w 1198730"/>
                <a:gd name="connsiteY102" fmla="*/ 140177 h 653795"/>
                <a:gd name="connsiteX103" fmla="*/ 807221 w 1198730"/>
                <a:gd name="connsiteY103" fmla="*/ 219601 h 653795"/>
                <a:gd name="connsiteX104" fmla="*/ 795610 w 1198730"/>
                <a:gd name="connsiteY104" fmla="*/ 229012 h 653795"/>
                <a:gd name="connsiteX105" fmla="*/ 630781 w 1198730"/>
                <a:gd name="connsiteY105" fmla="*/ 268065 h 653795"/>
                <a:gd name="connsiteX106" fmla="*/ 269810 w 1198730"/>
                <a:gd name="connsiteY106" fmla="*/ 236312 h 653795"/>
                <a:gd name="connsiteX107" fmla="*/ 267888 w 1198730"/>
                <a:gd name="connsiteY107" fmla="*/ 236171 h 653795"/>
                <a:gd name="connsiteX108" fmla="*/ 267568 w 1198730"/>
                <a:gd name="connsiteY108" fmla="*/ 236576 h 653795"/>
                <a:gd name="connsiteX109" fmla="*/ 203052 w 1198730"/>
                <a:gd name="connsiteY109" fmla="*/ 365872 h 653795"/>
                <a:gd name="connsiteX110" fmla="*/ 203008 w 1198730"/>
                <a:gd name="connsiteY110" fmla="*/ 367015 h 653795"/>
                <a:gd name="connsiteX111" fmla="*/ 219412 w 1198730"/>
                <a:gd name="connsiteY111" fmla="*/ 407035 h 653795"/>
                <a:gd name="connsiteX112" fmla="*/ 221186 w 1198730"/>
                <a:gd name="connsiteY112" fmla="*/ 407790 h 653795"/>
                <a:gd name="connsiteX113" fmla="*/ 221655 w 1198730"/>
                <a:gd name="connsiteY113" fmla="*/ 407475 h 653795"/>
                <a:gd name="connsiteX114" fmla="*/ 321221 w 1198730"/>
                <a:gd name="connsiteY114" fmla="*/ 300608 h 653795"/>
                <a:gd name="connsiteX115" fmla="*/ 321309 w 1198730"/>
                <a:gd name="connsiteY115" fmla="*/ 298805 h 653795"/>
                <a:gd name="connsiteX116" fmla="*/ 269810 w 1198730"/>
                <a:gd name="connsiteY116" fmla="*/ 236312 h 653795"/>
                <a:gd name="connsiteX117" fmla="*/ 1137978 w 1198730"/>
                <a:gd name="connsiteY117" fmla="*/ 623011 h 653795"/>
                <a:gd name="connsiteX118" fmla="*/ 1138873 w 1198730"/>
                <a:gd name="connsiteY118" fmla="*/ 622059 h 653795"/>
                <a:gd name="connsiteX119" fmla="*/ 1138638 w 1198730"/>
                <a:gd name="connsiteY119" fmla="*/ 621472 h 653795"/>
                <a:gd name="connsiteX120" fmla="*/ 946718 w 1198730"/>
                <a:gd name="connsiteY120" fmla="*/ 416314 h 653795"/>
                <a:gd name="connsiteX121" fmla="*/ 945414 w 1198730"/>
                <a:gd name="connsiteY121" fmla="*/ 416301 h 653795"/>
                <a:gd name="connsiteX122" fmla="*/ 945399 w 1198730"/>
                <a:gd name="connsiteY122" fmla="*/ 416314 h 653795"/>
                <a:gd name="connsiteX123" fmla="*/ 861357 w 1198730"/>
                <a:gd name="connsiteY123" fmla="*/ 494683 h 653795"/>
                <a:gd name="connsiteX124" fmla="*/ 838401 w 1198730"/>
                <a:gd name="connsiteY124" fmla="*/ 510251 h 653795"/>
                <a:gd name="connsiteX125" fmla="*/ 787255 w 1198730"/>
                <a:gd name="connsiteY125" fmla="*/ 506645 h 653795"/>
                <a:gd name="connsiteX126" fmla="*/ 757262 w 1198730"/>
                <a:gd name="connsiteY126" fmla="*/ 435313 h 653795"/>
                <a:gd name="connsiteX127" fmla="*/ 790949 w 1198730"/>
                <a:gd name="connsiteY127" fmla="*/ 386937 h 653795"/>
                <a:gd name="connsiteX128" fmla="*/ 845613 w 1198730"/>
                <a:gd name="connsiteY128" fmla="*/ 323257 h 653795"/>
                <a:gd name="connsiteX129" fmla="*/ 844426 w 1198730"/>
                <a:gd name="connsiteY129" fmla="*/ 321322 h 653795"/>
                <a:gd name="connsiteX130" fmla="*/ 637862 w 1198730"/>
                <a:gd name="connsiteY130" fmla="*/ 366707 h 653795"/>
                <a:gd name="connsiteX131" fmla="*/ 607913 w 1198730"/>
                <a:gd name="connsiteY131" fmla="*/ 359539 h 653795"/>
                <a:gd name="connsiteX132" fmla="*/ 603823 w 1198730"/>
                <a:gd name="connsiteY132" fmla="*/ 359187 h 653795"/>
                <a:gd name="connsiteX133" fmla="*/ 560812 w 1198730"/>
                <a:gd name="connsiteY133" fmla="*/ 363673 h 653795"/>
                <a:gd name="connsiteX134" fmla="*/ 407109 w 1198730"/>
                <a:gd name="connsiteY134" fmla="*/ 343883 h 653795"/>
                <a:gd name="connsiteX135" fmla="*/ 345936 w 1198730"/>
                <a:gd name="connsiteY135" fmla="*/ 323257 h 653795"/>
                <a:gd name="connsiteX136" fmla="*/ 341890 w 1198730"/>
                <a:gd name="connsiteY136" fmla="*/ 323697 h 653795"/>
                <a:gd name="connsiteX137" fmla="*/ 65665 w 1198730"/>
                <a:gd name="connsiteY137" fmla="*/ 619976 h 653795"/>
                <a:gd name="connsiteX138" fmla="*/ 66984 w 1198730"/>
                <a:gd name="connsiteY138" fmla="*/ 623011 h 653795"/>
                <a:gd name="connsiteX139" fmla="*/ 1137978 w 1198730"/>
                <a:gd name="connsiteY139" fmla="*/ 623011 h 653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</a:cxnLst>
              <a:rect l="l" t="t" r="r" b="b"/>
              <a:pathLst>
                <a:path w="1198730" h="653795">
                  <a:moveTo>
                    <a:pt x="1178086" y="653795"/>
                  </a:moveTo>
                  <a:lnTo>
                    <a:pt x="25469" y="653795"/>
                  </a:lnTo>
                  <a:cubicBezTo>
                    <a:pt x="16204" y="651010"/>
                    <a:pt x="11968" y="645674"/>
                    <a:pt x="12760" y="637787"/>
                  </a:cubicBezTo>
                  <a:cubicBezTo>
                    <a:pt x="13258" y="633155"/>
                    <a:pt x="16043" y="628142"/>
                    <a:pt x="21115" y="622747"/>
                  </a:cubicBezTo>
                  <a:cubicBezTo>
                    <a:pt x="38179" y="604628"/>
                    <a:pt x="55315" y="586128"/>
                    <a:pt x="72525" y="567247"/>
                  </a:cubicBezTo>
                  <a:cubicBezTo>
                    <a:pt x="73522" y="566133"/>
                    <a:pt x="73654" y="564916"/>
                    <a:pt x="72921" y="563597"/>
                  </a:cubicBezTo>
                  <a:cubicBezTo>
                    <a:pt x="58584" y="538383"/>
                    <a:pt x="43808" y="508214"/>
                    <a:pt x="28592" y="473090"/>
                  </a:cubicBezTo>
                  <a:cubicBezTo>
                    <a:pt x="18389" y="449547"/>
                    <a:pt x="10473" y="424802"/>
                    <a:pt x="4843" y="398855"/>
                  </a:cubicBezTo>
                  <a:cubicBezTo>
                    <a:pt x="-6239" y="347885"/>
                    <a:pt x="2864" y="292384"/>
                    <a:pt x="20324" y="244141"/>
                  </a:cubicBezTo>
                  <a:cubicBezTo>
                    <a:pt x="46212" y="172662"/>
                    <a:pt x="82655" y="107970"/>
                    <a:pt x="129653" y="50066"/>
                  </a:cubicBezTo>
                  <a:cubicBezTo>
                    <a:pt x="134725" y="43850"/>
                    <a:pt x="141923" y="37898"/>
                    <a:pt x="151246" y="32211"/>
                  </a:cubicBezTo>
                  <a:cubicBezTo>
                    <a:pt x="181122" y="14004"/>
                    <a:pt x="214765" y="7480"/>
                    <a:pt x="252175" y="12640"/>
                  </a:cubicBezTo>
                  <a:cubicBezTo>
                    <a:pt x="273607" y="15572"/>
                    <a:pt x="294907" y="25511"/>
                    <a:pt x="316075" y="42458"/>
                  </a:cubicBezTo>
                  <a:cubicBezTo>
                    <a:pt x="326219" y="50549"/>
                    <a:pt x="340424" y="68390"/>
                    <a:pt x="358690" y="95979"/>
                  </a:cubicBezTo>
                  <a:cubicBezTo>
                    <a:pt x="380855" y="129519"/>
                    <a:pt x="405453" y="166329"/>
                    <a:pt x="432485" y="206407"/>
                  </a:cubicBezTo>
                  <a:cubicBezTo>
                    <a:pt x="433628" y="208079"/>
                    <a:pt x="435167" y="209105"/>
                    <a:pt x="437102" y="209486"/>
                  </a:cubicBezTo>
                  <a:cubicBezTo>
                    <a:pt x="494479" y="221184"/>
                    <a:pt x="547428" y="232955"/>
                    <a:pt x="595951" y="244800"/>
                  </a:cubicBezTo>
                  <a:cubicBezTo>
                    <a:pt x="600378" y="245885"/>
                    <a:pt x="603383" y="245973"/>
                    <a:pt x="604966" y="245064"/>
                  </a:cubicBezTo>
                  <a:cubicBezTo>
                    <a:pt x="608440" y="243129"/>
                    <a:pt x="612706" y="241194"/>
                    <a:pt x="616312" y="240314"/>
                  </a:cubicBezTo>
                  <a:cubicBezTo>
                    <a:pt x="639533" y="234744"/>
                    <a:pt x="692585" y="222093"/>
                    <a:pt x="775468" y="202361"/>
                  </a:cubicBezTo>
                  <a:cubicBezTo>
                    <a:pt x="784352" y="200251"/>
                    <a:pt x="786815" y="196029"/>
                    <a:pt x="792356" y="189432"/>
                  </a:cubicBezTo>
                  <a:cubicBezTo>
                    <a:pt x="817130" y="159967"/>
                    <a:pt x="841992" y="130575"/>
                    <a:pt x="866943" y="101256"/>
                  </a:cubicBezTo>
                  <a:cubicBezTo>
                    <a:pt x="871399" y="96008"/>
                    <a:pt x="874257" y="92387"/>
                    <a:pt x="875518" y="90394"/>
                  </a:cubicBezTo>
                  <a:cubicBezTo>
                    <a:pt x="877336" y="87520"/>
                    <a:pt x="878787" y="83254"/>
                    <a:pt x="879872" y="77596"/>
                  </a:cubicBezTo>
                  <a:cubicBezTo>
                    <a:pt x="886996" y="41124"/>
                    <a:pt x="906200" y="17273"/>
                    <a:pt x="937483" y="6044"/>
                  </a:cubicBezTo>
                  <a:cubicBezTo>
                    <a:pt x="959062" y="-1726"/>
                    <a:pt x="982135" y="-2004"/>
                    <a:pt x="1006704" y="5208"/>
                  </a:cubicBezTo>
                  <a:cubicBezTo>
                    <a:pt x="1024559" y="10456"/>
                    <a:pt x="1039248" y="17669"/>
                    <a:pt x="1050770" y="26845"/>
                  </a:cubicBezTo>
                  <a:cubicBezTo>
                    <a:pt x="1060035" y="34263"/>
                    <a:pt x="1070663" y="46137"/>
                    <a:pt x="1082654" y="62467"/>
                  </a:cubicBezTo>
                  <a:cubicBezTo>
                    <a:pt x="1120241" y="113717"/>
                    <a:pt x="1150776" y="168689"/>
                    <a:pt x="1174260" y="227385"/>
                  </a:cubicBezTo>
                  <a:cubicBezTo>
                    <a:pt x="1188685" y="263388"/>
                    <a:pt x="1196777" y="299934"/>
                    <a:pt x="1198536" y="337022"/>
                  </a:cubicBezTo>
                  <a:cubicBezTo>
                    <a:pt x="1199533" y="357897"/>
                    <a:pt x="1196689" y="379857"/>
                    <a:pt x="1190004" y="402901"/>
                  </a:cubicBezTo>
                  <a:cubicBezTo>
                    <a:pt x="1183935" y="423893"/>
                    <a:pt x="1176078" y="444827"/>
                    <a:pt x="1166432" y="465702"/>
                  </a:cubicBezTo>
                  <a:cubicBezTo>
                    <a:pt x="1151685" y="497600"/>
                    <a:pt x="1136747" y="526948"/>
                    <a:pt x="1121619" y="553746"/>
                  </a:cubicBezTo>
                  <a:cubicBezTo>
                    <a:pt x="1120622" y="555505"/>
                    <a:pt x="1120812" y="557117"/>
                    <a:pt x="1122190" y="558583"/>
                  </a:cubicBezTo>
                  <a:cubicBezTo>
                    <a:pt x="1142362" y="580367"/>
                    <a:pt x="1162577" y="602151"/>
                    <a:pt x="1182836" y="623934"/>
                  </a:cubicBezTo>
                  <a:cubicBezTo>
                    <a:pt x="1187292" y="628743"/>
                    <a:pt x="1189755" y="633331"/>
                    <a:pt x="1190224" y="637699"/>
                  </a:cubicBezTo>
                  <a:cubicBezTo>
                    <a:pt x="1191045" y="645293"/>
                    <a:pt x="1186999" y="650658"/>
                    <a:pt x="1178086" y="653795"/>
                  </a:cubicBezTo>
                  <a:close/>
                  <a:moveTo>
                    <a:pt x="1030760" y="229056"/>
                  </a:moveTo>
                  <a:cubicBezTo>
                    <a:pt x="1031685" y="229250"/>
                    <a:pt x="1032275" y="230174"/>
                    <a:pt x="1032080" y="231123"/>
                  </a:cubicBezTo>
                  <a:cubicBezTo>
                    <a:pt x="1024457" y="266950"/>
                    <a:pt x="1017244" y="297193"/>
                    <a:pt x="1010442" y="321850"/>
                  </a:cubicBezTo>
                  <a:cubicBezTo>
                    <a:pt x="1002995" y="348852"/>
                    <a:pt x="989480" y="372278"/>
                    <a:pt x="969895" y="392126"/>
                  </a:cubicBezTo>
                  <a:cubicBezTo>
                    <a:pt x="968844" y="393179"/>
                    <a:pt x="968825" y="394887"/>
                    <a:pt x="969851" y="395997"/>
                  </a:cubicBezTo>
                  <a:lnTo>
                    <a:pt x="1096551" y="531449"/>
                  </a:lnTo>
                  <a:cubicBezTo>
                    <a:pt x="1097255" y="532182"/>
                    <a:pt x="1097871" y="532108"/>
                    <a:pt x="1098398" y="531229"/>
                  </a:cubicBezTo>
                  <a:cubicBezTo>
                    <a:pt x="1121941" y="491414"/>
                    <a:pt x="1141277" y="450133"/>
                    <a:pt x="1156405" y="407387"/>
                  </a:cubicBezTo>
                  <a:cubicBezTo>
                    <a:pt x="1164585" y="384254"/>
                    <a:pt x="1168367" y="362309"/>
                    <a:pt x="1167752" y="341552"/>
                  </a:cubicBezTo>
                  <a:cubicBezTo>
                    <a:pt x="1166755" y="307542"/>
                    <a:pt x="1159440" y="273401"/>
                    <a:pt x="1145806" y="239127"/>
                  </a:cubicBezTo>
                  <a:cubicBezTo>
                    <a:pt x="1125928" y="188992"/>
                    <a:pt x="1100480" y="141657"/>
                    <a:pt x="1069461" y="97122"/>
                  </a:cubicBezTo>
                  <a:cubicBezTo>
                    <a:pt x="1054655" y="75837"/>
                    <a:pt x="1043895" y="62101"/>
                    <a:pt x="1037181" y="55915"/>
                  </a:cubicBezTo>
                  <a:cubicBezTo>
                    <a:pt x="1024046" y="43777"/>
                    <a:pt x="1007862" y="35934"/>
                    <a:pt x="988629" y="32387"/>
                  </a:cubicBezTo>
                  <a:cubicBezTo>
                    <a:pt x="968253" y="28634"/>
                    <a:pt x="951043" y="31214"/>
                    <a:pt x="936999" y="40127"/>
                  </a:cubicBezTo>
                  <a:cubicBezTo>
                    <a:pt x="919584" y="51209"/>
                    <a:pt x="910217" y="68375"/>
                    <a:pt x="908897" y="91625"/>
                  </a:cubicBezTo>
                  <a:cubicBezTo>
                    <a:pt x="906435" y="134547"/>
                    <a:pt x="903210" y="204077"/>
                    <a:pt x="899222" y="300212"/>
                  </a:cubicBezTo>
                  <a:cubicBezTo>
                    <a:pt x="898995" y="305620"/>
                    <a:pt x="896933" y="310799"/>
                    <a:pt x="893373" y="314901"/>
                  </a:cubicBezTo>
                  <a:cubicBezTo>
                    <a:pt x="842183" y="374242"/>
                    <a:pt x="809097" y="413236"/>
                    <a:pt x="794115" y="431883"/>
                  </a:cubicBezTo>
                  <a:cubicBezTo>
                    <a:pt x="781625" y="447421"/>
                    <a:pt x="782358" y="461714"/>
                    <a:pt x="796314" y="474761"/>
                  </a:cubicBezTo>
                  <a:cubicBezTo>
                    <a:pt x="809771" y="487309"/>
                    <a:pt x="823639" y="487222"/>
                    <a:pt x="837917" y="474497"/>
                  </a:cubicBezTo>
                  <a:cubicBezTo>
                    <a:pt x="866503" y="449019"/>
                    <a:pt x="901084" y="416578"/>
                    <a:pt x="941661" y="377174"/>
                  </a:cubicBezTo>
                  <a:cubicBezTo>
                    <a:pt x="954239" y="364977"/>
                    <a:pt x="963298" y="353514"/>
                    <a:pt x="968839" y="342783"/>
                  </a:cubicBezTo>
                  <a:cubicBezTo>
                    <a:pt x="976609" y="327772"/>
                    <a:pt x="982443" y="311515"/>
                    <a:pt x="986343" y="294012"/>
                  </a:cubicBezTo>
                  <a:cubicBezTo>
                    <a:pt x="991488" y="270967"/>
                    <a:pt x="997161" y="247791"/>
                    <a:pt x="1001999" y="225142"/>
                  </a:cubicBezTo>
                  <a:cubicBezTo>
                    <a:pt x="1002321" y="223588"/>
                    <a:pt x="1003274" y="222987"/>
                    <a:pt x="1004857" y="223339"/>
                  </a:cubicBezTo>
                  <a:lnTo>
                    <a:pt x="1030760" y="229056"/>
                  </a:lnTo>
                  <a:close/>
                  <a:moveTo>
                    <a:pt x="235244" y="186793"/>
                  </a:moveTo>
                  <a:lnTo>
                    <a:pt x="253495" y="171753"/>
                  </a:lnTo>
                  <a:cubicBezTo>
                    <a:pt x="255606" y="169994"/>
                    <a:pt x="257497" y="170214"/>
                    <a:pt x="259168" y="172412"/>
                  </a:cubicBezTo>
                  <a:cubicBezTo>
                    <a:pt x="285408" y="206950"/>
                    <a:pt x="313656" y="241956"/>
                    <a:pt x="343913" y="277432"/>
                  </a:cubicBezTo>
                  <a:cubicBezTo>
                    <a:pt x="350114" y="284644"/>
                    <a:pt x="362164" y="297486"/>
                    <a:pt x="372499" y="303115"/>
                  </a:cubicBezTo>
                  <a:cubicBezTo>
                    <a:pt x="378363" y="306311"/>
                    <a:pt x="384036" y="308407"/>
                    <a:pt x="389518" y="309404"/>
                  </a:cubicBezTo>
                  <a:cubicBezTo>
                    <a:pt x="449621" y="320164"/>
                    <a:pt x="507848" y="328021"/>
                    <a:pt x="564199" y="332976"/>
                  </a:cubicBezTo>
                  <a:cubicBezTo>
                    <a:pt x="576747" y="334061"/>
                    <a:pt x="586671" y="332917"/>
                    <a:pt x="593972" y="329546"/>
                  </a:cubicBezTo>
                  <a:cubicBezTo>
                    <a:pt x="600099" y="326702"/>
                    <a:pt x="603911" y="323272"/>
                    <a:pt x="605406" y="319255"/>
                  </a:cubicBezTo>
                  <a:cubicBezTo>
                    <a:pt x="611797" y="301898"/>
                    <a:pt x="609877" y="289130"/>
                    <a:pt x="599645" y="280950"/>
                  </a:cubicBezTo>
                  <a:cubicBezTo>
                    <a:pt x="594954" y="277227"/>
                    <a:pt x="584575" y="273489"/>
                    <a:pt x="568508" y="269736"/>
                  </a:cubicBezTo>
                  <a:cubicBezTo>
                    <a:pt x="519546" y="258389"/>
                    <a:pt x="470760" y="247717"/>
                    <a:pt x="422150" y="237720"/>
                  </a:cubicBezTo>
                  <a:cubicBezTo>
                    <a:pt x="417921" y="236845"/>
                    <a:pt x="414198" y="234352"/>
                    <a:pt x="411771" y="230771"/>
                  </a:cubicBezTo>
                  <a:cubicBezTo>
                    <a:pt x="381426" y="186002"/>
                    <a:pt x="355758" y="147536"/>
                    <a:pt x="334766" y="115373"/>
                  </a:cubicBezTo>
                  <a:cubicBezTo>
                    <a:pt x="317556" y="89074"/>
                    <a:pt x="303644" y="71791"/>
                    <a:pt x="293031" y="63523"/>
                  </a:cubicBezTo>
                  <a:cubicBezTo>
                    <a:pt x="262510" y="39687"/>
                    <a:pt x="226536" y="35157"/>
                    <a:pt x="185109" y="49934"/>
                  </a:cubicBezTo>
                  <a:cubicBezTo>
                    <a:pt x="170567" y="55123"/>
                    <a:pt x="160716" y="60870"/>
                    <a:pt x="155556" y="67173"/>
                  </a:cubicBezTo>
                  <a:cubicBezTo>
                    <a:pt x="106858" y="126661"/>
                    <a:pt x="70385" y="192393"/>
                    <a:pt x="46139" y="264370"/>
                  </a:cubicBezTo>
                  <a:cubicBezTo>
                    <a:pt x="34441" y="299157"/>
                    <a:pt x="27448" y="339749"/>
                    <a:pt x="31846" y="373788"/>
                  </a:cubicBezTo>
                  <a:cubicBezTo>
                    <a:pt x="35276" y="400497"/>
                    <a:pt x="43427" y="429068"/>
                    <a:pt x="56298" y="459501"/>
                  </a:cubicBezTo>
                  <a:cubicBezTo>
                    <a:pt x="68025" y="487207"/>
                    <a:pt x="81043" y="514239"/>
                    <a:pt x="95350" y="540596"/>
                  </a:cubicBezTo>
                  <a:cubicBezTo>
                    <a:pt x="95695" y="541210"/>
                    <a:pt x="96459" y="541441"/>
                    <a:pt x="97055" y="541114"/>
                  </a:cubicBezTo>
                  <a:cubicBezTo>
                    <a:pt x="97175" y="541048"/>
                    <a:pt x="97282" y="540962"/>
                    <a:pt x="97373" y="540860"/>
                  </a:cubicBezTo>
                  <a:lnTo>
                    <a:pt x="195356" y="435753"/>
                  </a:lnTo>
                  <a:cubicBezTo>
                    <a:pt x="196431" y="434598"/>
                    <a:pt x="196740" y="432932"/>
                    <a:pt x="196147" y="431487"/>
                  </a:cubicBezTo>
                  <a:lnTo>
                    <a:pt x="172135" y="372952"/>
                  </a:lnTo>
                  <a:cubicBezTo>
                    <a:pt x="170152" y="368121"/>
                    <a:pt x="170360" y="362653"/>
                    <a:pt x="172707" y="357956"/>
                  </a:cubicBezTo>
                  <a:cubicBezTo>
                    <a:pt x="201410" y="300403"/>
                    <a:pt x="225598" y="252042"/>
                    <a:pt x="245271" y="212872"/>
                  </a:cubicBezTo>
                  <a:cubicBezTo>
                    <a:pt x="247088" y="209295"/>
                    <a:pt x="246854" y="206232"/>
                    <a:pt x="244567" y="203681"/>
                  </a:cubicBezTo>
                  <a:cubicBezTo>
                    <a:pt x="240917" y="199635"/>
                    <a:pt x="237838" y="194665"/>
                    <a:pt x="234936" y="191587"/>
                  </a:cubicBezTo>
                  <a:cubicBezTo>
                    <a:pt x="233323" y="189886"/>
                    <a:pt x="233426" y="188289"/>
                    <a:pt x="235244" y="186793"/>
                  </a:cubicBezTo>
                  <a:close/>
                  <a:moveTo>
                    <a:pt x="630781" y="268065"/>
                  </a:moveTo>
                  <a:cubicBezTo>
                    <a:pt x="630616" y="268104"/>
                    <a:pt x="630507" y="268253"/>
                    <a:pt x="630537" y="268395"/>
                  </a:cubicBezTo>
                  <a:cubicBezTo>
                    <a:pt x="630541" y="268418"/>
                    <a:pt x="630550" y="268440"/>
                    <a:pt x="630561" y="268460"/>
                  </a:cubicBezTo>
                  <a:cubicBezTo>
                    <a:pt x="642289" y="290098"/>
                    <a:pt x="643022" y="311324"/>
                    <a:pt x="632760" y="332140"/>
                  </a:cubicBezTo>
                  <a:cubicBezTo>
                    <a:pt x="630942" y="335805"/>
                    <a:pt x="632027" y="337198"/>
                    <a:pt x="636015" y="336318"/>
                  </a:cubicBezTo>
                  <a:lnTo>
                    <a:pt x="866415" y="284996"/>
                  </a:lnTo>
                  <a:cubicBezTo>
                    <a:pt x="867893" y="284677"/>
                    <a:pt x="868976" y="283379"/>
                    <a:pt x="869054" y="281830"/>
                  </a:cubicBezTo>
                  <a:lnTo>
                    <a:pt x="875562" y="140748"/>
                  </a:lnTo>
                  <a:cubicBezTo>
                    <a:pt x="875621" y="139194"/>
                    <a:pt x="875152" y="139004"/>
                    <a:pt x="874155" y="140177"/>
                  </a:cubicBezTo>
                  <a:cubicBezTo>
                    <a:pt x="853075" y="164951"/>
                    <a:pt x="830763" y="191426"/>
                    <a:pt x="807221" y="219601"/>
                  </a:cubicBezTo>
                  <a:cubicBezTo>
                    <a:pt x="802559" y="225142"/>
                    <a:pt x="798689" y="228279"/>
                    <a:pt x="795610" y="229012"/>
                  </a:cubicBezTo>
                  <a:cubicBezTo>
                    <a:pt x="736621" y="243437"/>
                    <a:pt x="681678" y="256454"/>
                    <a:pt x="630781" y="268065"/>
                  </a:cubicBezTo>
                  <a:close/>
                  <a:moveTo>
                    <a:pt x="269810" y="236312"/>
                  </a:moveTo>
                  <a:cubicBezTo>
                    <a:pt x="269319" y="235742"/>
                    <a:pt x="268458" y="235679"/>
                    <a:pt x="267888" y="236171"/>
                  </a:cubicBezTo>
                  <a:cubicBezTo>
                    <a:pt x="267756" y="236284"/>
                    <a:pt x="267647" y="236422"/>
                    <a:pt x="267568" y="236576"/>
                  </a:cubicBezTo>
                  <a:lnTo>
                    <a:pt x="203052" y="365872"/>
                  </a:lnTo>
                  <a:cubicBezTo>
                    <a:pt x="202870" y="366228"/>
                    <a:pt x="202854" y="366646"/>
                    <a:pt x="203008" y="367015"/>
                  </a:cubicBezTo>
                  <a:lnTo>
                    <a:pt x="219412" y="407035"/>
                  </a:lnTo>
                  <a:cubicBezTo>
                    <a:pt x="219693" y="407733"/>
                    <a:pt x="220487" y="408071"/>
                    <a:pt x="221186" y="407790"/>
                  </a:cubicBezTo>
                  <a:cubicBezTo>
                    <a:pt x="221362" y="407719"/>
                    <a:pt x="221522" y="407611"/>
                    <a:pt x="221655" y="407475"/>
                  </a:cubicBezTo>
                  <a:lnTo>
                    <a:pt x="321221" y="300608"/>
                  </a:lnTo>
                  <a:cubicBezTo>
                    <a:pt x="321701" y="300116"/>
                    <a:pt x="321738" y="299342"/>
                    <a:pt x="321309" y="298805"/>
                  </a:cubicBezTo>
                  <a:lnTo>
                    <a:pt x="269810" y="236312"/>
                  </a:lnTo>
                  <a:close/>
                  <a:moveTo>
                    <a:pt x="1137978" y="623011"/>
                  </a:moveTo>
                  <a:cubicBezTo>
                    <a:pt x="1138488" y="622995"/>
                    <a:pt x="1138889" y="622569"/>
                    <a:pt x="1138873" y="622059"/>
                  </a:cubicBezTo>
                  <a:cubicBezTo>
                    <a:pt x="1138866" y="621842"/>
                    <a:pt x="1138783" y="621634"/>
                    <a:pt x="1138638" y="621472"/>
                  </a:cubicBezTo>
                  <a:lnTo>
                    <a:pt x="946718" y="416314"/>
                  </a:lnTo>
                  <a:cubicBezTo>
                    <a:pt x="946396" y="415951"/>
                    <a:pt x="945812" y="415945"/>
                    <a:pt x="945414" y="416301"/>
                  </a:cubicBezTo>
                  <a:cubicBezTo>
                    <a:pt x="945409" y="416305"/>
                    <a:pt x="945404" y="416310"/>
                    <a:pt x="945399" y="416314"/>
                  </a:cubicBezTo>
                  <a:cubicBezTo>
                    <a:pt x="907402" y="452816"/>
                    <a:pt x="879388" y="478939"/>
                    <a:pt x="861357" y="494683"/>
                  </a:cubicBezTo>
                  <a:cubicBezTo>
                    <a:pt x="851858" y="502980"/>
                    <a:pt x="844206" y="508170"/>
                    <a:pt x="838401" y="510251"/>
                  </a:cubicBezTo>
                  <a:cubicBezTo>
                    <a:pt x="818112" y="517552"/>
                    <a:pt x="801064" y="516350"/>
                    <a:pt x="787255" y="506645"/>
                  </a:cubicBezTo>
                  <a:cubicBezTo>
                    <a:pt x="758815" y="486650"/>
                    <a:pt x="748818" y="462872"/>
                    <a:pt x="757262" y="435313"/>
                  </a:cubicBezTo>
                  <a:cubicBezTo>
                    <a:pt x="760369" y="425139"/>
                    <a:pt x="771598" y="409014"/>
                    <a:pt x="790949" y="386937"/>
                  </a:cubicBezTo>
                  <a:cubicBezTo>
                    <a:pt x="804054" y="371985"/>
                    <a:pt x="822276" y="350758"/>
                    <a:pt x="845613" y="323257"/>
                  </a:cubicBezTo>
                  <a:cubicBezTo>
                    <a:pt x="847167" y="321410"/>
                    <a:pt x="846771" y="320765"/>
                    <a:pt x="844426" y="321322"/>
                  </a:cubicBezTo>
                  <a:cubicBezTo>
                    <a:pt x="765735" y="339558"/>
                    <a:pt x="696880" y="354687"/>
                    <a:pt x="637862" y="366707"/>
                  </a:cubicBezTo>
                  <a:cubicBezTo>
                    <a:pt x="630679" y="368173"/>
                    <a:pt x="620696" y="365784"/>
                    <a:pt x="607913" y="359539"/>
                  </a:cubicBezTo>
                  <a:cubicBezTo>
                    <a:pt x="606641" y="358915"/>
                    <a:pt x="605182" y="358790"/>
                    <a:pt x="603823" y="359187"/>
                  </a:cubicBezTo>
                  <a:cubicBezTo>
                    <a:pt x="589603" y="363555"/>
                    <a:pt x="575266" y="365051"/>
                    <a:pt x="560812" y="363673"/>
                  </a:cubicBezTo>
                  <a:cubicBezTo>
                    <a:pt x="503934" y="358190"/>
                    <a:pt x="452700" y="351593"/>
                    <a:pt x="407109" y="343883"/>
                  </a:cubicBezTo>
                  <a:cubicBezTo>
                    <a:pt x="378846" y="339104"/>
                    <a:pt x="358455" y="332228"/>
                    <a:pt x="345936" y="323257"/>
                  </a:cubicBezTo>
                  <a:cubicBezTo>
                    <a:pt x="344470" y="322201"/>
                    <a:pt x="343122" y="322348"/>
                    <a:pt x="341890" y="323697"/>
                  </a:cubicBezTo>
                  <a:lnTo>
                    <a:pt x="65665" y="619976"/>
                  </a:lnTo>
                  <a:cubicBezTo>
                    <a:pt x="63789" y="621999"/>
                    <a:pt x="64228" y="623011"/>
                    <a:pt x="66984" y="623011"/>
                  </a:cubicBezTo>
                  <a:lnTo>
                    <a:pt x="1137978" y="623011"/>
                  </a:lnTo>
                  <a:close/>
                </a:path>
              </a:pathLst>
            </a:custGeom>
            <a:grpFill/>
            <a:ln w="43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61" name="Text Placeholder 2">
            <a:extLst>
              <a:ext uri="{FF2B5EF4-FFF2-40B4-BE49-F238E27FC236}">
                <a16:creationId xmlns:a16="http://schemas.microsoft.com/office/drawing/2014/main" id="{B842483E-E196-1161-059D-78F57A0A826F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7888288" y="5537200"/>
            <a:ext cx="269875" cy="212725"/>
          </a:xfrm>
          <a:prstGeom prst="rect">
            <a:avLst/>
          </a:prstGeom>
          <a:solidFill>
            <a:srgbClr val="C4C4CD"/>
          </a:solidFill>
          <a:ln>
            <a:noFill/>
          </a:ln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F6FBC16-847A-4FA9-AC8C-54FC703E6F09}" type="datetime'''''''''6''''''''''''''''''''''''''''''''%'''''''">
              <a:rPr lang="it-IT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endParaRPr lang="it-IT" sz="1400"/>
          </a:p>
        </p:txBody>
      </p:sp>
      <p:sp>
        <p:nvSpPr>
          <p:cNvPr id="262" name="Text Placeholder 2">
            <a:extLst>
              <a:ext uri="{FF2B5EF4-FFF2-40B4-BE49-F238E27FC236}">
                <a16:creationId xmlns:a16="http://schemas.microsoft.com/office/drawing/2014/main" id="{E2CEEFA4-4E48-26FA-BF7F-C3AA1D1E2181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7539037" y="5634188"/>
            <a:ext cx="379413" cy="21272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740AC6-1E76-469B-8312-6B9D7CEE7108}" type="datetime'''1''''''''''''''''''0''''%'''''''''''''''''''''''''">
              <a:rPr lang="it-IT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%</a:t>
            </a:fld>
            <a:endParaRPr lang="it-IT" sz="1400"/>
          </a:p>
        </p:txBody>
      </p:sp>
      <p:graphicFrame>
        <p:nvGraphicFramePr>
          <p:cNvPr id="263" name="Chart 262">
            <a:extLst>
              <a:ext uri="{FF2B5EF4-FFF2-40B4-BE49-F238E27FC236}">
                <a16:creationId xmlns:a16="http://schemas.microsoft.com/office/drawing/2014/main" id="{02A4632A-BDCB-42CC-6C4F-ECE37683FFC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9472386"/>
              </p:ext>
            </p:extLst>
          </p:nvPr>
        </p:nvGraphicFramePr>
        <p:xfrm>
          <a:off x="3779855" y="4945697"/>
          <a:ext cx="1586619" cy="11605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0"/>
          </a:graphicData>
        </a:graphic>
      </p:graphicFrame>
      <p:grpSp>
        <p:nvGrpSpPr>
          <p:cNvPr id="264" name="Neoclassical_build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77CC2E3-938F-E807-FCEF-EBA7F1FDD3C6}"/>
              </a:ext>
            </a:extLst>
          </p:cNvPr>
          <p:cNvGrpSpPr>
            <a:grpSpLocks noChangeAspect="1"/>
          </p:cNvGrpSpPr>
          <p:nvPr/>
        </p:nvGrpSpPr>
        <p:grpSpPr>
          <a:xfrm>
            <a:off x="2333305" y="4931537"/>
            <a:ext cx="358931" cy="268352"/>
            <a:chOff x="6162675" y="3673475"/>
            <a:chExt cx="571500" cy="393700"/>
          </a:xfrm>
          <a:solidFill>
            <a:schemeClr val="dk2"/>
          </a:solidFill>
        </p:grpSpPr>
        <p:sp>
          <p:nvSpPr>
            <p:cNvPr id="265" name="Freeform 6">
              <a:extLst>
                <a:ext uri="{FF2B5EF4-FFF2-40B4-BE49-F238E27FC236}">
                  <a16:creationId xmlns:a16="http://schemas.microsoft.com/office/drawing/2014/main" id="{7899DE12-9220-1431-F6F0-7C3F72302B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75375" y="3673475"/>
              <a:ext cx="544513" cy="166688"/>
            </a:xfrm>
            <a:custGeom>
              <a:avLst/>
              <a:gdLst>
                <a:gd name="T0" fmla="*/ 138 w 4802"/>
                <a:gd name="T1" fmla="*/ 1332 h 1466"/>
                <a:gd name="T2" fmla="*/ 4669 w 4802"/>
                <a:gd name="T3" fmla="*/ 1332 h 1466"/>
                <a:gd name="T4" fmla="*/ 4669 w 4802"/>
                <a:gd name="T5" fmla="*/ 1248 h 1466"/>
                <a:gd name="T6" fmla="*/ 2460 w 4802"/>
                <a:gd name="T7" fmla="*/ 143 h 1466"/>
                <a:gd name="T8" fmla="*/ 143 w 4802"/>
                <a:gd name="T9" fmla="*/ 1241 h 1466"/>
                <a:gd name="T10" fmla="*/ 138 w 4802"/>
                <a:gd name="T11" fmla="*/ 1332 h 1466"/>
                <a:gd name="T12" fmla="*/ 4735 w 4802"/>
                <a:gd name="T13" fmla="*/ 1466 h 1466"/>
                <a:gd name="T14" fmla="*/ 68 w 4802"/>
                <a:gd name="T15" fmla="*/ 1466 h 1466"/>
                <a:gd name="T16" fmla="*/ 20 w 4802"/>
                <a:gd name="T17" fmla="*/ 1445 h 1466"/>
                <a:gd name="T18" fmla="*/ 1 w 4802"/>
                <a:gd name="T19" fmla="*/ 1396 h 1466"/>
                <a:gd name="T20" fmla="*/ 11 w 4802"/>
                <a:gd name="T21" fmla="*/ 1194 h 1466"/>
                <a:gd name="T22" fmla="*/ 49 w 4802"/>
                <a:gd name="T23" fmla="*/ 1137 h 1466"/>
                <a:gd name="T24" fmla="*/ 2433 w 4802"/>
                <a:gd name="T25" fmla="*/ 9 h 1466"/>
                <a:gd name="T26" fmla="*/ 2491 w 4802"/>
                <a:gd name="T27" fmla="*/ 9 h 1466"/>
                <a:gd name="T28" fmla="*/ 4765 w 4802"/>
                <a:gd name="T29" fmla="*/ 1147 h 1466"/>
                <a:gd name="T30" fmla="*/ 4802 w 4802"/>
                <a:gd name="T31" fmla="*/ 1207 h 1466"/>
                <a:gd name="T32" fmla="*/ 4802 w 4802"/>
                <a:gd name="T33" fmla="*/ 1399 h 1466"/>
                <a:gd name="T34" fmla="*/ 4735 w 4802"/>
                <a:gd name="T35" fmla="*/ 1466 h 1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802" h="1466">
                  <a:moveTo>
                    <a:pt x="138" y="1332"/>
                  </a:moveTo>
                  <a:lnTo>
                    <a:pt x="4669" y="1332"/>
                  </a:lnTo>
                  <a:lnTo>
                    <a:pt x="4669" y="1248"/>
                  </a:lnTo>
                  <a:lnTo>
                    <a:pt x="2460" y="143"/>
                  </a:lnTo>
                  <a:lnTo>
                    <a:pt x="143" y="1241"/>
                  </a:lnTo>
                  <a:lnTo>
                    <a:pt x="138" y="1332"/>
                  </a:lnTo>
                  <a:close/>
                  <a:moveTo>
                    <a:pt x="4735" y="1466"/>
                  </a:moveTo>
                  <a:lnTo>
                    <a:pt x="68" y="1466"/>
                  </a:lnTo>
                  <a:cubicBezTo>
                    <a:pt x="50" y="1466"/>
                    <a:pt x="32" y="1458"/>
                    <a:pt x="20" y="1445"/>
                  </a:cubicBezTo>
                  <a:cubicBezTo>
                    <a:pt x="7" y="1432"/>
                    <a:pt x="0" y="1414"/>
                    <a:pt x="1" y="1396"/>
                  </a:cubicBezTo>
                  <a:lnTo>
                    <a:pt x="11" y="1194"/>
                  </a:lnTo>
                  <a:cubicBezTo>
                    <a:pt x="13" y="1169"/>
                    <a:pt x="27" y="1147"/>
                    <a:pt x="49" y="1137"/>
                  </a:cubicBezTo>
                  <a:lnTo>
                    <a:pt x="2433" y="9"/>
                  </a:lnTo>
                  <a:cubicBezTo>
                    <a:pt x="2451" y="0"/>
                    <a:pt x="2473" y="0"/>
                    <a:pt x="2491" y="9"/>
                  </a:cubicBezTo>
                  <a:lnTo>
                    <a:pt x="4765" y="1147"/>
                  </a:lnTo>
                  <a:cubicBezTo>
                    <a:pt x="4788" y="1159"/>
                    <a:pt x="4802" y="1182"/>
                    <a:pt x="4802" y="1207"/>
                  </a:cubicBezTo>
                  <a:lnTo>
                    <a:pt x="4802" y="1399"/>
                  </a:lnTo>
                  <a:cubicBezTo>
                    <a:pt x="4802" y="1436"/>
                    <a:pt x="4772" y="1466"/>
                    <a:pt x="4735" y="146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6" name="Freeform 7">
              <a:extLst>
                <a:ext uri="{FF2B5EF4-FFF2-40B4-BE49-F238E27FC236}">
                  <a16:creationId xmlns:a16="http://schemas.microsoft.com/office/drawing/2014/main" id="{AB931D54-BAE4-FCD4-9AE6-F886C5B3D74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2675" y="4051300"/>
              <a:ext cx="571500" cy="15875"/>
            </a:xfrm>
            <a:custGeom>
              <a:avLst/>
              <a:gdLst>
                <a:gd name="T0" fmla="*/ 4963 w 5029"/>
                <a:gd name="T1" fmla="*/ 144 h 144"/>
                <a:gd name="T2" fmla="*/ 4963 w 5029"/>
                <a:gd name="T3" fmla="*/ 144 h 144"/>
                <a:gd name="T4" fmla="*/ 66 w 5029"/>
                <a:gd name="T5" fmla="*/ 133 h 144"/>
                <a:gd name="T6" fmla="*/ 0 w 5029"/>
                <a:gd name="T7" fmla="*/ 67 h 144"/>
                <a:gd name="T8" fmla="*/ 67 w 5029"/>
                <a:gd name="T9" fmla="*/ 0 h 144"/>
                <a:gd name="T10" fmla="*/ 67 w 5029"/>
                <a:gd name="T11" fmla="*/ 0 h 144"/>
                <a:gd name="T12" fmla="*/ 4963 w 5029"/>
                <a:gd name="T13" fmla="*/ 10 h 144"/>
                <a:gd name="T14" fmla="*/ 5029 w 5029"/>
                <a:gd name="T15" fmla="*/ 77 h 144"/>
                <a:gd name="T16" fmla="*/ 4963 w 5029"/>
                <a:gd name="T17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29" h="144">
                  <a:moveTo>
                    <a:pt x="4963" y="144"/>
                  </a:moveTo>
                  <a:lnTo>
                    <a:pt x="4963" y="144"/>
                  </a:lnTo>
                  <a:lnTo>
                    <a:pt x="66" y="133"/>
                  </a:lnTo>
                  <a:cubicBezTo>
                    <a:pt x="29" y="133"/>
                    <a:pt x="0" y="104"/>
                    <a:pt x="0" y="67"/>
                  </a:cubicBezTo>
                  <a:cubicBezTo>
                    <a:pt x="0" y="30"/>
                    <a:pt x="30" y="0"/>
                    <a:pt x="67" y="0"/>
                  </a:cubicBezTo>
                  <a:lnTo>
                    <a:pt x="67" y="0"/>
                  </a:lnTo>
                  <a:lnTo>
                    <a:pt x="4963" y="10"/>
                  </a:lnTo>
                  <a:cubicBezTo>
                    <a:pt x="5000" y="10"/>
                    <a:pt x="5029" y="40"/>
                    <a:pt x="5029" y="77"/>
                  </a:cubicBezTo>
                  <a:cubicBezTo>
                    <a:pt x="5029" y="114"/>
                    <a:pt x="5000" y="144"/>
                    <a:pt x="4963" y="14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7" name="Freeform 8">
              <a:extLst>
                <a:ext uri="{FF2B5EF4-FFF2-40B4-BE49-F238E27FC236}">
                  <a16:creationId xmlns:a16="http://schemas.microsoft.com/office/drawing/2014/main" id="{120DFA8C-5386-1FD0-B64B-D91401343F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19825" y="3825875"/>
              <a:ext cx="455613" cy="53975"/>
            </a:xfrm>
            <a:custGeom>
              <a:avLst/>
              <a:gdLst>
                <a:gd name="T0" fmla="*/ 133 w 4018"/>
                <a:gd name="T1" fmla="*/ 334 h 467"/>
                <a:gd name="T2" fmla="*/ 3885 w 4018"/>
                <a:gd name="T3" fmla="*/ 334 h 467"/>
                <a:gd name="T4" fmla="*/ 3885 w 4018"/>
                <a:gd name="T5" fmla="*/ 133 h 467"/>
                <a:gd name="T6" fmla="*/ 133 w 4018"/>
                <a:gd name="T7" fmla="*/ 133 h 467"/>
                <a:gd name="T8" fmla="*/ 133 w 4018"/>
                <a:gd name="T9" fmla="*/ 334 h 467"/>
                <a:gd name="T10" fmla="*/ 3951 w 4018"/>
                <a:gd name="T11" fmla="*/ 467 h 467"/>
                <a:gd name="T12" fmla="*/ 67 w 4018"/>
                <a:gd name="T13" fmla="*/ 467 h 467"/>
                <a:gd name="T14" fmla="*/ 0 w 4018"/>
                <a:gd name="T15" fmla="*/ 400 h 467"/>
                <a:gd name="T16" fmla="*/ 0 w 4018"/>
                <a:gd name="T17" fmla="*/ 67 h 467"/>
                <a:gd name="T18" fmla="*/ 67 w 4018"/>
                <a:gd name="T19" fmla="*/ 0 h 467"/>
                <a:gd name="T20" fmla="*/ 3951 w 4018"/>
                <a:gd name="T21" fmla="*/ 0 h 467"/>
                <a:gd name="T22" fmla="*/ 4018 w 4018"/>
                <a:gd name="T23" fmla="*/ 67 h 467"/>
                <a:gd name="T24" fmla="*/ 4018 w 4018"/>
                <a:gd name="T25" fmla="*/ 400 h 467"/>
                <a:gd name="T26" fmla="*/ 3951 w 4018"/>
                <a:gd name="T27" fmla="*/ 467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18" h="467">
                  <a:moveTo>
                    <a:pt x="133" y="334"/>
                  </a:moveTo>
                  <a:lnTo>
                    <a:pt x="3885" y="334"/>
                  </a:lnTo>
                  <a:lnTo>
                    <a:pt x="3885" y="133"/>
                  </a:lnTo>
                  <a:lnTo>
                    <a:pt x="133" y="133"/>
                  </a:lnTo>
                  <a:lnTo>
                    <a:pt x="133" y="334"/>
                  </a:lnTo>
                  <a:close/>
                  <a:moveTo>
                    <a:pt x="3951" y="467"/>
                  </a:moveTo>
                  <a:lnTo>
                    <a:pt x="67" y="467"/>
                  </a:lnTo>
                  <a:cubicBezTo>
                    <a:pt x="30" y="467"/>
                    <a:pt x="0" y="437"/>
                    <a:pt x="0" y="400"/>
                  </a:cubicBezTo>
                  <a:lnTo>
                    <a:pt x="0" y="67"/>
                  </a:lnTo>
                  <a:cubicBezTo>
                    <a:pt x="0" y="30"/>
                    <a:pt x="30" y="0"/>
                    <a:pt x="67" y="0"/>
                  </a:cubicBezTo>
                  <a:lnTo>
                    <a:pt x="3951" y="0"/>
                  </a:lnTo>
                  <a:cubicBezTo>
                    <a:pt x="3988" y="0"/>
                    <a:pt x="4018" y="30"/>
                    <a:pt x="4018" y="67"/>
                  </a:cubicBezTo>
                  <a:lnTo>
                    <a:pt x="4018" y="400"/>
                  </a:lnTo>
                  <a:cubicBezTo>
                    <a:pt x="4018" y="437"/>
                    <a:pt x="3988" y="467"/>
                    <a:pt x="3951" y="46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8" name="Freeform 9">
              <a:extLst>
                <a:ext uri="{FF2B5EF4-FFF2-40B4-BE49-F238E27FC236}">
                  <a16:creationId xmlns:a16="http://schemas.microsoft.com/office/drawing/2014/main" id="{FDC990CE-F6E1-8737-57F8-6107BB59D5F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1575" y="3706813"/>
              <a:ext cx="393700" cy="103188"/>
            </a:xfrm>
            <a:custGeom>
              <a:avLst/>
              <a:gdLst>
                <a:gd name="T0" fmla="*/ 76 w 3467"/>
                <a:gd name="T1" fmla="*/ 907 h 907"/>
                <a:gd name="T2" fmla="*/ 15 w 3467"/>
                <a:gd name="T3" fmla="*/ 868 h 907"/>
                <a:gd name="T4" fmla="*/ 48 w 3467"/>
                <a:gd name="T5" fmla="*/ 780 h 907"/>
                <a:gd name="T6" fmla="*/ 1763 w 3467"/>
                <a:gd name="T7" fmla="*/ 8 h 907"/>
                <a:gd name="T8" fmla="*/ 1819 w 3467"/>
                <a:gd name="T9" fmla="*/ 8 h 907"/>
                <a:gd name="T10" fmla="*/ 3420 w 3467"/>
                <a:gd name="T11" fmla="*/ 766 h 907"/>
                <a:gd name="T12" fmla="*/ 3452 w 3467"/>
                <a:gd name="T13" fmla="*/ 854 h 907"/>
                <a:gd name="T14" fmla="*/ 3363 w 3467"/>
                <a:gd name="T15" fmla="*/ 886 h 907"/>
                <a:gd name="T16" fmla="*/ 1790 w 3467"/>
                <a:gd name="T17" fmla="*/ 142 h 907"/>
                <a:gd name="T18" fmla="*/ 103 w 3467"/>
                <a:gd name="T19" fmla="*/ 901 h 907"/>
                <a:gd name="T20" fmla="*/ 76 w 3467"/>
                <a:gd name="T21" fmla="*/ 907 h 9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67" h="907">
                  <a:moveTo>
                    <a:pt x="76" y="907"/>
                  </a:moveTo>
                  <a:cubicBezTo>
                    <a:pt x="50" y="907"/>
                    <a:pt x="26" y="892"/>
                    <a:pt x="15" y="868"/>
                  </a:cubicBezTo>
                  <a:cubicBezTo>
                    <a:pt x="0" y="834"/>
                    <a:pt x="15" y="795"/>
                    <a:pt x="48" y="780"/>
                  </a:cubicBezTo>
                  <a:lnTo>
                    <a:pt x="1763" y="8"/>
                  </a:lnTo>
                  <a:cubicBezTo>
                    <a:pt x="1781" y="0"/>
                    <a:pt x="1802" y="0"/>
                    <a:pt x="1819" y="8"/>
                  </a:cubicBezTo>
                  <a:lnTo>
                    <a:pt x="3420" y="766"/>
                  </a:lnTo>
                  <a:cubicBezTo>
                    <a:pt x="3453" y="782"/>
                    <a:pt x="3467" y="821"/>
                    <a:pt x="3452" y="854"/>
                  </a:cubicBezTo>
                  <a:cubicBezTo>
                    <a:pt x="3436" y="888"/>
                    <a:pt x="3396" y="902"/>
                    <a:pt x="3363" y="886"/>
                  </a:cubicBezTo>
                  <a:lnTo>
                    <a:pt x="1790" y="142"/>
                  </a:lnTo>
                  <a:lnTo>
                    <a:pt x="103" y="901"/>
                  </a:lnTo>
                  <a:cubicBezTo>
                    <a:pt x="94" y="905"/>
                    <a:pt x="85" y="907"/>
                    <a:pt x="76" y="90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9" name="Freeform 10">
              <a:extLst>
                <a:ext uri="{FF2B5EF4-FFF2-40B4-BE49-F238E27FC236}">
                  <a16:creationId xmlns:a16="http://schemas.microsoft.com/office/drawing/2014/main" id="{4CB23955-C6C1-DE76-B0F1-1AE2CD953C7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9825" y="3867150"/>
              <a:ext cx="17463" cy="173038"/>
            </a:xfrm>
            <a:custGeom>
              <a:avLst/>
              <a:gdLst>
                <a:gd name="T0" fmla="*/ 99 w 166"/>
                <a:gd name="T1" fmla="*/ 1527 h 1527"/>
                <a:gd name="T2" fmla="*/ 33 w 166"/>
                <a:gd name="T3" fmla="*/ 1460 h 1527"/>
                <a:gd name="T4" fmla="*/ 33 w 166"/>
                <a:gd name="T5" fmla="*/ 311 h 1527"/>
                <a:gd name="T6" fmla="*/ 4 w 166"/>
                <a:gd name="T7" fmla="*/ 79 h 1527"/>
                <a:gd name="T8" fmla="*/ 62 w 166"/>
                <a:gd name="T9" fmla="*/ 4 h 1527"/>
                <a:gd name="T10" fmla="*/ 137 w 166"/>
                <a:gd name="T11" fmla="*/ 62 h 1527"/>
                <a:gd name="T12" fmla="*/ 165 w 166"/>
                <a:gd name="T13" fmla="*/ 299 h 1527"/>
                <a:gd name="T14" fmla="*/ 166 w 166"/>
                <a:gd name="T15" fmla="*/ 307 h 1527"/>
                <a:gd name="T16" fmla="*/ 166 w 166"/>
                <a:gd name="T17" fmla="*/ 1460 h 1527"/>
                <a:gd name="T18" fmla="*/ 99 w 166"/>
                <a:gd name="T19" fmla="*/ 1527 h 1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527">
                  <a:moveTo>
                    <a:pt x="99" y="1527"/>
                  </a:moveTo>
                  <a:cubicBezTo>
                    <a:pt x="62" y="1527"/>
                    <a:pt x="33" y="1497"/>
                    <a:pt x="33" y="1460"/>
                  </a:cubicBezTo>
                  <a:lnTo>
                    <a:pt x="33" y="311"/>
                  </a:lnTo>
                  <a:lnTo>
                    <a:pt x="4" y="79"/>
                  </a:lnTo>
                  <a:cubicBezTo>
                    <a:pt x="0" y="42"/>
                    <a:pt x="26" y="9"/>
                    <a:pt x="62" y="4"/>
                  </a:cubicBezTo>
                  <a:cubicBezTo>
                    <a:pt x="99" y="0"/>
                    <a:pt x="132" y="26"/>
                    <a:pt x="137" y="62"/>
                  </a:cubicBezTo>
                  <a:lnTo>
                    <a:pt x="165" y="299"/>
                  </a:lnTo>
                  <a:cubicBezTo>
                    <a:pt x="166" y="302"/>
                    <a:pt x="166" y="305"/>
                    <a:pt x="166" y="307"/>
                  </a:cubicBezTo>
                  <a:lnTo>
                    <a:pt x="166" y="1460"/>
                  </a:lnTo>
                  <a:cubicBezTo>
                    <a:pt x="166" y="1497"/>
                    <a:pt x="136" y="1527"/>
                    <a:pt x="99" y="152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0" name="Freeform 11">
              <a:extLst>
                <a:ext uri="{FF2B5EF4-FFF2-40B4-BE49-F238E27FC236}">
                  <a16:creationId xmlns:a16="http://schemas.microsoft.com/office/drawing/2014/main" id="{A575B61E-E498-3FC3-A01A-1E2308F9EDA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6813" y="3867150"/>
              <a:ext cx="17463" cy="173038"/>
            </a:xfrm>
            <a:custGeom>
              <a:avLst/>
              <a:gdLst>
                <a:gd name="T0" fmla="*/ 79 w 164"/>
                <a:gd name="T1" fmla="*/ 1527 h 1527"/>
                <a:gd name="T2" fmla="*/ 13 w 164"/>
                <a:gd name="T3" fmla="*/ 1461 h 1527"/>
                <a:gd name="T4" fmla="*/ 0 w 164"/>
                <a:gd name="T5" fmla="*/ 310 h 1527"/>
                <a:gd name="T6" fmla="*/ 1 w 164"/>
                <a:gd name="T7" fmla="*/ 302 h 1527"/>
                <a:gd name="T8" fmla="*/ 28 w 164"/>
                <a:gd name="T9" fmla="*/ 63 h 1527"/>
                <a:gd name="T10" fmla="*/ 101 w 164"/>
                <a:gd name="T11" fmla="*/ 4 h 1527"/>
                <a:gd name="T12" fmla="*/ 160 w 164"/>
                <a:gd name="T13" fmla="*/ 78 h 1527"/>
                <a:gd name="T14" fmla="*/ 134 w 164"/>
                <a:gd name="T15" fmla="*/ 313 h 1527"/>
                <a:gd name="T16" fmla="*/ 146 w 164"/>
                <a:gd name="T17" fmla="*/ 1459 h 1527"/>
                <a:gd name="T18" fmla="*/ 80 w 164"/>
                <a:gd name="T19" fmla="*/ 1527 h 1527"/>
                <a:gd name="T20" fmla="*/ 79 w 164"/>
                <a:gd name="T21" fmla="*/ 1527 h 1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4" h="1527">
                  <a:moveTo>
                    <a:pt x="79" y="1527"/>
                  </a:moveTo>
                  <a:cubicBezTo>
                    <a:pt x="43" y="1527"/>
                    <a:pt x="13" y="1497"/>
                    <a:pt x="13" y="1461"/>
                  </a:cubicBezTo>
                  <a:lnTo>
                    <a:pt x="0" y="310"/>
                  </a:lnTo>
                  <a:cubicBezTo>
                    <a:pt x="0" y="307"/>
                    <a:pt x="1" y="305"/>
                    <a:pt x="1" y="302"/>
                  </a:cubicBezTo>
                  <a:lnTo>
                    <a:pt x="28" y="63"/>
                  </a:lnTo>
                  <a:cubicBezTo>
                    <a:pt x="32" y="27"/>
                    <a:pt x="65" y="0"/>
                    <a:pt x="101" y="4"/>
                  </a:cubicBezTo>
                  <a:cubicBezTo>
                    <a:pt x="138" y="8"/>
                    <a:pt x="164" y="41"/>
                    <a:pt x="160" y="78"/>
                  </a:cubicBezTo>
                  <a:lnTo>
                    <a:pt x="134" y="313"/>
                  </a:lnTo>
                  <a:lnTo>
                    <a:pt x="146" y="1459"/>
                  </a:lnTo>
                  <a:cubicBezTo>
                    <a:pt x="146" y="1496"/>
                    <a:pt x="117" y="1526"/>
                    <a:pt x="80" y="1527"/>
                  </a:cubicBezTo>
                  <a:lnTo>
                    <a:pt x="79" y="1527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1" name="Freeform 12">
              <a:extLst>
                <a:ext uri="{FF2B5EF4-FFF2-40B4-BE49-F238E27FC236}">
                  <a16:creationId xmlns:a16="http://schemas.microsoft.com/office/drawing/2014/main" id="{68687A7B-77C9-441C-9EE3-ED45B714211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3000" y="3894138"/>
              <a:ext cx="36513" cy="15875"/>
            </a:xfrm>
            <a:custGeom>
              <a:avLst/>
              <a:gdLst>
                <a:gd name="T0" fmla="*/ 250 w 317"/>
                <a:gd name="T1" fmla="*/ 134 h 134"/>
                <a:gd name="T2" fmla="*/ 67 w 317"/>
                <a:gd name="T3" fmla="*/ 134 h 134"/>
                <a:gd name="T4" fmla="*/ 0 w 317"/>
                <a:gd name="T5" fmla="*/ 67 h 134"/>
                <a:gd name="T6" fmla="*/ 67 w 317"/>
                <a:gd name="T7" fmla="*/ 0 h 134"/>
                <a:gd name="T8" fmla="*/ 250 w 317"/>
                <a:gd name="T9" fmla="*/ 0 h 134"/>
                <a:gd name="T10" fmla="*/ 317 w 317"/>
                <a:gd name="T11" fmla="*/ 67 h 134"/>
                <a:gd name="T12" fmla="*/ 250 w 317"/>
                <a:gd name="T1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7" h="134">
                  <a:moveTo>
                    <a:pt x="250" y="134"/>
                  </a:moveTo>
                  <a:lnTo>
                    <a:pt x="67" y="134"/>
                  </a:lnTo>
                  <a:cubicBezTo>
                    <a:pt x="30" y="134"/>
                    <a:pt x="0" y="104"/>
                    <a:pt x="0" y="67"/>
                  </a:cubicBezTo>
                  <a:cubicBezTo>
                    <a:pt x="0" y="30"/>
                    <a:pt x="30" y="0"/>
                    <a:pt x="67" y="0"/>
                  </a:cubicBezTo>
                  <a:lnTo>
                    <a:pt x="250" y="0"/>
                  </a:lnTo>
                  <a:cubicBezTo>
                    <a:pt x="287" y="0"/>
                    <a:pt x="317" y="30"/>
                    <a:pt x="317" y="67"/>
                  </a:cubicBezTo>
                  <a:cubicBezTo>
                    <a:pt x="317" y="104"/>
                    <a:pt x="287" y="134"/>
                    <a:pt x="250" y="13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2" name="Freeform 13">
              <a:extLst>
                <a:ext uri="{FF2B5EF4-FFF2-40B4-BE49-F238E27FC236}">
                  <a16:creationId xmlns:a16="http://schemas.microsoft.com/office/drawing/2014/main" id="{A6B5EE2C-81BC-726B-E726-B76FCC18C3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6650" y="4021138"/>
              <a:ext cx="22225" cy="41275"/>
            </a:xfrm>
            <a:custGeom>
              <a:avLst/>
              <a:gdLst>
                <a:gd name="T0" fmla="*/ 73 w 189"/>
                <a:gd name="T1" fmla="*/ 361 h 361"/>
                <a:gd name="T2" fmla="*/ 60 w 189"/>
                <a:gd name="T3" fmla="*/ 360 h 361"/>
                <a:gd name="T4" fmla="*/ 7 w 189"/>
                <a:gd name="T5" fmla="*/ 281 h 361"/>
                <a:gd name="T6" fmla="*/ 51 w 189"/>
                <a:gd name="T7" fmla="*/ 59 h 361"/>
                <a:gd name="T8" fmla="*/ 129 w 189"/>
                <a:gd name="T9" fmla="*/ 6 h 361"/>
                <a:gd name="T10" fmla="*/ 182 w 189"/>
                <a:gd name="T11" fmla="*/ 85 h 361"/>
                <a:gd name="T12" fmla="*/ 138 w 189"/>
                <a:gd name="T13" fmla="*/ 307 h 361"/>
                <a:gd name="T14" fmla="*/ 73 w 189"/>
                <a:gd name="T15" fmla="*/ 36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9" h="361">
                  <a:moveTo>
                    <a:pt x="73" y="361"/>
                  </a:moveTo>
                  <a:cubicBezTo>
                    <a:pt x="69" y="361"/>
                    <a:pt x="64" y="361"/>
                    <a:pt x="60" y="360"/>
                  </a:cubicBezTo>
                  <a:cubicBezTo>
                    <a:pt x="24" y="353"/>
                    <a:pt x="0" y="318"/>
                    <a:pt x="7" y="281"/>
                  </a:cubicBezTo>
                  <a:lnTo>
                    <a:pt x="51" y="59"/>
                  </a:lnTo>
                  <a:cubicBezTo>
                    <a:pt x="58" y="23"/>
                    <a:pt x="93" y="0"/>
                    <a:pt x="129" y="6"/>
                  </a:cubicBezTo>
                  <a:cubicBezTo>
                    <a:pt x="165" y="14"/>
                    <a:pt x="189" y="49"/>
                    <a:pt x="182" y="85"/>
                  </a:cubicBezTo>
                  <a:lnTo>
                    <a:pt x="138" y="307"/>
                  </a:lnTo>
                  <a:cubicBezTo>
                    <a:pt x="132" y="339"/>
                    <a:pt x="104" y="361"/>
                    <a:pt x="73" y="3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3" name="Freeform 14">
              <a:extLst>
                <a:ext uri="{FF2B5EF4-FFF2-40B4-BE49-F238E27FC236}">
                  <a16:creationId xmlns:a16="http://schemas.microsoft.com/office/drawing/2014/main" id="{787BA8AA-C60D-1A13-293C-7C543E30D7C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6813" y="4024313"/>
              <a:ext cx="19050" cy="38100"/>
            </a:xfrm>
            <a:custGeom>
              <a:avLst/>
              <a:gdLst>
                <a:gd name="T0" fmla="*/ 98 w 169"/>
                <a:gd name="T1" fmla="*/ 333 h 333"/>
                <a:gd name="T2" fmla="*/ 32 w 169"/>
                <a:gd name="T3" fmla="*/ 275 h 333"/>
                <a:gd name="T4" fmla="*/ 5 w 169"/>
                <a:gd name="T5" fmla="*/ 80 h 333"/>
                <a:gd name="T6" fmla="*/ 63 w 169"/>
                <a:gd name="T7" fmla="*/ 5 h 333"/>
                <a:gd name="T8" fmla="*/ 138 w 169"/>
                <a:gd name="T9" fmla="*/ 62 h 333"/>
                <a:gd name="T10" fmla="*/ 164 w 169"/>
                <a:gd name="T11" fmla="*/ 257 h 333"/>
                <a:gd name="T12" fmla="*/ 107 w 169"/>
                <a:gd name="T13" fmla="*/ 332 h 333"/>
                <a:gd name="T14" fmla="*/ 98 w 169"/>
                <a:gd name="T15" fmla="*/ 333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9" h="333">
                  <a:moveTo>
                    <a:pt x="98" y="333"/>
                  </a:moveTo>
                  <a:cubicBezTo>
                    <a:pt x="65" y="333"/>
                    <a:pt x="37" y="309"/>
                    <a:pt x="32" y="275"/>
                  </a:cubicBezTo>
                  <a:lnTo>
                    <a:pt x="5" y="80"/>
                  </a:lnTo>
                  <a:cubicBezTo>
                    <a:pt x="0" y="43"/>
                    <a:pt x="26" y="10"/>
                    <a:pt x="63" y="5"/>
                  </a:cubicBezTo>
                  <a:cubicBezTo>
                    <a:pt x="99" y="0"/>
                    <a:pt x="133" y="25"/>
                    <a:pt x="138" y="62"/>
                  </a:cubicBezTo>
                  <a:lnTo>
                    <a:pt x="164" y="257"/>
                  </a:lnTo>
                  <a:cubicBezTo>
                    <a:pt x="169" y="294"/>
                    <a:pt x="144" y="327"/>
                    <a:pt x="107" y="332"/>
                  </a:cubicBezTo>
                  <a:cubicBezTo>
                    <a:pt x="104" y="333"/>
                    <a:pt x="101" y="333"/>
                    <a:pt x="98" y="3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4" name="Freeform 15">
              <a:extLst>
                <a:ext uri="{FF2B5EF4-FFF2-40B4-BE49-F238E27FC236}">
                  <a16:creationId xmlns:a16="http://schemas.microsoft.com/office/drawing/2014/main" id="{546ADE53-6CB8-BB03-1E82-A2ABC2D14BB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3000" y="4021138"/>
              <a:ext cx="36513" cy="15875"/>
            </a:xfrm>
            <a:custGeom>
              <a:avLst/>
              <a:gdLst>
                <a:gd name="T0" fmla="*/ 250 w 317"/>
                <a:gd name="T1" fmla="*/ 134 h 134"/>
                <a:gd name="T2" fmla="*/ 67 w 317"/>
                <a:gd name="T3" fmla="*/ 134 h 134"/>
                <a:gd name="T4" fmla="*/ 0 w 317"/>
                <a:gd name="T5" fmla="*/ 67 h 134"/>
                <a:gd name="T6" fmla="*/ 67 w 317"/>
                <a:gd name="T7" fmla="*/ 0 h 134"/>
                <a:gd name="T8" fmla="*/ 250 w 317"/>
                <a:gd name="T9" fmla="*/ 0 h 134"/>
                <a:gd name="T10" fmla="*/ 317 w 317"/>
                <a:gd name="T11" fmla="*/ 67 h 134"/>
                <a:gd name="T12" fmla="*/ 250 w 317"/>
                <a:gd name="T1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7" h="134">
                  <a:moveTo>
                    <a:pt x="250" y="134"/>
                  </a:moveTo>
                  <a:lnTo>
                    <a:pt x="67" y="134"/>
                  </a:lnTo>
                  <a:cubicBezTo>
                    <a:pt x="30" y="134"/>
                    <a:pt x="0" y="104"/>
                    <a:pt x="0" y="67"/>
                  </a:cubicBezTo>
                  <a:cubicBezTo>
                    <a:pt x="0" y="30"/>
                    <a:pt x="30" y="0"/>
                    <a:pt x="67" y="0"/>
                  </a:cubicBezTo>
                  <a:lnTo>
                    <a:pt x="250" y="0"/>
                  </a:lnTo>
                  <a:cubicBezTo>
                    <a:pt x="287" y="0"/>
                    <a:pt x="317" y="30"/>
                    <a:pt x="317" y="67"/>
                  </a:cubicBezTo>
                  <a:cubicBezTo>
                    <a:pt x="317" y="104"/>
                    <a:pt x="287" y="134"/>
                    <a:pt x="250" y="13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5" name="Freeform 16">
              <a:extLst>
                <a:ext uri="{FF2B5EF4-FFF2-40B4-BE49-F238E27FC236}">
                  <a16:creationId xmlns:a16="http://schemas.microsoft.com/office/drawing/2014/main" id="{43D0CEB9-FE5E-8338-39D5-93EFB087727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8563" y="3867150"/>
              <a:ext cx="19050" cy="173038"/>
            </a:xfrm>
            <a:custGeom>
              <a:avLst/>
              <a:gdLst>
                <a:gd name="T0" fmla="*/ 99 w 166"/>
                <a:gd name="T1" fmla="*/ 1527 h 1527"/>
                <a:gd name="T2" fmla="*/ 33 w 166"/>
                <a:gd name="T3" fmla="*/ 1460 h 1527"/>
                <a:gd name="T4" fmla="*/ 33 w 166"/>
                <a:gd name="T5" fmla="*/ 311 h 1527"/>
                <a:gd name="T6" fmla="*/ 4 w 166"/>
                <a:gd name="T7" fmla="*/ 78 h 1527"/>
                <a:gd name="T8" fmla="*/ 62 w 166"/>
                <a:gd name="T9" fmla="*/ 4 h 1527"/>
                <a:gd name="T10" fmla="*/ 137 w 166"/>
                <a:gd name="T11" fmla="*/ 62 h 1527"/>
                <a:gd name="T12" fmla="*/ 166 w 166"/>
                <a:gd name="T13" fmla="*/ 299 h 1527"/>
                <a:gd name="T14" fmla="*/ 166 w 166"/>
                <a:gd name="T15" fmla="*/ 307 h 1527"/>
                <a:gd name="T16" fmla="*/ 166 w 166"/>
                <a:gd name="T17" fmla="*/ 1460 h 1527"/>
                <a:gd name="T18" fmla="*/ 99 w 166"/>
                <a:gd name="T19" fmla="*/ 1527 h 1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527">
                  <a:moveTo>
                    <a:pt x="99" y="1527"/>
                  </a:moveTo>
                  <a:cubicBezTo>
                    <a:pt x="63" y="1527"/>
                    <a:pt x="33" y="1497"/>
                    <a:pt x="33" y="1460"/>
                  </a:cubicBezTo>
                  <a:lnTo>
                    <a:pt x="33" y="311"/>
                  </a:lnTo>
                  <a:lnTo>
                    <a:pt x="4" y="78"/>
                  </a:lnTo>
                  <a:cubicBezTo>
                    <a:pt x="0" y="42"/>
                    <a:pt x="26" y="9"/>
                    <a:pt x="62" y="4"/>
                  </a:cubicBezTo>
                  <a:cubicBezTo>
                    <a:pt x="99" y="0"/>
                    <a:pt x="132" y="26"/>
                    <a:pt x="137" y="62"/>
                  </a:cubicBezTo>
                  <a:lnTo>
                    <a:pt x="166" y="299"/>
                  </a:lnTo>
                  <a:cubicBezTo>
                    <a:pt x="166" y="302"/>
                    <a:pt x="166" y="304"/>
                    <a:pt x="166" y="307"/>
                  </a:cubicBezTo>
                  <a:lnTo>
                    <a:pt x="166" y="1460"/>
                  </a:lnTo>
                  <a:cubicBezTo>
                    <a:pt x="166" y="1497"/>
                    <a:pt x="136" y="1527"/>
                    <a:pt x="99" y="152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6" name="Freeform 17">
              <a:extLst>
                <a:ext uri="{FF2B5EF4-FFF2-40B4-BE49-F238E27FC236}">
                  <a16:creationId xmlns:a16="http://schemas.microsoft.com/office/drawing/2014/main" id="{BE22106B-9F04-43B3-6F0C-A5C2E662A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550" y="3867150"/>
              <a:ext cx="20638" cy="173038"/>
            </a:xfrm>
            <a:custGeom>
              <a:avLst/>
              <a:gdLst>
                <a:gd name="T0" fmla="*/ 79 w 179"/>
                <a:gd name="T1" fmla="*/ 1528 h 1528"/>
                <a:gd name="T2" fmla="*/ 12 w 179"/>
                <a:gd name="T3" fmla="*/ 1462 h 1528"/>
                <a:gd name="T4" fmla="*/ 0 w 179"/>
                <a:gd name="T5" fmla="*/ 311 h 1528"/>
                <a:gd name="T6" fmla="*/ 1 w 179"/>
                <a:gd name="T7" fmla="*/ 299 h 1528"/>
                <a:gd name="T8" fmla="*/ 42 w 179"/>
                <a:gd name="T9" fmla="*/ 60 h 1528"/>
                <a:gd name="T10" fmla="*/ 119 w 179"/>
                <a:gd name="T11" fmla="*/ 6 h 1528"/>
                <a:gd name="T12" fmla="*/ 173 w 179"/>
                <a:gd name="T13" fmla="*/ 83 h 1528"/>
                <a:gd name="T14" fmla="*/ 133 w 179"/>
                <a:gd name="T15" fmla="*/ 316 h 1528"/>
                <a:gd name="T16" fmla="*/ 145 w 179"/>
                <a:gd name="T17" fmla="*/ 1460 h 1528"/>
                <a:gd name="T18" fmla="*/ 79 w 179"/>
                <a:gd name="T19" fmla="*/ 1528 h 1528"/>
                <a:gd name="T20" fmla="*/ 79 w 179"/>
                <a:gd name="T21" fmla="*/ 1528 h 1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9" h="1528">
                  <a:moveTo>
                    <a:pt x="79" y="1528"/>
                  </a:moveTo>
                  <a:cubicBezTo>
                    <a:pt x="42" y="1528"/>
                    <a:pt x="12" y="1498"/>
                    <a:pt x="12" y="1462"/>
                  </a:cubicBezTo>
                  <a:lnTo>
                    <a:pt x="0" y="311"/>
                  </a:lnTo>
                  <a:cubicBezTo>
                    <a:pt x="0" y="307"/>
                    <a:pt x="0" y="303"/>
                    <a:pt x="1" y="299"/>
                  </a:cubicBezTo>
                  <a:lnTo>
                    <a:pt x="42" y="60"/>
                  </a:lnTo>
                  <a:cubicBezTo>
                    <a:pt x="48" y="24"/>
                    <a:pt x="83" y="0"/>
                    <a:pt x="119" y="6"/>
                  </a:cubicBezTo>
                  <a:cubicBezTo>
                    <a:pt x="155" y="12"/>
                    <a:pt x="179" y="46"/>
                    <a:pt x="173" y="83"/>
                  </a:cubicBezTo>
                  <a:lnTo>
                    <a:pt x="133" y="316"/>
                  </a:lnTo>
                  <a:lnTo>
                    <a:pt x="145" y="1460"/>
                  </a:lnTo>
                  <a:cubicBezTo>
                    <a:pt x="146" y="1497"/>
                    <a:pt x="116" y="1527"/>
                    <a:pt x="79" y="1528"/>
                  </a:cubicBezTo>
                  <a:lnTo>
                    <a:pt x="79" y="152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7" name="Freeform 18">
              <a:extLst>
                <a:ext uri="{FF2B5EF4-FFF2-40B4-BE49-F238E27FC236}">
                  <a16:creationId xmlns:a16="http://schemas.microsoft.com/office/drawing/2014/main" id="{CA8EB38D-74E7-775F-92E3-70D41185B58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1738" y="3894138"/>
              <a:ext cx="38100" cy="15875"/>
            </a:xfrm>
            <a:custGeom>
              <a:avLst/>
              <a:gdLst>
                <a:gd name="T0" fmla="*/ 267 w 334"/>
                <a:gd name="T1" fmla="*/ 133 h 133"/>
                <a:gd name="T2" fmla="*/ 67 w 334"/>
                <a:gd name="T3" fmla="*/ 133 h 133"/>
                <a:gd name="T4" fmla="*/ 0 w 334"/>
                <a:gd name="T5" fmla="*/ 66 h 133"/>
                <a:gd name="T6" fmla="*/ 67 w 334"/>
                <a:gd name="T7" fmla="*/ 0 h 133"/>
                <a:gd name="T8" fmla="*/ 267 w 334"/>
                <a:gd name="T9" fmla="*/ 0 h 133"/>
                <a:gd name="T10" fmla="*/ 334 w 334"/>
                <a:gd name="T11" fmla="*/ 66 h 133"/>
                <a:gd name="T12" fmla="*/ 267 w 334"/>
                <a:gd name="T13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4" h="133">
                  <a:moveTo>
                    <a:pt x="267" y="133"/>
                  </a:moveTo>
                  <a:lnTo>
                    <a:pt x="67" y="133"/>
                  </a:lnTo>
                  <a:cubicBezTo>
                    <a:pt x="30" y="133"/>
                    <a:pt x="0" y="103"/>
                    <a:pt x="0" y="66"/>
                  </a:cubicBezTo>
                  <a:cubicBezTo>
                    <a:pt x="0" y="29"/>
                    <a:pt x="30" y="0"/>
                    <a:pt x="67" y="0"/>
                  </a:cubicBezTo>
                  <a:lnTo>
                    <a:pt x="267" y="0"/>
                  </a:lnTo>
                  <a:cubicBezTo>
                    <a:pt x="304" y="0"/>
                    <a:pt x="334" y="29"/>
                    <a:pt x="334" y="66"/>
                  </a:cubicBezTo>
                  <a:cubicBezTo>
                    <a:pt x="334" y="103"/>
                    <a:pt x="304" y="133"/>
                    <a:pt x="267" y="1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8" name="Freeform 19">
              <a:extLst>
                <a:ext uri="{FF2B5EF4-FFF2-40B4-BE49-F238E27FC236}">
                  <a16:creationId xmlns:a16="http://schemas.microsoft.com/office/drawing/2014/main" id="{38DE84CA-D192-A9EF-90B7-CB567E4EA7F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8563" y="4021138"/>
              <a:ext cx="19050" cy="41275"/>
            </a:xfrm>
            <a:custGeom>
              <a:avLst/>
              <a:gdLst>
                <a:gd name="T0" fmla="*/ 71 w 170"/>
                <a:gd name="T1" fmla="*/ 360 h 360"/>
                <a:gd name="T2" fmla="*/ 62 w 170"/>
                <a:gd name="T3" fmla="*/ 359 h 360"/>
                <a:gd name="T4" fmla="*/ 4 w 170"/>
                <a:gd name="T5" fmla="*/ 285 h 360"/>
                <a:gd name="T6" fmla="*/ 33 w 170"/>
                <a:gd name="T7" fmla="*/ 62 h 360"/>
                <a:gd name="T8" fmla="*/ 108 w 170"/>
                <a:gd name="T9" fmla="*/ 5 h 360"/>
                <a:gd name="T10" fmla="*/ 166 w 170"/>
                <a:gd name="T11" fmla="*/ 79 h 360"/>
                <a:gd name="T12" fmla="*/ 137 w 170"/>
                <a:gd name="T13" fmla="*/ 302 h 360"/>
                <a:gd name="T14" fmla="*/ 71 w 170"/>
                <a:gd name="T15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0" h="360">
                  <a:moveTo>
                    <a:pt x="71" y="360"/>
                  </a:moveTo>
                  <a:cubicBezTo>
                    <a:pt x="68" y="360"/>
                    <a:pt x="65" y="360"/>
                    <a:pt x="62" y="359"/>
                  </a:cubicBezTo>
                  <a:cubicBezTo>
                    <a:pt x="25" y="354"/>
                    <a:pt x="0" y="321"/>
                    <a:pt x="4" y="285"/>
                  </a:cubicBezTo>
                  <a:lnTo>
                    <a:pt x="33" y="62"/>
                  </a:lnTo>
                  <a:cubicBezTo>
                    <a:pt x="38" y="26"/>
                    <a:pt x="71" y="0"/>
                    <a:pt x="108" y="5"/>
                  </a:cubicBezTo>
                  <a:cubicBezTo>
                    <a:pt x="145" y="9"/>
                    <a:pt x="170" y="43"/>
                    <a:pt x="166" y="79"/>
                  </a:cubicBezTo>
                  <a:lnTo>
                    <a:pt x="137" y="302"/>
                  </a:lnTo>
                  <a:cubicBezTo>
                    <a:pt x="132" y="335"/>
                    <a:pt x="104" y="360"/>
                    <a:pt x="71" y="36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9" name="Freeform 20">
              <a:extLst>
                <a:ext uri="{FF2B5EF4-FFF2-40B4-BE49-F238E27FC236}">
                  <a16:creationId xmlns:a16="http://schemas.microsoft.com/office/drawing/2014/main" id="{FC822598-7562-5FEB-A1BC-AFF4E33DC0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550" y="4021138"/>
              <a:ext cx="19050" cy="41275"/>
            </a:xfrm>
            <a:custGeom>
              <a:avLst/>
              <a:gdLst>
                <a:gd name="T0" fmla="*/ 97 w 168"/>
                <a:gd name="T1" fmla="*/ 362 h 362"/>
                <a:gd name="T2" fmla="*/ 31 w 168"/>
                <a:gd name="T3" fmla="*/ 303 h 362"/>
                <a:gd name="T4" fmla="*/ 4 w 168"/>
                <a:gd name="T5" fmla="*/ 79 h 362"/>
                <a:gd name="T6" fmla="*/ 62 w 168"/>
                <a:gd name="T7" fmla="*/ 4 h 362"/>
                <a:gd name="T8" fmla="*/ 137 w 168"/>
                <a:gd name="T9" fmla="*/ 63 h 362"/>
                <a:gd name="T10" fmla="*/ 163 w 168"/>
                <a:gd name="T11" fmla="*/ 287 h 362"/>
                <a:gd name="T12" fmla="*/ 105 w 168"/>
                <a:gd name="T13" fmla="*/ 361 h 362"/>
                <a:gd name="T14" fmla="*/ 97 w 168"/>
                <a:gd name="T15" fmla="*/ 362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8" h="362">
                  <a:moveTo>
                    <a:pt x="97" y="362"/>
                  </a:moveTo>
                  <a:cubicBezTo>
                    <a:pt x="64" y="362"/>
                    <a:pt x="35" y="337"/>
                    <a:pt x="31" y="303"/>
                  </a:cubicBezTo>
                  <a:lnTo>
                    <a:pt x="4" y="79"/>
                  </a:lnTo>
                  <a:cubicBezTo>
                    <a:pt x="0" y="42"/>
                    <a:pt x="26" y="9"/>
                    <a:pt x="62" y="4"/>
                  </a:cubicBezTo>
                  <a:cubicBezTo>
                    <a:pt x="99" y="0"/>
                    <a:pt x="132" y="26"/>
                    <a:pt x="137" y="63"/>
                  </a:cubicBezTo>
                  <a:lnTo>
                    <a:pt x="163" y="287"/>
                  </a:lnTo>
                  <a:cubicBezTo>
                    <a:pt x="168" y="324"/>
                    <a:pt x="142" y="357"/>
                    <a:pt x="105" y="361"/>
                  </a:cubicBezTo>
                  <a:cubicBezTo>
                    <a:pt x="102" y="362"/>
                    <a:pt x="100" y="362"/>
                    <a:pt x="97" y="36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0" name="Freeform 21">
              <a:extLst>
                <a:ext uri="{FF2B5EF4-FFF2-40B4-BE49-F238E27FC236}">
                  <a16:creationId xmlns:a16="http://schemas.microsoft.com/office/drawing/2014/main" id="{550E5113-2CF5-D04E-D180-1025B93C019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1738" y="4021138"/>
              <a:ext cx="38100" cy="15875"/>
            </a:xfrm>
            <a:custGeom>
              <a:avLst/>
              <a:gdLst>
                <a:gd name="T0" fmla="*/ 267 w 334"/>
                <a:gd name="T1" fmla="*/ 134 h 134"/>
                <a:gd name="T2" fmla="*/ 67 w 334"/>
                <a:gd name="T3" fmla="*/ 134 h 134"/>
                <a:gd name="T4" fmla="*/ 0 w 334"/>
                <a:gd name="T5" fmla="*/ 67 h 134"/>
                <a:gd name="T6" fmla="*/ 67 w 334"/>
                <a:gd name="T7" fmla="*/ 0 h 134"/>
                <a:gd name="T8" fmla="*/ 267 w 334"/>
                <a:gd name="T9" fmla="*/ 0 h 134"/>
                <a:gd name="T10" fmla="*/ 334 w 334"/>
                <a:gd name="T11" fmla="*/ 67 h 134"/>
                <a:gd name="T12" fmla="*/ 267 w 334"/>
                <a:gd name="T1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4" h="134">
                  <a:moveTo>
                    <a:pt x="267" y="134"/>
                  </a:moveTo>
                  <a:lnTo>
                    <a:pt x="67" y="134"/>
                  </a:lnTo>
                  <a:cubicBezTo>
                    <a:pt x="30" y="134"/>
                    <a:pt x="0" y="104"/>
                    <a:pt x="0" y="67"/>
                  </a:cubicBezTo>
                  <a:cubicBezTo>
                    <a:pt x="0" y="30"/>
                    <a:pt x="30" y="0"/>
                    <a:pt x="67" y="0"/>
                  </a:cubicBezTo>
                  <a:lnTo>
                    <a:pt x="267" y="0"/>
                  </a:lnTo>
                  <a:cubicBezTo>
                    <a:pt x="304" y="0"/>
                    <a:pt x="334" y="30"/>
                    <a:pt x="334" y="67"/>
                  </a:cubicBezTo>
                  <a:cubicBezTo>
                    <a:pt x="334" y="104"/>
                    <a:pt x="304" y="134"/>
                    <a:pt x="267" y="13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1" name="Freeform 22">
              <a:extLst>
                <a:ext uri="{FF2B5EF4-FFF2-40B4-BE49-F238E27FC236}">
                  <a16:creationId xmlns:a16="http://schemas.microsoft.com/office/drawing/2014/main" id="{E9E8F904-B4F8-1492-A5DB-C0F2F63BDD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8888" y="3867150"/>
              <a:ext cx="19050" cy="173038"/>
            </a:xfrm>
            <a:custGeom>
              <a:avLst/>
              <a:gdLst>
                <a:gd name="T0" fmla="*/ 100 w 167"/>
                <a:gd name="T1" fmla="*/ 1527 h 1527"/>
                <a:gd name="T2" fmla="*/ 33 w 167"/>
                <a:gd name="T3" fmla="*/ 1460 h 1527"/>
                <a:gd name="T4" fmla="*/ 33 w 167"/>
                <a:gd name="T5" fmla="*/ 312 h 1527"/>
                <a:gd name="T6" fmla="*/ 5 w 167"/>
                <a:gd name="T7" fmla="*/ 79 h 1527"/>
                <a:gd name="T8" fmla="*/ 63 w 167"/>
                <a:gd name="T9" fmla="*/ 4 h 1527"/>
                <a:gd name="T10" fmla="*/ 137 w 167"/>
                <a:gd name="T11" fmla="*/ 62 h 1527"/>
                <a:gd name="T12" fmla="*/ 166 w 167"/>
                <a:gd name="T13" fmla="*/ 299 h 1527"/>
                <a:gd name="T14" fmla="*/ 167 w 167"/>
                <a:gd name="T15" fmla="*/ 307 h 1527"/>
                <a:gd name="T16" fmla="*/ 167 w 167"/>
                <a:gd name="T17" fmla="*/ 1460 h 1527"/>
                <a:gd name="T18" fmla="*/ 100 w 167"/>
                <a:gd name="T19" fmla="*/ 1527 h 1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7" h="1527">
                  <a:moveTo>
                    <a:pt x="100" y="1527"/>
                  </a:moveTo>
                  <a:cubicBezTo>
                    <a:pt x="63" y="1527"/>
                    <a:pt x="33" y="1497"/>
                    <a:pt x="33" y="1460"/>
                  </a:cubicBezTo>
                  <a:lnTo>
                    <a:pt x="33" y="312"/>
                  </a:lnTo>
                  <a:lnTo>
                    <a:pt x="5" y="79"/>
                  </a:lnTo>
                  <a:cubicBezTo>
                    <a:pt x="0" y="42"/>
                    <a:pt x="26" y="9"/>
                    <a:pt x="63" y="4"/>
                  </a:cubicBezTo>
                  <a:cubicBezTo>
                    <a:pt x="99" y="0"/>
                    <a:pt x="132" y="26"/>
                    <a:pt x="137" y="62"/>
                  </a:cubicBezTo>
                  <a:lnTo>
                    <a:pt x="166" y="299"/>
                  </a:lnTo>
                  <a:cubicBezTo>
                    <a:pt x="166" y="302"/>
                    <a:pt x="167" y="305"/>
                    <a:pt x="167" y="307"/>
                  </a:cubicBezTo>
                  <a:lnTo>
                    <a:pt x="167" y="1460"/>
                  </a:lnTo>
                  <a:cubicBezTo>
                    <a:pt x="167" y="1497"/>
                    <a:pt x="137" y="1527"/>
                    <a:pt x="100" y="152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2" name="Freeform 23">
              <a:extLst>
                <a:ext uri="{FF2B5EF4-FFF2-40B4-BE49-F238E27FC236}">
                  <a16:creationId xmlns:a16="http://schemas.microsoft.com/office/drawing/2014/main" id="{B654C17D-C467-9713-9DD6-14BCE205174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5875" y="3867150"/>
              <a:ext cx="19050" cy="169863"/>
            </a:xfrm>
            <a:custGeom>
              <a:avLst/>
              <a:gdLst>
                <a:gd name="T0" fmla="*/ 66 w 166"/>
                <a:gd name="T1" fmla="*/ 1498 h 1498"/>
                <a:gd name="T2" fmla="*/ 66 w 166"/>
                <a:gd name="T3" fmla="*/ 1498 h 1498"/>
                <a:gd name="T4" fmla="*/ 0 w 166"/>
                <a:gd name="T5" fmla="*/ 1431 h 1498"/>
                <a:gd name="T6" fmla="*/ 2 w 166"/>
                <a:gd name="T7" fmla="*/ 309 h 1498"/>
                <a:gd name="T8" fmla="*/ 3 w 166"/>
                <a:gd name="T9" fmla="*/ 302 h 1498"/>
                <a:gd name="T10" fmla="*/ 29 w 166"/>
                <a:gd name="T11" fmla="*/ 63 h 1498"/>
                <a:gd name="T12" fmla="*/ 103 w 166"/>
                <a:gd name="T13" fmla="*/ 4 h 1498"/>
                <a:gd name="T14" fmla="*/ 162 w 166"/>
                <a:gd name="T15" fmla="*/ 78 h 1498"/>
                <a:gd name="T16" fmla="*/ 135 w 166"/>
                <a:gd name="T17" fmla="*/ 313 h 1498"/>
                <a:gd name="T18" fmla="*/ 133 w 166"/>
                <a:gd name="T19" fmla="*/ 1431 h 1498"/>
                <a:gd name="T20" fmla="*/ 66 w 166"/>
                <a:gd name="T21" fmla="*/ 1498 h 1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6" h="1498">
                  <a:moveTo>
                    <a:pt x="66" y="1498"/>
                  </a:moveTo>
                  <a:lnTo>
                    <a:pt x="66" y="1498"/>
                  </a:lnTo>
                  <a:cubicBezTo>
                    <a:pt x="29" y="1498"/>
                    <a:pt x="0" y="1468"/>
                    <a:pt x="0" y="1431"/>
                  </a:cubicBezTo>
                  <a:lnTo>
                    <a:pt x="2" y="309"/>
                  </a:lnTo>
                  <a:cubicBezTo>
                    <a:pt x="2" y="307"/>
                    <a:pt x="2" y="304"/>
                    <a:pt x="3" y="302"/>
                  </a:cubicBezTo>
                  <a:lnTo>
                    <a:pt x="29" y="63"/>
                  </a:lnTo>
                  <a:cubicBezTo>
                    <a:pt x="33" y="27"/>
                    <a:pt x="66" y="0"/>
                    <a:pt x="103" y="4"/>
                  </a:cubicBezTo>
                  <a:cubicBezTo>
                    <a:pt x="139" y="8"/>
                    <a:pt x="166" y="41"/>
                    <a:pt x="162" y="78"/>
                  </a:cubicBezTo>
                  <a:lnTo>
                    <a:pt x="135" y="313"/>
                  </a:lnTo>
                  <a:lnTo>
                    <a:pt x="133" y="1431"/>
                  </a:lnTo>
                  <a:cubicBezTo>
                    <a:pt x="133" y="1468"/>
                    <a:pt x="103" y="1498"/>
                    <a:pt x="66" y="149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3" name="Freeform 24">
              <a:extLst>
                <a:ext uri="{FF2B5EF4-FFF2-40B4-BE49-F238E27FC236}">
                  <a16:creationId xmlns:a16="http://schemas.microsoft.com/office/drawing/2014/main" id="{7C7A7D4C-0FA0-5BF4-D953-39004B8A03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3650" y="3894138"/>
              <a:ext cx="36513" cy="15875"/>
            </a:xfrm>
            <a:custGeom>
              <a:avLst/>
              <a:gdLst>
                <a:gd name="T0" fmla="*/ 250 w 317"/>
                <a:gd name="T1" fmla="*/ 134 h 134"/>
                <a:gd name="T2" fmla="*/ 67 w 317"/>
                <a:gd name="T3" fmla="*/ 134 h 134"/>
                <a:gd name="T4" fmla="*/ 0 w 317"/>
                <a:gd name="T5" fmla="*/ 67 h 134"/>
                <a:gd name="T6" fmla="*/ 67 w 317"/>
                <a:gd name="T7" fmla="*/ 0 h 134"/>
                <a:gd name="T8" fmla="*/ 250 w 317"/>
                <a:gd name="T9" fmla="*/ 0 h 134"/>
                <a:gd name="T10" fmla="*/ 317 w 317"/>
                <a:gd name="T11" fmla="*/ 67 h 134"/>
                <a:gd name="T12" fmla="*/ 250 w 317"/>
                <a:gd name="T1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7" h="134">
                  <a:moveTo>
                    <a:pt x="250" y="134"/>
                  </a:moveTo>
                  <a:lnTo>
                    <a:pt x="67" y="134"/>
                  </a:lnTo>
                  <a:cubicBezTo>
                    <a:pt x="30" y="134"/>
                    <a:pt x="0" y="104"/>
                    <a:pt x="0" y="67"/>
                  </a:cubicBezTo>
                  <a:cubicBezTo>
                    <a:pt x="0" y="30"/>
                    <a:pt x="30" y="0"/>
                    <a:pt x="67" y="0"/>
                  </a:cubicBezTo>
                  <a:lnTo>
                    <a:pt x="250" y="0"/>
                  </a:lnTo>
                  <a:cubicBezTo>
                    <a:pt x="287" y="0"/>
                    <a:pt x="317" y="30"/>
                    <a:pt x="317" y="67"/>
                  </a:cubicBezTo>
                  <a:cubicBezTo>
                    <a:pt x="317" y="104"/>
                    <a:pt x="287" y="134"/>
                    <a:pt x="250" y="13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4" name="Freeform 25">
              <a:extLst>
                <a:ext uri="{FF2B5EF4-FFF2-40B4-BE49-F238E27FC236}">
                  <a16:creationId xmlns:a16="http://schemas.microsoft.com/office/drawing/2014/main" id="{1FA81044-7C8F-42A7-6659-67281FB329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8888" y="4021138"/>
              <a:ext cx="19050" cy="41275"/>
            </a:xfrm>
            <a:custGeom>
              <a:avLst/>
              <a:gdLst>
                <a:gd name="T0" fmla="*/ 71 w 171"/>
                <a:gd name="T1" fmla="*/ 360 h 360"/>
                <a:gd name="T2" fmla="*/ 62 w 171"/>
                <a:gd name="T3" fmla="*/ 359 h 360"/>
                <a:gd name="T4" fmla="*/ 5 w 171"/>
                <a:gd name="T5" fmla="*/ 284 h 360"/>
                <a:gd name="T6" fmla="*/ 34 w 171"/>
                <a:gd name="T7" fmla="*/ 62 h 360"/>
                <a:gd name="T8" fmla="*/ 109 w 171"/>
                <a:gd name="T9" fmla="*/ 5 h 360"/>
                <a:gd name="T10" fmla="*/ 166 w 171"/>
                <a:gd name="T11" fmla="*/ 79 h 360"/>
                <a:gd name="T12" fmla="*/ 137 w 171"/>
                <a:gd name="T13" fmla="*/ 302 h 360"/>
                <a:gd name="T14" fmla="*/ 71 w 171"/>
                <a:gd name="T15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360">
                  <a:moveTo>
                    <a:pt x="71" y="360"/>
                  </a:moveTo>
                  <a:cubicBezTo>
                    <a:pt x="68" y="360"/>
                    <a:pt x="65" y="360"/>
                    <a:pt x="62" y="359"/>
                  </a:cubicBezTo>
                  <a:cubicBezTo>
                    <a:pt x="26" y="354"/>
                    <a:pt x="0" y="321"/>
                    <a:pt x="5" y="284"/>
                  </a:cubicBezTo>
                  <a:lnTo>
                    <a:pt x="34" y="62"/>
                  </a:lnTo>
                  <a:cubicBezTo>
                    <a:pt x="39" y="26"/>
                    <a:pt x="72" y="0"/>
                    <a:pt x="109" y="5"/>
                  </a:cubicBezTo>
                  <a:cubicBezTo>
                    <a:pt x="145" y="10"/>
                    <a:pt x="171" y="43"/>
                    <a:pt x="166" y="79"/>
                  </a:cubicBezTo>
                  <a:lnTo>
                    <a:pt x="137" y="302"/>
                  </a:lnTo>
                  <a:cubicBezTo>
                    <a:pt x="133" y="335"/>
                    <a:pt x="104" y="360"/>
                    <a:pt x="71" y="36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5" name="Freeform 26">
              <a:extLst>
                <a:ext uri="{FF2B5EF4-FFF2-40B4-BE49-F238E27FC236}">
                  <a16:creationId xmlns:a16="http://schemas.microsoft.com/office/drawing/2014/main" id="{8ED81C03-7A77-17AC-302E-F0445AE30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5875" y="4022725"/>
              <a:ext cx="19050" cy="39688"/>
            </a:xfrm>
            <a:custGeom>
              <a:avLst/>
              <a:gdLst>
                <a:gd name="T0" fmla="*/ 97 w 168"/>
                <a:gd name="T1" fmla="*/ 348 h 348"/>
                <a:gd name="T2" fmla="*/ 31 w 168"/>
                <a:gd name="T3" fmla="*/ 290 h 348"/>
                <a:gd name="T4" fmla="*/ 5 w 168"/>
                <a:gd name="T5" fmla="*/ 80 h 348"/>
                <a:gd name="T6" fmla="*/ 62 w 168"/>
                <a:gd name="T7" fmla="*/ 5 h 348"/>
                <a:gd name="T8" fmla="*/ 137 w 168"/>
                <a:gd name="T9" fmla="*/ 63 h 348"/>
                <a:gd name="T10" fmla="*/ 164 w 168"/>
                <a:gd name="T11" fmla="*/ 273 h 348"/>
                <a:gd name="T12" fmla="*/ 106 w 168"/>
                <a:gd name="T13" fmla="*/ 347 h 348"/>
                <a:gd name="T14" fmla="*/ 97 w 168"/>
                <a:gd name="T15" fmla="*/ 348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8" h="348">
                  <a:moveTo>
                    <a:pt x="97" y="348"/>
                  </a:moveTo>
                  <a:cubicBezTo>
                    <a:pt x="64" y="348"/>
                    <a:pt x="36" y="323"/>
                    <a:pt x="31" y="290"/>
                  </a:cubicBezTo>
                  <a:lnTo>
                    <a:pt x="5" y="80"/>
                  </a:lnTo>
                  <a:cubicBezTo>
                    <a:pt x="0" y="43"/>
                    <a:pt x="26" y="10"/>
                    <a:pt x="62" y="5"/>
                  </a:cubicBezTo>
                  <a:cubicBezTo>
                    <a:pt x="99" y="0"/>
                    <a:pt x="132" y="26"/>
                    <a:pt x="137" y="63"/>
                  </a:cubicBezTo>
                  <a:lnTo>
                    <a:pt x="164" y="273"/>
                  </a:lnTo>
                  <a:cubicBezTo>
                    <a:pt x="168" y="309"/>
                    <a:pt x="142" y="343"/>
                    <a:pt x="106" y="347"/>
                  </a:cubicBezTo>
                  <a:cubicBezTo>
                    <a:pt x="103" y="348"/>
                    <a:pt x="100" y="348"/>
                    <a:pt x="97" y="34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6" name="Freeform 27">
              <a:extLst>
                <a:ext uri="{FF2B5EF4-FFF2-40B4-BE49-F238E27FC236}">
                  <a16:creationId xmlns:a16="http://schemas.microsoft.com/office/drawing/2014/main" id="{04FE6CA2-EADF-2D6F-1AB6-737A572901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3650" y="4021138"/>
              <a:ext cx="36513" cy="15875"/>
            </a:xfrm>
            <a:custGeom>
              <a:avLst/>
              <a:gdLst>
                <a:gd name="T0" fmla="*/ 250 w 317"/>
                <a:gd name="T1" fmla="*/ 134 h 134"/>
                <a:gd name="T2" fmla="*/ 67 w 317"/>
                <a:gd name="T3" fmla="*/ 134 h 134"/>
                <a:gd name="T4" fmla="*/ 0 w 317"/>
                <a:gd name="T5" fmla="*/ 67 h 134"/>
                <a:gd name="T6" fmla="*/ 67 w 317"/>
                <a:gd name="T7" fmla="*/ 0 h 134"/>
                <a:gd name="T8" fmla="*/ 250 w 317"/>
                <a:gd name="T9" fmla="*/ 0 h 134"/>
                <a:gd name="T10" fmla="*/ 317 w 317"/>
                <a:gd name="T11" fmla="*/ 67 h 134"/>
                <a:gd name="T12" fmla="*/ 250 w 317"/>
                <a:gd name="T1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7" h="134">
                  <a:moveTo>
                    <a:pt x="250" y="134"/>
                  </a:moveTo>
                  <a:lnTo>
                    <a:pt x="67" y="134"/>
                  </a:lnTo>
                  <a:cubicBezTo>
                    <a:pt x="30" y="134"/>
                    <a:pt x="0" y="104"/>
                    <a:pt x="0" y="67"/>
                  </a:cubicBezTo>
                  <a:cubicBezTo>
                    <a:pt x="0" y="30"/>
                    <a:pt x="30" y="0"/>
                    <a:pt x="67" y="0"/>
                  </a:cubicBezTo>
                  <a:lnTo>
                    <a:pt x="250" y="0"/>
                  </a:lnTo>
                  <a:cubicBezTo>
                    <a:pt x="287" y="0"/>
                    <a:pt x="317" y="30"/>
                    <a:pt x="317" y="67"/>
                  </a:cubicBezTo>
                  <a:cubicBezTo>
                    <a:pt x="317" y="104"/>
                    <a:pt x="287" y="134"/>
                    <a:pt x="250" y="13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7" name="Freeform 28">
              <a:extLst>
                <a:ext uri="{FF2B5EF4-FFF2-40B4-BE49-F238E27FC236}">
                  <a16:creationId xmlns:a16="http://schemas.microsoft.com/office/drawing/2014/main" id="{9C4A8243-70C9-1582-8CBA-58BD5EFE538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6038" y="3863975"/>
              <a:ext cx="19050" cy="173038"/>
            </a:xfrm>
            <a:custGeom>
              <a:avLst/>
              <a:gdLst>
                <a:gd name="T0" fmla="*/ 99 w 166"/>
                <a:gd name="T1" fmla="*/ 1527 h 1527"/>
                <a:gd name="T2" fmla="*/ 33 w 166"/>
                <a:gd name="T3" fmla="*/ 1460 h 1527"/>
                <a:gd name="T4" fmla="*/ 33 w 166"/>
                <a:gd name="T5" fmla="*/ 311 h 1527"/>
                <a:gd name="T6" fmla="*/ 4 w 166"/>
                <a:gd name="T7" fmla="*/ 79 h 1527"/>
                <a:gd name="T8" fmla="*/ 63 w 166"/>
                <a:gd name="T9" fmla="*/ 4 h 1527"/>
                <a:gd name="T10" fmla="*/ 137 w 166"/>
                <a:gd name="T11" fmla="*/ 63 h 1527"/>
                <a:gd name="T12" fmla="*/ 166 w 166"/>
                <a:gd name="T13" fmla="*/ 299 h 1527"/>
                <a:gd name="T14" fmla="*/ 166 w 166"/>
                <a:gd name="T15" fmla="*/ 307 h 1527"/>
                <a:gd name="T16" fmla="*/ 166 w 166"/>
                <a:gd name="T17" fmla="*/ 1460 h 1527"/>
                <a:gd name="T18" fmla="*/ 99 w 166"/>
                <a:gd name="T19" fmla="*/ 1527 h 1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527">
                  <a:moveTo>
                    <a:pt x="99" y="1527"/>
                  </a:moveTo>
                  <a:cubicBezTo>
                    <a:pt x="63" y="1527"/>
                    <a:pt x="33" y="1497"/>
                    <a:pt x="33" y="1460"/>
                  </a:cubicBezTo>
                  <a:lnTo>
                    <a:pt x="33" y="311"/>
                  </a:lnTo>
                  <a:lnTo>
                    <a:pt x="4" y="79"/>
                  </a:lnTo>
                  <a:cubicBezTo>
                    <a:pt x="0" y="42"/>
                    <a:pt x="26" y="9"/>
                    <a:pt x="63" y="4"/>
                  </a:cubicBezTo>
                  <a:cubicBezTo>
                    <a:pt x="99" y="0"/>
                    <a:pt x="132" y="26"/>
                    <a:pt x="137" y="63"/>
                  </a:cubicBezTo>
                  <a:lnTo>
                    <a:pt x="166" y="299"/>
                  </a:lnTo>
                  <a:cubicBezTo>
                    <a:pt x="166" y="302"/>
                    <a:pt x="166" y="305"/>
                    <a:pt x="166" y="307"/>
                  </a:cubicBezTo>
                  <a:lnTo>
                    <a:pt x="166" y="1460"/>
                  </a:lnTo>
                  <a:cubicBezTo>
                    <a:pt x="166" y="1497"/>
                    <a:pt x="136" y="1527"/>
                    <a:pt x="99" y="152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8" name="Freeform 29">
              <a:extLst>
                <a:ext uri="{FF2B5EF4-FFF2-40B4-BE49-F238E27FC236}">
                  <a16:creationId xmlns:a16="http://schemas.microsoft.com/office/drawing/2014/main" id="{415B3E51-6DAE-87AC-E723-A1B0CB839C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3025" y="3863975"/>
              <a:ext cx="19050" cy="173038"/>
            </a:xfrm>
            <a:custGeom>
              <a:avLst/>
              <a:gdLst>
                <a:gd name="T0" fmla="*/ 79 w 163"/>
                <a:gd name="T1" fmla="*/ 1527 h 1527"/>
                <a:gd name="T2" fmla="*/ 12 w 163"/>
                <a:gd name="T3" fmla="*/ 1461 h 1527"/>
                <a:gd name="T4" fmla="*/ 0 w 163"/>
                <a:gd name="T5" fmla="*/ 310 h 1527"/>
                <a:gd name="T6" fmla="*/ 0 w 163"/>
                <a:gd name="T7" fmla="*/ 302 h 1527"/>
                <a:gd name="T8" fmla="*/ 27 w 163"/>
                <a:gd name="T9" fmla="*/ 63 h 1527"/>
                <a:gd name="T10" fmla="*/ 100 w 163"/>
                <a:gd name="T11" fmla="*/ 4 h 1527"/>
                <a:gd name="T12" fmla="*/ 159 w 163"/>
                <a:gd name="T13" fmla="*/ 78 h 1527"/>
                <a:gd name="T14" fmla="*/ 133 w 163"/>
                <a:gd name="T15" fmla="*/ 313 h 1527"/>
                <a:gd name="T16" fmla="*/ 145 w 163"/>
                <a:gd name="T17" fmla="*/ 1459 h 1527"/>
                <a:gd name="T18" fmla="*/ 79 w 163"/>
                <a:gd name="T19" fmla="*/ 1527 h 1527"/>
                <a:gd name="T20" fmla="*/ 79 w 163"/>
                <a:gd name="T21" fmla="*/ 1527 h 1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3" h="1527">
                  <a:moveTo>
                    <a:pt x="79" y="1527"/>
                  </a:moveTo>
                  <a:cubicBezTo>
                    <a:pt x="42" y="1527"/>
                    <a:pt x="12" y="1497"/>
                    <a:pt x="12" y="1461"/>
                  </a:cubicBezTo>
                  <a:lnTo>
                    <a:pt x="0" y="310"/>
                  </a:lnTo>
                  <a:cubicBezTo>
                    <a:pt x="0" y="307"/>
                    <a:pt x="0" y="305"/>
                    <a:pt x="0" y="302"/>
                  </a:cubicBezTo>
                  <a:lnTo>
                    <a:pt x="27" y="63"/>
                  </a:lnTo>
                  <a:cubicBezTo>
                    <a:pt x="31" y="26"/>
                    <a:pt x="64" y="0"/>
                    <a:pt x="100" y="4"/>
                  </a:cubicBezTo>
                  <a:cubicBezTo>
                    <a:pt x="137" y="8"/>
                    <a:pt x="163" y="41"/>
                    <a:pt x="159" y="78"/>
                  </a:cubicBezTo>
                  <a:lnTo>
                    <a:pt x="133" y="313"/>
                  </a:lnTo>
                  <a:lnTo>
                    <a:pt x="145" y="1459"/>
                  </a:lnTo>
                  <a:cubicBezTo>
                    <a:pt x="146" y="1496"/>
                    <a:pt x="116" y="1526"/>
                    <a:pt x="79" y="1527"/>
                  </a:cubicBezTo>
                  <a:lnTo>
                    <a:pt x="79" y="152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9" name="Freeform 30">
              <a:extLst>
                <a:ext uri="{FF2B5EF4-FFF2-40B4-BE49-F238E27FC236}">
                  <a16:creationId xmlns:a16="http://schemas.microsoft.com/office/drawing/2014/main" id="{9799E742-0ED8-553A-23A9-1DFE2E72CE9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0800" y="3890963"/>
              <a:ext cx="36513" cy="15875"/>
            </a:xfrm>
            <a:custGeom>
              <a:avLst/>
              <a:gdLst>
                <a:gd name="T0" fmla="*/ 251 w 317"/>
                <a:gd name="T1" fmla="*/ 133 h 133"/>
                <a:gd name="T2" fmla="*/ 67 w 317"/>
                <a:gd name="T3" fmla="*/ 133 h 133"/>
                <a:gd name="T4" fmla="*/ 0 w 317"/>
                <a:gd name="T5" fmla="*/ 67 h 133"/>
                <a:gd name="T6" fmla="*/ 67 w 317"/>
                <a:gd name="T7" fmla="*/ 0 h 133"/>
                <a:gd name="T8" fmla="*/ 251 w 317"/>
                <a:gd name="T9" fmla="*/ 0 h 133"/>
                <a:gd name="T10" fmla="*/ 317 w 317"/>
                <a:gd name="T11" fmla="*/ 67 h 133"/>
                <a:gd name="T12" fmla="*/ 251 w 317"/>
                <a:gd name="T13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7" h="133">
                  <a:moveTo>
                    <a:pt x="251" y="133"/>
                  </a:moveTo>
                  <a:lnTo>
                    <a:pt x="67" y="133"/>
                  </a:lnTo>
                  <a:cubicBezTo>
                    <a:pt x="30" y="133"/>
                    <a:pt x="0" y="103"/>
                    <a:pt x="0" y="67"/>
                  </a:cubicBezTo>
                  <a:cubicBezTo>
                    <a:pt x="0" y="30"/>
                    <a:pt x="30" y="0"/>
                    <a:pt x="67" y="0"/>
                  </a:cubicBezTo>
                  <a:lnTo>
                    <a:pt x="251" y="0"/>
                  </a:lnTo>
                  <a:cubicBezTo>
                    <a:pt x="287" y="0"/>
                    <a:pt x="317" y="30"/>
                    <a:pt x="317" y="67"/>
                  </a:cubicBezTo>
                  <a:cubicBezTo>
                    <a:pt x="317" y="103"/>
                    <a:pt x="287" y="133"/>
                    <a:pt x="251" y="1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0" name="Freeform 31">
              <a:extLst>
                <a:ext uri="{FF2B5EF4-FFF2-40B4-BE49-F238E27FC236}">
                  <a16:creationId xmlns:a16="http://schemas.microsoft.com/office/drawing/2014/main" id="{D5CF3233-B47E-D31D-8C3E-9D3D3CED5B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4450" y="4017963"/>
              <a:ext cx="22225" cy="41275"/>
            </a:xfrm>
            <a:custGeom>
              <a:avLst/>
              <a:gdLst>
                <a:gd name="T0" fmla="*/ 73 w 189"/>
                <a:gd name="T1" fmla="*/ 362 h 362"/>
                <a:gd name="T2" fmla="*/ 60 w 189"/>
                <a:gd name="T3" fmla="*/ 361 h 362"/>
                <a:gd name="T4" fmla="*/ 8 w 189"/>
                <a:gd name="T5" fmla="*/ 282 h 362"/>
                <a:gd name="T6" fmla="*/ 51 w 189"/>
                <a:gd name="T7" fmla="*/ 60 h 362"/>
                <a:gd name="T8" fmla="*/ 129 w 189"/>
                <a:gd name="T9" fmla="*/ 8 h 362"/>
                <a:gd name="T10" fmla="*/ 182 w 189"/>
                <a:gd name="T11" fmla="*/ 86 h 362"/>
                <a:gd name="T12" fmla="*/ 138 w 189"/>
                <a:gd name="T13" fmla="*/ 308 h 362"/>
                <a:gd name="T14" fmla="*/ 73 w 189"/>
                <a:gd name="T15" fmla="*/ 362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9" h="362">
                  <a:moveTo>
                    <a:pt x="73" y="362"/>
                  </a:moveTo>
                  <a:cubicBezTo>
                    <a:pt x="69" y="362"/>
                    <a:pt x="65" y="362"/>
                    <a:pt x="60" y="361"/>
                  </a:cubicBezTo>
                  <a:cubicBezTo>
                    <a:pt x="24" y="354"/>
                    <a:pt x="0" y="319"/>
                    <a:pt x="8" y="282"/>
                  </a:cubicBezTo>
                  <a:lnTo>
                    <a:pt x="51" y="60"/>
                  </a:lnTo>
                  <a:cubicBezTo>
                    <a:pt x="58" y="24"/>
                    <a:pt x="93" y="0"/>
                    <a:pt x="129" y="8"/>
                  </a:cubicBezTo>
                  <a:cubicBezTo>
                    <a:pt x="165" y="15"/>
                    <a:pt x="189" y="49"/>
                    <a:pt x="182" y="86"/>
                  </a:cubicBezTo>
                  <a:lnTo>
                    <a:pt x="138" y="308"/>
                  </a:lnTo>
                  <a:cubicBezTo>
                    <a:pt x="132" y="340"/>
                    <a:pt x="104" y="362"/>
                    <a:pt x="73" y="36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1" name="Freeform 32">
              <a:extLst>
                <a:ext uri="{FF2B5EF4-FFF2-40B4-BE49-F238E27FC236}">
                  <a16:creationId xmlns:a16="http://schemas.microsoft.com/office/drawing/2014/main" id="{79E0BB57-EC84-CC56-1AB4-4F7A7E46865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613" y="4019550"/>
              <a:ext cx="20638" cy="41275"/>
            </a:xfrm>
            <a:custGeom>
              <a:avLst/>
              <a:gdLst>
                <a:gd name="T0" fmla="*/ 113 w 185"/>
                <a:gd name="T1" fmla="*/ 363 h 363"/>
                <a:gd name="T2" fmla="*/ 48 w 185"/>
                <a:gd name="T3" fmla="*/ 309 h 363"/>
                <a:gd name="T4" fmla="*/ 6 w 185"/>
                <a:gd name="T5" fmla="*/ 84 h 363"/>
                <a:gd name="T6" fmla="*/ 60 w 185"/>
                <a:gd name="T7" fmla="*/ 7 h 363"/>
                <a:gd name="T8" fmla="*/ 138 w 185"/>
                <a:gd name="T9" fmla="*/ 60 h 363"/>
                <a:gd name="T10" fmla="*/ 179 w 185"/>
                <a:gd name="T11" fmla="*/ 285 h 363"/>
                <a:gd name="T12" fmla="*/ 125 w 185"/>
                <a:gd name="T13" fmla="*/ 362 h 363"/>
                <a:gd name="T14" fmla="*/ 113 w 185"/>
                <a:gd name="T15" fmla="*/ 363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5" h="363">
                  <a:moveTo>
                    <a:pt x="113" y="363"/>
                  </a:moveTo>
                  <a:cubicBezTo>
                    <a:pt x="82" y="363"/>
                    <a:pt x="53" y="341"/>
                    <a:pt x="48" y="309"/>
                  </a:cubicBezTo>
                  <a:lnTo>
                    <a:pt x="6" y="84"/>
                  </a:lnTo>
                  <a:cubicBezTo>
                    <a:pt x="0" y="48"/>
                    <a:pt x="24" y="13"/>
                    <a:pt x="60" y="7"/>
                  </a:cubicBezTo>
                  <a:cubicBezTo>
                    <a:pt x="96" y="0"/>
                    <a:pt x="131" y="24"/>
                    <a:pt x="138" y="60"/>
                  </a:cubicBezTo>
                  <a:lnTo>
                    <a:pt x="179" y="285"/>
                  </a:lnTo>
                  <a:cubicBezTo>
                    <a:pt x="185" y="321"/>
                    <a:pt x="161" y="356"/>
                    <a:pt x="125" y="362"/>
                  </a:cubicBezTo>
                  <a:cubicBezTo>
                    <a:pt x="121" y="363"/>
                    <a:pt x="117" y="363"/>
                    <a:pt x="113" y="36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2" name="Freeform 33">
              <a:extLst>
                <a:ext uri="{FF2B5EF4-FFF2-40B4-BE49-F238E27FC236}">
                  <a16:creationId xmlns:a16="http://schemas.microsoft.com/office/drawing/2014/main" id="{A10D18A7-387D-8E0F-A709-4F95910056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0800" y="4019550"/>
              <a:ext cx="36513" cy="15875"/>
            </a:xfrm>
            <a:custGeom>
              <a:avLst/>
              <a:gdLst>
                <a:gd name="T0" fmla="*/ 251 w 317"/>
                <a:gd name="T1" fmla="*/ 133 h 133"/>
                <a:gd name="T2" fmla="*/ 67 w 317"/>
                <a:gd name="T3" fmla="*/ 133 h 133"/>
                <a:gd name="T4" fmla="*/ 0 w 317"/>
                <a:gd name="T5" fmla="*/ 66 h 133"/>
                <a:gd name="T6" fmla="*/ 67 w 317"/>
                <a:gd name="T7" fmla="*/ 0 h 133"/>
                <a:gd name="T8" fmla="*/ 251 w 317"/>
                <a:gd name="T9" fmla="*/ 0 h 133"/>
                <a:gd name="T10" fmla="*/ 317 w 317"/>
                <a:gd name="T11" fmla="*/ 66 h 133"/>
                <a:gd name="T12" fmla="*/ 251 w 317"/>
                <a:gd name="T13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7" h="133">
                  <a:moveTo>
                    <a:pt x="251" y="133"/>
                  </a:moveTo>
                  <a:lnTo>
                    <a:pt x="67" y="133"/>
                  </a:lnTo>
                  <a:cubicBezTo>
                    <a:pt x="30" y="133"/>
                    <a:pt x="0" y="103"/>
                    <a:pt x="0" y="66"/>
                  </a:cubicBezTo>
                  <a:cubicBezTo>
                    <a:pt x="0" y="29"/>
                    <a:pt x="30" y="0"/>
                    <a:pt x="67" y="0"/>
                  </a:cubicBezTo>
                  <a:lnTo>
                    <a:pt x="251" y="0"/>
                  </a:lnTo>
                  <a:cubicBezTo>
                    <a:pt x="287" y="0"/>
                    <a:pt x="317" y="29"/>
                    <a:pt x="317" y="66"/>
                  </a:cubicBezTo>
                  <a:cubicBezTo>
                    <a:pt x="317" y="103"/>
                    <a:pt x="287" y="133"/>
                    <a:pt x="251" y="1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3" name="Freeform 34">
              <a:extLst>
                <a:ext uri="{FF2B5EF4-FFF2-40B4-BE49-F238E27FC236}">
                  <a16:creationId xmlns:a16="http://schemas.microsoft.com/office/drawing/2014/main" id="{802A2799-966D-7195-0FC7-713D0D1D7A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4775" y="3863975"/>
              <a:ext cx="19050" cy="173038"/>
            </a:xfrm>
            <a:custGeom>
              <a:avLst/>
              <a:gdLst>
                <a:gd name="T0" fmla="*/ 100 w 166"/>
                <a:gd name="T1" fmla="*/ 1527 h 1527"/>
                <a:gd name="T2" fmla="*/ 33 w 166"/>
                <a:gd name="T3" fmla="*/ 1460 h 1527"/>
                <a:gd name="T4" fmla="*/ 33 w 166"/>
                <a:gd name="T5" fmla="*/ 311 h 1527"/>
                <a:gd name="T6" fmla="*/ 5 w 166"/>
                <a:gd name="T7" fmla="*/ 79 h 1527"/>
                <a:gd name="T8" fmla="*/ 62 w 166"/>
                <a:gd name="T9" fmla="*/ 4 h 1527"/>
                <a:gd name="T10" fmla="*/ 137 w 166"/>
                <a:gd name="T11" fmla="*/ 62 h 1527"/>
                <a:gd name="T12" fmla="*/ 166 w 166"/>
                <a:gd name="T13" fmla="*/ 299 h 1527"/>
                <a:gd name="T14" fmla="*/ 166 w 166"/>
                <a:gd name="T15" fmla="*/ 307 h 1527"/>
                <a:gd name="T16" fmla="*/ 166 w 166"/>
                <a:gd name="T17" fmla="*/ 1460 h 1527"/>
                <a:gd name="T18" fmla="*/ 100 w 166"/>
                <a:gd name="T19" fmla="*/ 1527 h 1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527">
                  <a:moveTo>
                    <a:pt x="100" y="1527"/>
                  </a:moveTo>
                  <a:cubicBezTo>
                    <a:pt x="63" y="1527"/>
                    <a:pt x="33" y="1497"/>
                    <a:pt x="33" y="1460"/>
                  </a:cubicBezTo>
                  <a:lnTo>
                    <a:pt x="33" y="311"/>
                  </a:lnTo>
                  <a:lnTo>
                    <a:pt x="5" y="79"/>
                  </a:lnTo>
                  <a:cubicBezTo>
                    <a:pt x="0" y="42"/>
                    <a:pt x="26" y="9"/>
                    <a:pt x="62" y="4"/>
                  </a:cubicBezTo>
                  <a:cubicBezTo>
                    <a:pt x="99" y="0"/>
                    <a:pt x="132" y="26"/>
                    <a:pt x="137" y="62"/>
                  </a:cubicBezTo>
                  <a:lnTo>
                    <a:pt x="166" y="299"/>
                  </a:lnTo>
                  <a:cubicBezTo>
                    <a:pt x="166" y="302"/>
                    <a:pt x="166" y="305"/>
                    <a:pt x="166" y="307"/>
                  </a:cubicBezTo>
                  <a:lnTo>
                    <a:pt x="166" y="1460"/>
                  </a:lnTo>
                  <a:cubicBezTo>
                    <a:pt x="166" y="1497"/>
                    <a:pt x="136" y="1527"/>
                    <a:pt x="100" y="152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4" name="Freeform 35">
              <a:extLst>
                <a:ext uri="{FF2B5EF4-FFF2-40B4-BE49-F238E27FC236}">
                  <a16:creationId xmlns:a16="http://schemas.microsoft.com/office/drawing/2014/main" id="{233AEBB5-7B31-077B-9C2B-10AB46096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1763" y="3863975"/>
              <a:ext cx="19050" cy="173038"/>
            </a:xfrm>
            <a:custGeom>
              <a:avLst/>
              <a:gdLst>
                <a:gd name="T0" fmla="*/ 79 w 164"/>
                <a:gd name="T1" fmla="*/ 1527 h 1527"/>
                <a:gd name="T2" fmla="*/ 12 w 164"/>
                <a:gd name="T3" fmla="*/ 1461 h 1527"/>
                <a:gd name="T4" fmla="*/ 0 w 164"/>
                <a:gd name="T5" fmla="*/ 310 h 1527"/>
                <a:gd name="T6" fmla="*/ 0 w 164"/>
                <a:gd name="T7" fmla="*/ 302 h 1527"/>
                <a:gd name="T8" fmla="*/ 27 w 164"/>
                <a:gd name="T9" fmla="*/ 63 h 1527"/>
                <a:gd name="T10" fmla="*/ 101 w 164"/>
                <a:gd name="T11" fmla="*/ 4 h 1527"/>
                <a:gd name="T12" fmla="*/ 159 w 164"/>
                <a:gd name="T13" fmla="*/ 78 h 1527"/>
                <a:gd name="T14" fmla="*/ 133 w 164"/>
                <a:gd name="T15" fmla="*/ 313 h 1527"/>
                <a:gd name="T16" fmla="*/ 145 w 164"/>
                <a:gd name="T17" fmla="*/ 1459 h 1527"/>
                <a:gd name="T18" fmla="*/ 79 w 164"/>
                <a:gd name="T19" fmla="*/ 1527 h 1527"/>
                <a:gd name="T20" fmla="*/ 79 w 164"/>
                <a:gd name="T21" fmla="*/ 1527 h 1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4" h="1527">
                  <a:moveTo>
                    <a:pt x="79" y="1527"/>
                  </a:moveTo>
                  <a:cubicBezTo>
                    <a:pt x="42" y="1527"/>
                    <a:pt x="12" y="1497"/>
                    <a:pt x="12" y="1461"/>
                  </a:cubicBezTo>
                  <a:lnTo>
                    <a:pt x="0" y="310"/>
                  </a:lnTo>
                  <a:cubicBezTo>
                    <a:pt x="0" y="307"/>
                    <a:pt x="0" y="305"/>
                    <a:pt x="0" y="302"/>
                  </a:cubicBezTo>
                  <a:lnTo>
                    <a:pt x="27" y="63"/>
                  </a:lnTo>
                  <a:cubicBezTo>
                    <a:pt x="31" y="26"/>
                    <a:pt x="64" y="0"/>
                    <a:pt x="101" y="4"/>
                  </a:cubicBezTo>
                  <a:cubicBezTo>
                    <a:pt x="137" y="8"/>
                    <a:pt x="164" y="41"/>
                    <a:pt x="159" y="78"/>
                  </a:cubicBezTo>
                  <a:lnTo>
                    <a:pt x="133" y="313"/>
                  </a:lnTo>
                  <a:lnTo>
                    <a:pt x="145" y="1459"/>
                  </a:lnTo>
                  <a:cubicBezTo>
                    <a:pt x="146" y="1496"/>
                    <a:pt x="116" y="1526"/>
                    <a:pt x="79" y="1527"/>
                  </a:cubicBezTo>
                  <a:lnTo>
                    <a:pt x="79" y="1527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5" name="Freeform 36">
              <a:extLst>
                <a:ext uri="{FF2B5EF4-FFF2-40B4-BE49-F238E27FC236}">
                  <a16:creationId xmlns:a16="http://schemas.microsoft.com/office/drawing/2014/main" id="{6DAF593F-3F00-EE92-08D9-A6353A8B93A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9538" y="3890963"/>
              <a:ext cx="36513" cy="15875"/>
            </a:xfrm>
            <a:custGeom>
              <a:avLst/>
              <a:gdLst>
                <a:gd name="T0" fmla="*/ 250 w 317"/>
                <a:gd name="T1" fmla="*/ 133 h 133"/>
                <a:gd name="T2" fmla="*/ 67 w 317"/>
                <a:gd name="T3" fmla="*/ 133 h 133"/>
                <a:gd name="T4" fmla="*/ 0 w 317"/>
                <a:gd name="T5" fmla="*/ 67 h 133"/>
                <a:gd name="T6" fmla="*/ 67 w 317"/>
                <a:gd name="T7" fmla="*/ 0 h 133"/>
                <a:gd name="T8" fmla="*/ 250 w 317"/>
                <a:gd name="T9" fmla="*/ 0 h 133"/>
                <a:gd name="T10" fmla="*/ 317 w 317"/>
                <a:gd name="T11" fmla="*/ 67 h 133"/>
                <a:gd name="T12" fmla="*/ 250 w 317"/>
                <a:gd name="T13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7" h="133">
                  <a:moveTo>
                    <a:pt x="250" y="133"/>
                  </a:moveTo>
                  <a:lnTo>
                    <a:pt x="67" y="133"/>
                  </a:lnTo>
                  <a:cubicBezTo>
                    <a:pt x="30" y="133"/>
                    <a:pt x="0" y="103"/>
                    <a:pt x="0" y="67"/>
                  </a:cubicBezTo>
                  <a:cubicBezTo>
                    <a:pt x="0" y="30"/>
                    <a:pt x="30" y="0"/>
                    <a:pt x="67" y="0"/>
                  </a:cubicBezTo>
                  <a:lnTo>
                    <a:pt x="250" y="0"/>
                  </a:lnTo>
                  <a:cubicBezTo>
                    <a:pt x="287" y="0"/>
                    <a:pt x="317" y="30"/>
                    <a:pt x="317" y="67"/>
                  </a:cubicBezTo>
                  <a:cubicBezTo>
                    <a:pt x="317" y="103"/>
                    <a:pt x="287" y="133"/>
                    <a:pt x="250" y="1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6" name="Freeform 37">
              <a:extLst>
                <a:ext uri="{FF2B5EF4-FFF2-40B4-BE49-F238E27FC236}">
                  <a16:creationId xmlns:a16="http://schemas.microsoft.com/office/drawing/2014/main" id="{18211E85-3266-3F56-DAF2-0CFDD49EAAC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3188" y="4017963"/>
              <a:ext cx="22225" cy="41275"/>
            </a:xfrm>
            <a:custGeom>
              <a:avLst/>
              <a:gdLst>
                <a:gd name="T0" fmla="*/ 72 w 188"/>
                <a:gd name="T1" fmla="*/ 362 h 362"/>
                <a:gd name="T2" fmla="*/ 59 w 188"/>
                <a:gd name="T3" fmla="*/ 361 h 362"/>
                <a:gd name="T4" fmla="*/ 7 w 188"/>
                <a:gd name="T5" fmla="*/ 282 h 362"/>
                <a:gd name="T6" fmla="*/ 50 w 188"/>
                <a:gd name="T7" fmla="*/ 60 h 362"/>
                <a:gd name="T8" fmla="*/ 128 w 188"/>
                <a:gd name="T9" fmla="*/ 8 h 362"/>
                <a:gd name="T10" fmla="*/ 181 w 188"/>
                <a:gd name="T11" fmla="*/ 86 h 362"/>
                <a:gd name="T12" fmla="*/ 137 w 188"/>
                <a:gd name="T13" fmla="*/ 308 h 362"/>
                <a:gd name="T14" fmla="*/ 72 w 188"/>
                <a:gd name="T15" fmla="*/ 362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8" h="362">
                  <a:moveTo>
                    <a:pt x="72" y="362"/>
                  </a:moveTo>
                  <a:cubicBezTo>
                    <a:pt x="68" y="362"/>
                    <a:pt x="64" y="361"/>
                    <a:pt x="59" y="361"/>
                  </a:cubicBezTo>
                  <a:cubicBezTo>
                    <a:pt x="23" y="353"/>
                    <a:pt x="0" y="318"/>
                    <a:pt x="7" y="282"/>
                  </a:cubicBezTo>
                  <a:lnTo>
                    <a:pt x="50" y="60"/>
                  </a:lnTo>
                  <a:cubicBezTo>
                    <a:pt x="57" y="24"/>
                    <a:pt x="92" y="0"/>
                    <a:pt x="128" y="8"/>
                  </a:cubicBezTo>
                  <a:cubicBezTo>
                    <a:pt x="164" y="15"/>
                    <a:pt x="188" y="49"/>
                    <a:pt x="181" y="86"/>
                  </a:cubicBezTo>
                  <a:lnTo>
                    <a:pt x="137" y="308"/>
                  </a:lnTo>
                  <a:cubicBezTo>
                    <a:pt x="131" y="340"/>
                    <a:pt x="104" y="362"/>
                    <a:pt x="72" y="36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7" name="Freeform 38">
              <a:extLst>
                <a:ext uri="{FF2B5EF4-FFF2-40B4-BE49-F238E27FC236}">
                  <a16:creationId xmlns:a16="http://schemas.microsoft.com/office/drawing/2014/main" id="{9EFA5199-6F06-F8E5-F301-EBD7815F3CA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3350" y="4019550"/>
              <a:ext cx="22225" cy="41275"/>
            </a:xfrm>
            <a:custGeom>
              <a:avLst/>
              <a:gdLst>
                <a:gd name="T0" fmla="*/ 130 w 203"/>
                <a:gd name="T1" fmla="*/ 364 h 364"/>
                <a:gd name="T2" fmla="*/ 65 w 203"/>
                <a:gd name="T3" fmla="*/ 314 h 364"/>
                <a:gd name="T4" fmla="*/ 9 w 203"/>
                <a:gd name="T5" fmla="*/ 89 h 364"/>
                <a:gd name="T6" fmla="*/ 58 w 203"/>
                <a:gd name="T7" fmla="*/ 9 h 364"/>
                <a:gd name="T8" fmla="*/ 139 w 203"/>
                <a:gd name="T9" fmla="*/ 57 h 364"/>
                <a:gd name="T10" fmla="*/ 194 w 203"/>
                <a:gd name="T11" fmla="*/ 282 h 364"/>
                <a:gd name="T12" fmla="*/ 146 w 203"/>
                <a:gd name="T13" fmla="*/ 362 h 364"/>
                <a:gd name="T14" fmla="*/ 130 w 203"/>
                <a:gd name="T15" fmla="*/ 364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3" h="364">
                  <a:moveTo>
                    <a:pt x="130" y="364"/>
                  </a:moveTo>
                  <a:cubicBezTo>
                    <a:pt x="100" y="364"/>
                    <a:pt x="72" y="344"/>
                    <a:pt x="65" y="314"/>
                  </a:cubicBezTo>
                  <a:lnTo>
                    <a:pt x="9" y="89"/>
                  </a:lnTo>
                  <a:cubicBezTo>
                    <a:pt x="0" y="54"/>
                    <a:pt x="22" y="17"/>
                    <a:pt x="58" y="9"/>
                  </a:cubicBezTo>
                  <a:cubicBezTo>
                    <a:pt x="94" y="0"/>
                    <a:pt x="130" y="21"/>
                    <a:pt x="139" y="57"/>
                  </a:cubicBezTo>
                  <a:lnTo>
                    <a:pt x="194" y="282"/>
                  </a:lnTo>
                  <a:cubicBezTo>
                    <a:pt x="203" y="317"/>
                    <a:pt x="181" y="353"/>
                    <a:pt x="146" y="362"/>
                  </a:cubicBezTo>
                  <a:cubicBezTo>
                    <a:pt x="140" y="364"/>
                    <a:pt x="135" y="364"/>
                    <a:pt x="130" y="3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8" name="Freeform 39">
              <a:extLst>
                <a:ext uri="{FF2B5EF4-FFF2-40B4-BE49-F238E27FC236}">
                  <a16:creationId xmlns:a16="http://schemas.microsoft.com/office/drawing/2014/main" id="{5402619C-AABC-90A7-6D9E-5A3513E096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9538" y="4019550"/>
              <a:ext cx="36513" cy="15875"/>
            </a:xfrm>
            <a:custGeom>
              <a:avLst/>
              <a:gdLst>
                <a:gd name="T0" fmla="*/ 250 w 317"/>
                <a:gd name="T1" fmla="*/ 133 h 133"/>
                <a:gd name="T2" fmla="*/ 67 w 317"/>
                <a:gd name="T3" fmla="*/ 133 h 133"/>
                <a:gd name="T4" fmla="*/ 0 w 317"/>
                <a:gd name="T5" fmla="*/ 66 h 133"/>
                <a:gd name="T6" fmla="*/ 67 w 317"/>
                <a:gd name="T7" fmla="*/ 0 h 133"/>
                <a:gd name="T8" fmla="*/ 250 w 317"/>
                <a:gd name="T9" fmla="*/ 0 h 133"/>
                <a:gd name="T10" fmla="*/ 317 w 317"/>
                <a:gd name="T11" fmla="*/ 66 h 133"/>
                <a:gd name="T12" fmla="*/ 250 w 317"/>
                <a:gd name="T13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7" h="133">
                  <a:moveTo>
                    <a:pt x="250" y="133"/>
                  </a:moveTo>
                  <a:lnTo>
                    <a:pt x="67" y="133"/>
                  </a:lnTo>
                  <a:cubicBezTo>
                    <a:pt x="30" y="133"/>
                    <a:pt x="0" y="103"/>
                    <a:pt x="0" y="66"/>
                  </a:cubicBezTo>
                  <a:cubicBezTo>
                    <a:pt x="0" y="29"/>
                    <a:pt x="30" y="0"/>
                    <a:pt x="67" y="0"/>
                  </a:cubicBezTo>
                  <a:lnTo>
                    <a:pt x="250" y="0"/>
                  </a:lnTo>
                  <a:cubicBezTo>
                    <a:pt x="287" y="0"/>
                    <a:pt x="317" y="29"/>
                    <a:pt x="317" y="66"/>
                  </a:cubicBezTo>
                  <a:cubicBezTo>
                    <a:pt x="317" y="103"/>
                    <a:pt x="287" y="133"/>
                    <a:pt x="250" y="1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9" name="Freeform 40">
              <a:extLst>
                <a:ext uri="{FF2B5EF4-FFF2-40B4-BE49-F238E27FC236}">
                  <a16:creationId xmlns:a16="http://schemas.microsoft.com/office/drawing/2014/main" id="{A9E95DE5-846B-4638-DF2E-E5A891F701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1925" y="3867150"/>
              <a:ext cx="20638" cy="173038"/>
            </a:xfrm>
            <a:custGeom>
              <a:avLst/>
              <a:gdLst>
                <a:gd name="T0" fmla="*/ 114 w 181"/>
                <a:gd name="T1" fmla="*/ 1527 h 1527"/>
                <a:gd name="T2" fmla="*/ 48 w 181"/>
                <a:gd name="T3" fmla="*/ 1461 h 1527"/>
                <a:gd name="T4" fmla="*/ 33 w 181"/>
                <a:gd name="T5" fmla="*/ 312 h 1527"/>
                <a:gd name="T6" fmla="*/ 5 w 181"/>
                <a:gd name="T7" fmla="*/ 78 h 1527"/>
                <a:gd name="T8" fmla="*/ 63 w 181"/>
                <a:gd name="T9" fmla="*/ 4 h 1527"/>
                <a:gd name="T10" fmla="*/ 137 w 181"/>
                <a:gd name="T11" fmla="*/ 62 h 1527"/>
                <a:gd name="T12" fmla="*/ 166 w 181"/>
                <a:gd name="T13" fmla="*/ 299 h 1527"/>
                <a:gd name="T14" fmla="*/ 167 w 181"/>
                <a:gd name="T15" fmla="*/ 306 h 1527"/>
                <a:gd name="T16" fmla="*/ 181 w 181"/>
                <a:gd name="T17" fmla="*/ 1459 h 1527"/>
                <a:gd name="T18" fmla="*/ 115 w 181"/>
                <a:gd name="T19" fmla="*/ 1527 h 1527"/>
                <a:gd name="T20" fmla="*/ 114 w 181"/>
                <a:gd name="T21" fmla="*/ 1527 h 1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1" h="1527">
                  <a:moveTo>
                    <a:pt x="114" y="1527"/>
                  </a:moveTo>
                  <a:cubicBezTo>
                    <a:pt x="78" y="1527"/>
                    <a:pt x="48" y="1497"/>
                    <a:pt x="48" y="1461"/>
                  </a:cubicBezTo>
                  <a:lnTo>
                    <a:pt x="33" y="312"/>
                  </a:lnTo>
                  <a:lnTo>
                    <a:pt x="5" y="78"/>
                  </a:lnTo>
                  <a:cubicBezTo>
                    <a:pt x="0" y="42"/>
                    <a:pt x="26" y="9"/>
                    <a:pt x="63" y="4"/>
                  </a:cubicBezTo>
                  <a:cubicBezTo>
                    <a:pt x="99" y="0"/>
                    <a:pt x="133" y="26"/>
                    <a:pt x="137" y="62"/>
                  </a:cubicBezTo>
                  <a:lnTo>
                    <a:pt x="166" y="299"/>
                  </a:lnTo>
                  <a:cubicBezTo>
                    <a:pt x="166" y="301"/>
                    <a:pt x="167" y="304"/>
                    <a:pt x="167" y="306"/>
                  </a:cubicBezTo>
                  <a:lnTo>
                    <a:pt x="181" y="1459"/>
                  </a:lnTo>
                  <a:cubicBezTo>
                    <a:pt x="181" y="1496"/>
                    <a:pt x="152" y="1526"/>
                    <a:pt x="115" y="1527"/>
                  </a:cubicBezTo>
                  <a:lnTo>
                    <a:pt x="114" y="1527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0" name="Freeform 41">
              <a:extLst>
                <a:ext uri="{FF2B5EF4-FFF2-40B4-BE49-F238E27FC236}">
                  <a16:creationId xmlns:a16="http://schemas.microsoft.com/office/drawing/2014/main" id="{A96F5DB8-E1C9-896E-E4A4-79E86FABC37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0500" y="3867150"/>
              <a:ext cx="17463" cy="173038"/>
            </a:xfrm>
            <a:custGeom>
              <a:avLst/>
              <a:gdLst>
                <a:gd name="T0" fmla="*/ 79 w 164"/>
                <a:gd name="T1" fmla="*/ 1527 h 1527"/>
                <a:gd name="T2" fmla="*/ 13 w 164"/>
                <a:gd name="T3" fmla="*/ 1461 h 1527"/>
                <a:gd name="T4" fmla="*/ 0 w 164"/>
                <a:gd name="T5" fmla="*/ 310 h 1527"/>
                <a:gd name="T6" fmla="*/ 1 w 164"/>
                <a:gd name="T7" fmla="*/ 302 h 1527"/>
                <a:gd name="T8" fmla="*/ 27 w 164"/>
                <a:gd name="T9" fmla="*/ 63 h 1527"/>
                <a:gd name="T10" fmla="*/ 101 w 164"/>
                <a:gd name="T11" fmla="*/ 4 h 1527"/>
                <a:gd name="T12" fmla="*/ 160 w 164"/>
                <a:gd name="T13" fmla="*/ 78 h 1527"/>
                <a:gd name="T14" fmla="*/ 134 w 164"/>
                <a:gd name="T15" fmla="*/ 313 h 1527"/>
                <a:gd name="T16" fmla="*/ 146 w 164"/>
                <a:gd name="T17" fmla="*/ 1459 h 1527"/>
                <a:gd name="T18" fmla="*/ 80 w 164"/>
                <a:gd name="T19" fmla="*/ 1527 h 1527"/>
                <a:gd name="T20" fmla="*/ 79 w 164"/>
                <a:gd name="T21" fmla="*/ 1527 h 1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4" h="1527">
                  <a:moveTo>
                    <a:pt x="79" y="1527"/>
                  </a:moveTo>
                  <a:cubicBezTo>
                    <a:pt x="43" y="1527"/>
                    <a:pt x="13" y="1497"/>
                    <a:pt x="13" y="1461"/>
                  </a:cubicBezTo>
                  <a:lnTo>
                    <a:pt x="0" y="310"/>
                  </a:lnTo>
                  <a:cubicBezTo>
                    <a:pt x="0" y="307"/>
                    <a:pt x="1" y="305"/>
                    <a:pt x="1" y="302"/>
                  </a:cubicBezTo>
                  <a:lnTo>
                    <a:pt x="27" y="63"/>
                  </a:lnTo>
                  <a:cubicBezTo>
                    <a:pt x="32" y="26"/>
                    <a:pt x="65" y="0"/>
                    <a:pt x="101" y="4"/>
                  </a:cubicBezTo>
                  <a:cubicBezTo>
                    <a:pt x="138" y="8"/>
                    <a:pt x="164" y="41"/>
                    <a:pt x="160" y="78"/>
                  </a:cubicBezTo>
                  <a:lnTo>
                    <a:pt x="134" y="313"/>
                  </a:lnTo>
                  <a:lnTo>
                    <a:pt x="146" y="1459"/>
                  </a:lnTo>
                  <a:cubicBezTo>
                    <a:pt x="146" y="1496"/>
                    <a:pt x="117" y="1526"/>
                    <a:pt x="80" y="1527"/>
                  </a:cubicBezTo>
                  <a:lnTo>
                    <a:pt x="79" y="1527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1" name="Freeform 42">
              <a:extLst>
                <a:ext uri="{FF2B5EF4-FFF2-40B4-BE49-F238E27FC236}">
                  <a16:creationId xmlns:a16="http://schemas.microsoft.com/office/drawing/2014/main" id="{561A3F8E-3DA0-7207-A6C9-041E0EB65A7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8275" y="3894138"/>
              <a:ext cx="36513" cy="15875"/>
            </a:xfrm>
            <a:custGeom>
              <a:avLst/>
              <a:gdLst>
                <a:gd name="T0" fmla="*/ 250 w 317"/>
                <a:gd name="T1" fmla="*/ 133 h 133"/>
                <a:gd name="T2" fmla="*/ 67 w 317"/>
                <a:gd name="T3" fmla="*/ 133 h 133"/>
                <a:gd name="T4" fmla="*/ 0 w 317"/>
                <a:gd name="T5" fmla="*/ 66 h 133"/>
                <a:gd name="T6" fmla="*/ 67 w 317"/>
                <a:gd name="T7" fmla="*/ 0 h 133"/>
                <a:gd name="T8" fmla="*/ 250 w 317"/>
                <a:gd name="T9" fmla="*/ 0 h 133"/>
                <a:gd name="T10" fmla="*/ 317 w 317"/>
                <a:gd name="T11" fmla="*/ 66 h 133"/>
                <a:gd name="T12" fmla="*/ 250 w 317"/>
                <a:gd name="T13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7" h="133">
                  <a:moveTo>
                    <a:pt x="250" y="133"/>
                  </a:moveTo>
                  <a:lnTo>
                    <a:pt x="67" y="133"/>
                  </a:lnTo>
                  <a:cubicBezTo>
                    <a:pt x="30" y="133"/>
                    <a:pt x="0" y="103"/>
                    <a:pt x="0" y="66"/>
                  </a:cubicBezTo>
                  <a:cubicBezTo>
                    <a:pt x="0" y="29"/>
                    <a:pt x="30" y="0"/>
                    <a:pt x="67" y="0"/>
                  </a:cubicBezTo>
                  <a:lnTo>
                    <a:pt x="250" y="0"/>
                  </a:lnTo>
                  <a:cubicBezTo>
                    <a:pt x="287" y="0"/>
                    <a:pt x="317" y="29"/>
                    <a:pt x="317" y="66"/>
                  </a:cubicBezTo>
                  <a:cubicBezTo>
                    <a:pt x="317" y="103"/>
                    <a:pt x="287" y="133"/>
                    <a:pt x="250" y="1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2" name="Freeform 43">
              <a:extLst>
                <a:ext uri="{FF2B5EF4-FFF2-40B4-BE49-F238E27FC236}">
                  <a16:creationId xmlns:a16="http://schemas.microsoft.com/office/drawing/2014/main" id="{58972BCB-B41F-40CB-A309-FC8DC4540F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0338" y="4021138"/>
              <a:ext cx="22225" cy="41275"/>
            </a:xfrm>
            <a:custGeom>
              <a:avLst/>
              <a:gdLst>
                <a:gd name="T0" fmla="*/ 73 w 189"/>
                <a:gd name="T1" fmla="*/ 362 h 362"/>
                <a:gd name="T2" fmla="*/ 60 w 189"/>
                <a:gd name="T3" fmla="*/ 361 h 362"/>
                <a:gd name="T4" fmla="*/ 7 w 189"/>
                <a:gd name="T5" fmla="*/ 282 h 362"/>
                <a:gd name="T6" fmla="*/ 51 w 189"/>
                <a:gd name="T7" fmla="*/ 60 h 362"/>
                <a:gd name="T8" fmla="*/ 129 w 189"/>
                <a:gd name="T9" fmla="*/ 7 h 362"/>
                <a:gd name="T10" fmla="*/ 182 w 189"/>
                <a:gd name="T11" fmla="*/ 86 h 362"/>
                <a:gd name="T12" fmla="*/ 138 w 189"/>
                <a:gd name="T13" fmla="*/ 308 h 362"/>
                <a:gd name="T14" fmla="*/ 73 w 189"/>
                <a:gd name="T15" fmla="*/ 362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9" h="362">
                  <a:moveTo>
                    <a:pt x="73" y="362"/>
                  </a:moveTo>
                  <a:cubicBezTo>
                    <a:pt x="69" y="362"/>
                    <a:pt x="64" y="362"/>
                    <a:pt x="60" y="361"/>
                  </a:cubicBezTo>
                  <a:cubicBezTo>
                    <a:pt x="24" y="353"/>
                    <a:pt x="0" y="319"/>
                    <a:pt x="7" y="282"/>
                  </a:cubicBezTo>
                  <a:lnTo>
                    <a:pt x="51" y="60"/>
                  </a:lnTo>
                  <a:cubicBezTo>
                    <a:pt x="58" y="24"/>
                    <a:pt x="93" y="0"/>
                    <a:pt x="129" y="7"/>
                  </a:cubicBezTo>
                  <a:cubicBezTo>
                    <a:pt x="165" y="14"/>
                    <a:pt x="189" y="49"/>
                    <a:pt x="182" y="86"/>
                  </a:cubicBezTo>
                  <a:lnTo>
                    <a:pt x="138" y="308"/>
                  </a:lnTo>
                  <a:cubicBezTo>
                    <a:pt x="132" y="340"/>
                    <a:pt x="104" y="362"/>
                    <a:pt x="73" y="36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3" name="Freeform 44">
              <a:extLst>
                <a:ext uri="{FF2B5EF4-FFF2-40B4-BE49-F238E27FC236}">
                  <a16:creationId xmlns:a16="http://schemas.microsoft.com/office/drawing/2014/main" id="{247F4DAC-F7CB-936B-556F-E228783DFAF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0500" y="4022725"/>
              <a:ext cx="22225" cy="39688"/>
            </a:xfrm>
            <a:custGeom>
              <a:avLst/>
              <a:gdLst>
                <a:gd name="T0" fmla="*/ 114 w 186"/>
                <a:gd name="T1" fmla="*/ 349 h 349"/>
                <a:gd name="T2" fmla="*/ 48 w 186"/>
                <a:gd name="T3" fmla="*/ 295 h 349"/>
                <a:gd name="T4" fmla="*/ 7 w 186"/>
                <a:gd name="T5" fmla="*/ 85 h 349"/>
                <a:gd name="T6" fmla="*/ 60 w 186"/>
                <a:gd name="T7" fmla="*/ 7 h 349"/>
                <a:gd name="T8" fmla="*/ 138 w 186"/>
                <a:gd name="T9" fmla="*/ 59 h 349"/>
                <a:gd name="T10" fmla="*/ 179 w 186"/>
                <a:gd name="T11" fmla="*/ 269 h 349"/>
                <a:gd name="T12" fmla="*/ 127 w 186"/>
                <a:gd name="T13" fmla="*/ 347 h 349"/>
                <a:gd name="T14" fmla="*/ 114 w 186"/>
                <a:gd name="T15" fmla="*/ 349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6" h="349">
                  <a:moveTo>
                    <a:pt x="114" y="349"/>
                  </a:moveTo>
                  <a:cubicBezTo>
                    <a:pt x="82" y="349"/>
                    <a:pt x="54" y="327"/>
                    <a:pt x="48" y="295"/>
                  </a:cubicBezTo>
                  <a:lnTo>
                    <a:pt x="7" y="85"/>
                  </a:lnTo>
                  <a:cubicBezTo>
                    <a:pt x="0" y="49"/>
                    <a:pt x="23" y="14"/>
                    <a:pt x="60" y="7"/>
                  </a:cubicBezTo>
                  <a:cubicBezTo>
                    <a:pt x="96" y="0"/>
                    <a:pt x="131" y="23"/>
                    <a:pt x="138" y="59"/>
                  </a:cubicBezTo>
                  <a:lnTo>
                    <a:pt x="179" y="269"/>
                  </a:lnTo>
                  <a:cubicBezTo>
                    <a:pt x="186" y="305"/>
                    <a:pt x="163" y="341"/>
                    <a:pt x="127" y="347"/>
                  </a:cubicBezTo>
                  <a:cubicBezTo>
                    <a:pt x="122" y="348"/>
                    <a:pt x="118" y="349"/>
                    <a:pt x="114" y="34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4" name="Freeform 45">
              <a:extLst>
                <a:ext uri="{FF2B5EF4-FFF2-40B4-BE49-F238E27FC236}">
                  <a16:creationId xmlns:a16="http://schemas.microsoft.com/office/drawing/2014/main" id="{2CDAF2AA-67A6-1D06-5AD8-5DB5C517689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8275" y="4021138"/>
              <a:ext cx="36513" cy="15875"/>
            </a:xfrm>
            <a:custGeom>
              <a:avLst/>
              <a:gdLst>
                <a:gd name="T0" fmla="*/ 250 w 317"/>
                <a:gd name="T1" fmla="*/ 134 h 134"/>
                <a:gd name="T2" fmla="*/ 67 w 317"/>
                <a:gd name="T3" fmla="*/ 134 h 134"/>
                <a:gd name="T4" fmla="*/ 0 w 317"/>
                <a:gd name="T5" fmla="*/ 67 h 134"/>
                <a:gd name="T6" fmla="*/ 67 w 317"/>
                <a:gd name="T7" fmla="*/ 0 h 134"/>
                <a:gd name="T8" fmla="*/ 250 w 317"/>
                <a:gd name="T9" fmla="*/ 0 h 134"/>
                <a:gd name="T10" fmla="*/ 317 w 317"/>
                <a:gd name="T11" fmla="*/ 67 h 134"/>
                <a:gd name="T12" fmla="*/ 250 w 317"/>
                <a:gd name="T1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7" h="134">
                  <a:moveTo>
                    <a:pt x="250" y="134"/>
                  </a:moveTo>
                  <a:lnTo>
                    <a:pt x="67" y="134"/>
                  </a:lnTo>
                  <a:cubicBezTo>
                    <a:pt x="30" y="134"/>
                    <a:pt x="0" y="104"/>
                    <a:pt x="0" y="67"/>
                  </a:cubicBezTo>
                  <a:cubicBezTo>
                    <a:pt x="0" y="30"/>
                    <a:pt x="30" y="0"/>
                    <a:pt x="67" y="0"/>
                  </a:cubicBezTo>
                  <a:lnTo>
                    <a:pt x="250" y="0"/>
                  </a:lnTo>
                  <a:cubicBezTo>
                    <a:pt x="287" y="0"/>
                    <a:pt x="317" y="30"/>
                    <a:pt x="317" y="67"/>
                  </a:cubicBezTo>
                  <a:cubicBezTo>
                    <a:pt x="317" y="104"/>
                    <a:pt x="287" y="134"/>
                    <a:pt x="250" y="13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5" name="Freeform 46">
              <a:extLst>
                <a:ext uri="{FF2B5EF4-FFF2-40B4-BE49-F238E27FC236}">
                  <a16:creationId xmlns:a16="http://schemas.microsoft.com/office/drawing/2014/main" id="{DBB48B17-D346-2AD0-8324-A6207E34C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0663" y="3867150"/>
              <a:ext cx="20638" cy="173038"/>
            </a:xfrm>
            <a:custGeom>
              <a:avLst/>
              <a:gdLst>
                <a:gd name="T0" fmla="*/ 115 w 182"/>
                <a:gd name="T1" fmla="*/ 1529 h 1529"/>
                <a:gd name="T2" fmla="*/ 49 w 182"/>
                <a:gd name="T3" fmla="*/ 1462 h 1529"/>
                <a:gd name="T4" fmla="*/ 49 w 182"/>
                <a:gd name="T5" fmla="*/ 315 h 1529"/>
                <a:gd name="T6" fmla="*/ 6 w 182"/>
                <a:gd name="T7" fmla="*/ 84 h 1529"/>
                <a:gd name="T8" fmla="*/ 60 w 182"/>
                <a:gd name="T9" fmla="*/ 7 h 1529"/>
                <a:gd name="T10" fmla="*/ 138 w 182"/>
                <a:gd name="T11" fmla="*/ 60 h 1529"/>
                <a:gd name="T12" fmla="*/ 181 w 182"/>
                <a:gd name="T13" fmla="*/ 297 h 1529"/>
                <a:gd name="T14" fmla="*/ 182 w 182"/>
                <a:gd name="T15" fmla="*/ 309 h 1529"/>
                <a:gd name="T16" fmla="*/ 182 w 182"/>
                <a:gd name="T17" fmla="*/ 1462 h 1529"/>
                <a:gd name="T18" fmla="*/ 115 w 182"/>
                <a:gd name="T19" fmla="*/ 1529 h 1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1529">
                  <a:moveTo>
                    <a:pt x="115" y="1529"/>
                  </a:moveTo>
                  <a:cubicBezTo>
                    <a:pt x="79" y="1529"/>
                    <a:pt x="49" y="1499"/>
                    <a:pt x="49" y="1462"/>
                  </a:cubicBezTo>
                  <a:lnTo>
                    <a:pt x="49" y="315"/>
                  </a:lnTo>
                  <a:lnTo>
                    <a:pt x="6" y="84"/>
                  </a:lnTo>
                  <a:cubicBezTo>
                    <a:pt x="0" y="48"/>
                    <a:pt x="24" y="13"/>
                    <a:pt x="60" y="7"/>
                  </a:cubicBezTo>
                  <a:cubicBezTo>
                    <a:pt x="96" y="0"/>
                    <a:pt x="131" y="24"/>
                    <a:pt x="138" y="60"/>
                  </a:cubicBezTo>
                  <a:lnTo>
                    <a:pt x="181" y="297"/>
                  </a:lnTo>
                  <a:cubicBezTo>
                    <a:pt x="182" y="301"/>
                    <a:pt x="182" y="305"/>
                    <a:pt x="182" y="309"/>
                  </a:cubicBezTo>
                  <a:lnTo>
                    <a:pt x="182" y="1462"/>
                  </a:lnTo>
                  <a:cubicBezTo>
                    <a:pt x="182" y="1499"/>
                    <a:pt x="152" y="1529"/>
                    <a:pt x="115" y="152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6" name="Freeform 47">
              <a:extLst>
                <a:ext uri="{FF2B5EF4-FFF2-40B4-BE49-F238E27FC236}">
                  <a16:creationId xmlns:a16="http://schemas.microsoft.com/office/drawing/2014/main" id="{3A5E3F02-DE63-2A49-0BBD-177A200D7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9238" y="3867150"/>
              <a:ext cx="20638" cy="169863"/>
            </a:xfrm>
            <a:custGeom>
              <a:avLst/>
              <a:gdLst>
                <a:gd name="T0" fmla="*/ 79 w 180"/>
                <a:gd name="T1" fmla="*/ 1499 h 1499"/>
                <a:gd name="T2" fmla="*/ 13 w 180"/>
                <a:gd name="T3" fmla="*/ 1433 h 1499"/>
                <a:gd name="T4" fmla="*/ 0 w 180"/>
                <a:gd name="T5" fmla="*/ 311 h 1499"/>
                <a:gd name="T6" fmla="*/ 1 w 180"/>
                <a:gd name="T7" fmla="*/ 299 h 1499"/>
                <a:gd name="T8" fmla="*/ 43 w 180"/>
                <a:gd name="T9" fmla="*/ 60 h 1499"/>
                <a:gd name="T10" fmla="*/ 120 w 180"/>
                <a:gd name="T11" fmla="*/ 6 h 1499"/>
                <a:gd name="T12" fmla="*/ 174 w 180"/>
                <a:gd name="T13" fmla="*/ 83 h 1499"/>
                <a:gd name="T14" fmla="*/ 134 w 180"/>
                <a:gd name="T15" fmla="*/ 316 h 1499"/>
                <a:gd name="T16" fmla="*/ 146 w 180"/>
                <a:gd name="T17" fmla="*/ 1431 h 1499"/>
                <a:gd name="T18" fmla="*/ 80 w 180"/>
                <a:gd name="T19" fmla="*/ 1499 h 1499"/>
                <a:gd name="T20" fmla="*/ 79 w 180"/>
                <a:gd name="T21" fmla="*/ 1499 h 1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0" h="1499">
                  <a:moveTo>
                    <a:pt x="79" y="1499"/>
                  </a:moveTo>
                  <a:cubicBezTo>
                    <a:pt x="43" y="1499"/>
                    <a:pt x="13" y="1469"/>
                    <a:pt x="13" y="1433"/>
                  </a:cubicBezTo>
                  <a:lnTo>
                    <a:pt x="0" y="311"/>
                  </a:lnTo>
                  <a:cubicBezTo>
                    <a:pt x="0" y="307"/>
                    <a:pt x="1" y="303"/>
                    <a:pt x="1" y="299"/>
                  </a:cubicBezTo>
                  <a:lnTo>
                    <a:pt x="43" y="60"/>
                  </a:lnTo>
                  <a:cubicBezTo>
                    <a:pt x="49" y="24"/>
                    <a:pt x="83" y="0"/>
                    <a:pt x="120" y="6"/>
                  </a:cubicBezTo>
                  <a:cubicBezTo>
                    <a:pt x="156" y="12"/>
                    <a:pt x="180" y="47"/>
                    <a:pt x="174" y="83"/>
                  </a:cubicBezTo>
                  <a:lnTo>
                    <a:pt x="134" y="316"/>
                  </a:lnTo>
                  <a:lnTo>
                    <a:pt x="146" y="1431"/>
                  </a:lnTo>
                  <a:cubicBezTo>
                    <a:pt x="146" y="1468"/>
                    <a:pt x="117" y="1498"/>
                    <a:pt x="80" y="1499"/>
                  </a:cubicBezTo>
                  <a:lnTo>
                    <a:pt x="79" y="1499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7" name="Freeform 48">
              <a:extLst>
                <a:ext uri="{FF2B5EF4-FFF2-40B4-BE49-F238E27FC236}">
                  <a16:creationId xmlns:a16="http://schemas.microsoft.com/office/drawing/2014/main" id="{0E3BCD32-6034-2F1C-2132-709249747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7013" y="3894138"/>
              <a:ext cx="36513" cy="15875"/>
            </a:xfrm>
            <a:custGeom>
              <a:avLst/>
              <a:gdLst>
                <a:gd name="T0" fmla="*/ 250 w 316"/>
                <a:gd name="T1" fmla="*/ 133 h 133"/>
                <a:gd name="T2" fmla="*/ 66 w 316"/>
                <a:gd name="T3" fmla="*/ 133 h 133"/>
                <a:gd name="T4" fmla="*/ 0 w 316"/>
                <a:gd name="T5" fmla="*/ 66 h 133"/>
                <a:gd name="T6" fmla="*/ 66 w 316"/>
                <a:gd name="T7" fmla="*/ 0 h 133"/>
                <a:gd name="T8" fmla="*/ 250 w 316"/>
                <a:gd name="T9" fmla="*/ 0 h 133"/>
                <a:gd name="T10" fmla="*/ 316 w 316"/>
                <a:gd name="T11" fmla="*/ 66 h 133"/>
                <a:gd name="T12" fmla="*/ 250 w 316"/>
                <a:gd name="T13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6" h="133">
                  <a:moveTo>
                    <a:pt x="250" y="133"/>
                  </a:moveTo>
                  <a:lnTo>
                    <a:pt x="66" y="133"/>
                  </a:lnTo>
                  <a:cubicBezTo>
                    <a:pt x="30" y="133"/>
                    <a:pt x="0" y="103"/>
                    <a:pt x="0" y="66"/>
                  </a:cubicBezTo>
                  <a:cubicBezTo>
                    <a:pt x="0" y="30"/>
                    <a:pt x="30" y="0"/>
                    <a:pt x="66" y="0"/>
                  </a:cubicBezTo>
                  <a:lnTo>
                    <a:pt x="250" y="0"/>
                  </a:lnTo>
                  <a:cubicBezTo>
                    <a:pt x="287" y="0"/>
                    <a:pt x="316" y="30"/>
                    <a:pt x="316" y="66"/>
                  </a:cubicBezTo>
                  <a:cubicBezTo>
                    <a:pt x="316" y="103"/>
                    <a:pt x="287" y="133"/>
                    <a:pt x="250" y="1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8" name="Freeform 49">
              <a:extLst>
                <a:ext uri="{FF2B5EF4-FFF2-40B4-BE49-F238E27FC236}">
                  <a16:creationId xmlns:a16="http://schemas.microsoft.com/office/drawing/2014/main" id="{7C175360-857B-762B-39C5-1FCC301D4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2250" y="4021138"/>
              <a:ext cx="19050" cy="41275"/>
            </a:xfrm>
            <a:custGeom>
              <a:avLst/>
              <a:gdLst>
                <a:gd name="T0" fmla="*/ 71 w 171"/>
                <a:gd name="T1" fmla="*/ 360 h 360"/>
                <a:gd name="T2" fmla="*/ 63 w 171"/>
                <a:gd name="T3" fmla="*/ 359 h 360"/>
                <a:gd name="T4" fmla="*/ 5 w 171"/>
                <a:gd name="T5" fmla="*/ 285 h 360"/>
                <a:gd name="T6" fmla="*/ 34 w 171"/>
                <a:gd name="T7" fmla="*/ 62 h 360"/>
                <a:gd name="T8" fmla="*/ 109 w 171"/>
                <a:gd name="T9" fmla="*/ 5 h 360"/>
                <a:gd name="T10" fmla="*/ 166 w 171"/>
                <a:gd name="T11" fmla="*/ 80 h 360"/>
                <a:gd name="T12" fmla="*/ 137 w 171"/>
                <a:gd name="T13" fmla="*/ 302 h 360"/>
                <a:gd name="T14" fmla="*/ 71 w 171"/>
                <a:gd name="T15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360">
                  <a:moveTo>
                    <a:pt x="71" y="360"/>
                  </a:moveTo>
                  <a:cubicBezTo>
                    <a:pt x="68" y="360"/>
                    <a:pt x="65" y="360"/>
                    <a:pt x="63" y="359"/>
                  </a:cubicBezTo>
                  <a:cubicBezTo>
                    <a:pt x="26" y="355"/>
                    <a:pt x="0" y="321"/>
                    <a:pt x="5" y="285"/>
                  </a:cubicBezTo>
                  <a:lnTo>
                    <a:pt x="34" y="62"/>
                  </a:lnTo>
                  <a:cubicBezTo>
                    <a:pt x="39" y="26"/>
                    <a:pt x="72" y="0"/>
                    <a:pt x="109" y="5"/>
                  </a:cubicBezTo>
                  <a:cubicBezTo>
                    <a:pt x="145" y="10"/>
                    <a:pt x="171" y="43"/>
                    <a:pt x="166" y="80"/>
                  </a:cubicBezTo>
                  <a:lnTo>
                    <a:pt x="137" y="302"/>
                  </a:lnTo>
                  <a:cubicBezTo>
                    <a:pt x="133" y="335"/>
                    <a:pt x="104" y="360"/>
                    <a:pt x="71" y="36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9" name="Freeform 50">
              <a:extLst>
                <a:ext uri="{FF2B5EF4-FFF2-40B4-BE49-F238E27FC236}">
                  <a16:creationId xmlns:a16="http://schemas.microsoft.com/office/drawing/2014/main" id="{775C36E7-C95C-2FD0-9953-D7E4C0A87F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9238" y="4022725"/>
              <a:ext cx="23813" cy="39688"/>
            </a:xfrm>
            <a:custGeom>
              <a:avLst/>
              <a:gdLst>
                <a:gd name="T0" fmla="*/ 129 w 203"/>
                <a:gd name="T1" fmla="*/ 351 h 351"/>
                <a:gd name="T2" fmla="*/ 65 w 203"/>
                <a:gd name="T3" fmla="*/ 301 h 351"/>
                <a:gd name="T4" fmla="*/ 9 w 203"/>
                <a:gd name="T5" fmla="*/ 91 h 351"/>
                <a:gd name="T6" fmla="*/ 57 w 203"/>
                <a:gd name="T7" fmla="*/ 10 h 351"/>
                <a:gd name="T8" fmla="*/ 138 w 203"/>
                <a:gd name="T9" fmla="*/ 57 h 351"/>
                <a:gd name="T10" fmla="*/ 194 w 203"/>
                <a:gd name="T11" fmla="*/ 267 h 351"/>
                <a:gd name="T12" fmla="*/ 146 w 203"/>
                <a:gd name="T13" fmla="*/ 349 h 351"/>
                <a:gd name="T14" fmla="*/ 129 w 203"/>
                <a:gd name="T15" fmla="*/ 351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3" h="351">
                  <a:moveTo>
                    <a:pt x="129" y="351"/>
                  </a:moveTo>
                  <a:cubicBezTo>
                    <a:pt x="100" y="351"/>
                    <a:pt x="73" y="331"/>
                    <a:pt x="65" y="301"/>
                  </a:cubicBezTo>
                  <a:lnTo>
                    <a:pt x="9" y="91"/>
                  </a:lnTo>
                  <a:cubicBezTo>
                    <a:pt x="0" y="56"/>
                    <a:pt x="21" y="19"/>
                    <a:pt x="57" y="10"/>
                  </a:cubicBezTo>
                  <a:cubicBezTo>
                    <a:pt x="92" y="0"/>
                    <a:pt x="129" y="21"/>
                    <a:pt x="138" y="57"/>
                  </a:cubicBezTo>
                  <a:lnTo>
                    <a:pt x="194" y="267"/>
                  </a:lnTo>
                  <a:cubicBezTo>
                    <a:pt x="203" y="303"/>
                    <a:pt x="182" y="339"/>
                    <a:pt x="146" y="349"/>
                  </a:cubicBezTo>
                  <a:cubicBezTo>
                    <a:pt x="141" y="350"/>
                    <a:pt x="135" y="351"/>
                    <a:pt x="129" y="35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0" name="Freeform 51">
              <a:extLst>
                <a:ext uri="{FF2B5EF4-FFF2-40B4-BE49-F238E27FC236}">
                  <a16:creationId xmlns:a16="http://schemas.microsoft.com/office/drawing/2014/main" id="{BB211AD3-A2C8-CC8F-A0A7-8DD685B7C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7013" y="4021138"/>
              <a:ext cx="38100" cy="15875"/>
            </a:xfrm>
            <a:custGeom>
              <a:avLst/>
              <a:gdLst>
                <a:gd name="T0" fmla="*/ 267 w 333"/>
                <a:gd name="T1" fmla="*/ 134 h 134"/>
                <a:gd name="T2" fmla="*/ 67 w 333"/>
                <a:gd name="T3" fmla="*/ 134 h 134"/>
                <a:gd name="T4" fmla="*/ 0 w 333"/>
                <a:gd name="T5" fmla="*/ 67 h 134"/>
                <a:gd name="T6" fmla="*/ 67 w 333"/>
                <a:gd name="T7" fmla="*/ 0 h 134"/>
                <a:gd name="T8" fmla="*/ 267 w 333"/>
                <a:gd name="T9" fmla="*/ 0 h 134"/>
                <a:gd name="T10" fmla="*/ 333 w 333"/>
                <a:gd name="T11" fmla="*/ 67 h 134"/>
                <a:gd name="T12" fmla="*/ 267 w 333"/>
                <a:gd name="T1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3" h="134">
                  <a:moveTo>
                    <a:pt x="267" y="134"/>
                  </a:moveTo>
                  <a:lnTo>
                    <a:pt x="67" y="134"/>
                  </a:lnTo>
                  <a:cubicBezTo>
                    <a:pt x="30" y="134"/>
                    <a:pt x="0" y="104"/>
                    <a:pt x="0" y="67"/>
                  </a:cubicBezTo>
                  <a:cubicBezTo>
                    <a:pt x="0" y="30"/>
                    <a:pt x="30" y="0"/>
                    <a:pt x="67" y="0"/>
                  </a:cubicBezTo>
                  <a:lnTo>
                    <a:pt x="267" y="0"/>
                  </a:lnTo>
                  <a:cubicBezTo>
                    <a:pt x="303" y="0"/>
                    <a:pt x="333" y="30"/>
                    <a:pt x="333" y="67"/>
                  </a:cubicBezTo>
                  <a:cubicBezTo>
                    <a:pt x="333" y="104"/>
                    <a:pt x="303" y="134"/>
                    <a:pt x="267" y="13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1" name="Freeform 52">
              <a:extLst>
                <a:ext uri="{FF2B5EF4-FFF2-40B4-BE49-F238E27FC236}">
                  <a16:creationId xmlns:a16="http://schemas.microsoft.com/office/drawing/2014/main" id="{73DE1915-6FBF-4066-6A70-17AD2DC34C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0988" y="3863975"/>
              <a:ext cx="19050" cy="173038"/>
            </a:xfrm>
            <a:custGeom>
              <a:avLst/>
              <a:gdLst>
                <a:gd name="T0" fmla="*/ 99 w 166"/>
                <a:gd name="T1" fmla="*/ 1527 h 1527"/>
                <a:gd name="T2" fmla="*/ 33 w 166"/>
                <a:gd name="T3" fmla="*/ 1460 h 1527"/>
                <a:gd name="T4" fmla="*/ 33 w 166"/>
                <a:gd name="T5" fmla="*/ 311 h 1527"/>
                <a:gd name="T6" fmla="*/ 4 w 166"/>
                <a:gd name="T7" fmla="*/ 79 h 1527"/>
                <a:gd name="T8" fmla="*/ 62 w 166"/>
                <a:gd name="T9" fmla="*/ 4 h 1527"/>
                <a:gd name="T10" fmla="*/ 137 w 166"/>
                <a:gd name="T11" fmla="*/ 63 h 1527"/>
                <a:gd name="T12" fmla="*/ 166 w 166"/>
                <a:gd name="T13" fmla="*/ 299 h 1527"/>
                <a:gd name="T14" fmla="*/ 166 w 166"/>
                <a:gd name="T15" fmla="*/ 307 h 1527"/>
                <a:gd name="T16" fmla="*/ 166 w 166"/>
                <a:gd name="T17" fmla="*/ 1460 h 1527"/>
                <a:gd name="T18" fmla="*/ 99 w 166"/>
                <a:gd name="T19" fmla="*/ 1527 h 1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527">
                  <a:moveTo>
                    <a:pt x="99" y="1527"/>
                  </a:moveTo>
                  <a:cubicBezTo>
                    <a:pt x="62" y="1527"/>
                    <a:pt x="33" y="1497"/>
                    <a:pt x="33" y="1460"/>
                  </a:cubicBezTo>
                  <a:lnTo>
                    <a:pt x="33" y="311"/>
                  </a:lnTo>
                  <a:lnTo>
                    <a:pt x="4" y="79"/>
                  </a:lnTo>
                  <a:cubicBezTo>
                    <a:pt x="0" y="42"/>
                    <a:pt x="26" y="9"/>
                    <a:pt x="62" y="4"/>
                  </a:cubicBezTo>
                  <a:cubicBezTo>
                    <a:pt x="99" y="0"/>
                    <a:pt x="132" y="26"/>
                    <a:pt x="137" y="63"/>
                  </a:cubicBezTo>
                  <a:lnTo>
                    <a:pt x="166" y="299"/>
                  </a:lnTo>
                  <a:cubicBezTo>
                    <a:pt x="166" y="302"/>
                    <a:pt x="166" y="305"/>
                    <a:pt x="166" y="307"/>
                  </a:cubicBezTo>
                  <a:lnTo>
                    <a:pt x="166" y="1460"/>
                  </a:lnTo>
                  <a:cubicBezTo>
                    <a:pt x="166" y="1497"/>
                    <a:pt x="136" y="1527"/>
                    <a:pt x="99" y="152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2" name="Freeform 53">
              <a:extLst>
                <a:ext uri="{FF2B5EF4-FFF2-40B4-BE49-F238E27FC236}">
                  <a16:creationId xmlns:a16="http://schemas.microsoft.com/office/drawing/2014/main" id="{8DA7D702-B7FB-9E4D-6E1F-8C7C93A042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7975" y="3863975"/>
              <a:ext cx="19050" cy="169863"/>
            </a:xfrm>
            <a:custGeom>
              <a:avLst/>
              <a:gdLst>
                <a:gd name="T0" fmla="*/ 67 w 167"/>
                <a:gd name="T1" fmla="*/ 1498 h 1498"/>
                <a:gd name="T2" fmla="*/ 67 w 167"/>
                <a:gd name="T3" fmla="*/ 1498 h 1498"/>
                <a:gd name="T4" fmla="*/ 0 w 167"/>
                <a:gd name="T5" fmla="*/ 1431 h 1498"/>
                <a:gd name="T6" fmla="*/ 2 w 167"/>
                <a:gd name="T7" fmla="*/ 295 h 1498"/>
                <a:gd name="T8" fmla="*/ 3 w 167"/>
                <a:gd name="T9" fmla="*/ 287 h 1498"/>
                <a:gd name="T10" fmla="*/ 30 w 167"/>
                <a:gd name="T11" fmla="*/ 63 h 1498"/>
                <a:gd name="T12" fmla="*/ 104 w 167"/>
                <a:gd name="T13" fmla="*/ 4 h 1498"/>
                <a:gd name="T14" fmla="*/ 162 w 167"/>
                <a:gd name="T15" fmla="*/ 78 h 1498"/>
                <a:gd name="T16" fmla="*/ 136 w 167"/>
                <a:gd name="T17" fmla="*/ 299 h 1498"/>
                <a:gd name="T18" fmla="*/ 134 w 167"/>
                <a:gd name="T19" fmla="*/ 1431 h 1498"/>
                <a:gd name="T20" fmla="*/ 67 w 167"/>
                <a:gd name="T21" fmla="*/ 1498 h 1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7" h="1498">
                  <a:moveTo>
                    <a:pt x="67" y="1498"/>
                  </a:moveTo>
                  <a:lnTo>
                    <a:pt x="67" y="1498"/>
                  </a:lnTo>
                  <a:cubicBezTo>
                    <a:pt x="30" y="1498"/>
                    <a:pt x="0" y="1468"/>
                    <a:pt x="0" y="1431"/>
                  </a:cubicBezTo>
                  <a:lnTo>
                    <a:pt x="2" y="295"/>
                  </a:lnTo>
                  <a:cubicBezTo>
                    <a:pt x="2" y="292"/>
                    <a:pt x="3" y="290"/>
                    <a:pt x="3" y="287"/>
                  </a:cubicBezTo>
                  <a:lnTo>
                    <a:pt x="30" y="63"/>
                  </a:lnTo>
                  <a:cubicBezTo>
                    <a:pt x="34" y="26"/>
                    <a:pt x="67" y="0"/>
                    <a:pt x="104" y="4"/>
                  </a:cubicBezTo>
                  <a:cubicBezTo>
                    <a:pt x="140" y="9"/>
                    <a:pt x="167" y="42"/>
                    <a:pt x="162" y="78"/>
                  </a:cubicBezTo>
                  <a:lnTo>
                    <a:pt x="136" y="299"/>
                  </a:lnTo>
                  <a:lnTo>
                    <a:pt x="134" y="1431"/>
                  </a:lnTo>
                  <a:cubicBezTo>
                    <a:pt x="134" y="1468"/>
                    <a:pt x="104" y="1498"/>
                    <a:pt x="67" y="149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3" name="Freeform 54">
              <a:extLst>
                <a:ext uri="{FF2B5EF4-FFF2-40B4-BE49-F238E27FC236}">
                  <a16:creationId xmlns:a16="http://schemas.microsoft.com/office/drawing/2014/main" id="{8924ED3D-01BF-4DCE-4C65-A0417B62735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750" y="3890963"/>
              <a:ext cx="34925" cy="15875"/>
            </a:xfrm>
            <a:custGeom>
              <a:avLst/>
              <a:gdLst>
                <a:gd name="T0" fmla="*/ 250 w 316"/>
                <a:gd name="T1" fmla="*/ 133 h 133"/>
                <a:gd name="T2" fmla="*/ 66 w 316"/>
                <a:gd name="T3" fmla="*/ 133 h 133"/>
                <a:gd name="T4" fmla="*/ 0 w 316"/>
                <a:gd name="T5" fmla="*/ 67 h 133"/>
                <a:gd name="T6" fmla="*/ 66 w 316"/>
                <a:gd name="T7" fmla="*/ 0 h 133"/>
                <a:gd name="T8" fmla="*/ 250 w 316"/>
                <a:gd name="T9" fmla="*/ 0 h 133"/>
                <a:gd name="T10" fmla="*/ 316 w 316"/>
                <a:gd name="T11" fmla="*/ 67 h 133"/>
                <a:gd name="T12" fmla="*/ 250 w 316"/>
                <a:gd name="T13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6" h="133">
                  <a:moveTo>
                    <a:pt x="250" y="133"/>
                  </a:moveTo>
                  <a:lnTo>
                    <a:pt x="66" y="133"/>
                  </a:lnTo>
                  <a:cubicBezTo>
                    <a:pt x="30" y="133"/>
                    <a:pt x="0" y="104"/>
                    <a:pt x="0" y="67"/>
                  </a:cubicBezTo>
                  <a:cubicBezTo>
                    <a:pt x="0" y="30"/>
                    <a:pt x="30" y="0"/>
                    <a:pt x="66" y="0"/>
                  </a:cubicBezTo>
                  <a:lnTo>
                    <a:pt x="250" y="0"/>
                  </a:lnTo>
                  <a:cubicBezTo>
                    <a:pt x="287" y="0"/>
                    <a:pt x="316" y="30"/>
                    <a:pt x="316" y="67"/>
                  </a:cubicBezTo>
                  <a:cubicBezTo>
                    <a:pt x="316" y="104"/>
                    <a:pt x="287" y="133"/>
                    <a:pt x="250" y="1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4" name="Freeform 55">
              <a:extLst>
                <a:ext uri="{FF2B5EF4-FFF2-40B4-BE49-F238E27FC236}">
                  <a16:creationId xmlns:a16="http://schemas.microsoft.com/office/drawing/2014/main" id="{7CD04E02-C8D9-2E2C-917F-23E9C5CE6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9400" y="4017963"/>
              <a:ext cx="20638" cy="41275"/>
            </a:xfrm>
            <a:custGeom>
              <a:avLst/>
              <a:gdLst>
                <a:gd name="T0" fmla="*/ 73 w 189"/>
                <a:gd name="T1" fmla="*/ 362 h 362"/>
                <a:gd name="T2" fmla="*/ 60 w 189"/>
                <a:gd name="T3" fmla="*/ 361 h 362"/>
                <a:gd name="T4" fmla="*/ 7 w 189"/>
                <a:gd name="T5" fmla="*/ 282 h 362"/>
                <a:gd name="T6" fmla="*/ 51 w 189"/>
                <a:gd name="T7" fmla="*/ 60 h 362"/>
                <a:gd name="T8" fmla="*/ 129 w 189"/>
                <a:gd name="T9" fmla="*/ 8 h 362"/>
                <a:gd name="T10" fmla="*/ 182 w 189"/>
                <a:gd name="T11" fmla="*/ 86 h 362"/>
                <a:gd name="T12" fmla="*/ 138 w 189"/>
                <a:gd name="T13" fmla="*/ 308 h 362"/>
                <a:gd name="T14" fmla="*/ 73 w 189"/>
                <a:gd name="T15" fmla="*/ 362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9" h="362">
                  <a:moveTo>
                    <a:pt x="73" y="362"/>
                  </a:moveTo>
                  <a:cubicBezTo>
                    <a:pt x="69" y="362"/>
                    <a:pt x="64" y="362"/>
                    <a:pt x="60" y="361"/>
                  </a:cubicBezTo>
                  <a:cubicBezTo>
                    <a:pt x="24" y="354"/>
                    <a:pt x="0" y="319"/>
                    <a:pt x="7" y="282"/>
                  </a:cubicBezTo>
                  <a:lnTo>
                    <a:pt x="51" y="60"/>
                  </a:lnTo>
                  <a:cubicBezTo>
                    <a:pt x="58" y="24"/>
                    <a:pt x="93" y="0"/>
                    <a:pt x="129" y="8"/>
                  </a:cubicBezTo>
                  <a:cubicBezTo>
                    <a:pt x="165" y="15"/>
                    <a:pt x="189" y="50"/>
                    <a:pt x="182" y="86"/>
                  </a:cubicBezTo>
                  <a:lnTo>
                    <a:pt x="138" y="308"/>
                  </a:lnTo>
                  <a:cubicBezTo>
                    <a:pt x="132" y="340"/>
                    <a:pt x="104" y="362"/>
                    <a:pt x="73" y="36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5" name="Freeform 56">
              <a:extLst>
                <a:ext uri="{FF2B5EF4-FFF2-40B4-BE49-F238E27FC236}">
                  <a16:creationId xmlns:a16="http://schemas.microsoft.com/office/drawing/2014/main" id="{7FA7C208-A9AC-5CE2-151E-846BD595BB6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7975" y="4019550"/>
              <a:ext cx="22225" cy="41275"/>
            </a:xfrm>
            <a:custGeom>
              <a:avLst/>
              <a:gdLst>
                <a:gd name="T0" fmla="*/ 129 w 202"/>
                <a:gd name="T1" fmla="*/ 364 h 364"/>
                <a:gd name="T2" fmla="*/ 64 w 202"/>
                <a:gd name="T3" fmla="*/ 314 h 364"/>
                <a:gd name="T4" fmla="*/ 8 w 202"/>
                <a:gd name="T5" fmla="*/ 89 h 364"/>
                <a:gd name="T6" fmla="*/ 57 w 202"/>
                <a:gd name="T7" fmla="*/ 9 h 364"/>
                <a:gd name="T8" fmla="*/ 138 w 202"/>
                <a:gd name="T9" fmla="*/ 57 h 364"/>
                <a:gd name="T10" fmla="*/ 193 w 202"/>
                <a:gd name="T11" fmla="*/ 282 h 364"/>
                <a:gd name="T12" fmla="*/ 145 w 202"/>
                <a:gd name="T13" fmla="*/ 362 h 364"/>
                <a:gd name="T14" fmla="*/ 129 w 202"/>
                <a:gd name="T15" fmla="*/ 364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2" h="364">
                  <a:moveTo>
                    <a:pt x="129" y="364"/>
                  </a:moveTo>
                  <a:cubicBezTo>
                    <a:pt x="99" y="364"/>
                    <a:pt x="72" y="344"/>
                    <a:pt x="64" y="314"/>
                  </a:cubicBezTo>
                  <a:lnTo>
                    <a:pt x="8" y="89"/>
                  </a:lnTo>
                  <a:cubicBezTo>
                    <a:pt x="0" y="54"/>
                    <a:pt x="21" y="17"/>
                    <a:pt x="57" y="9"/>
                  </a:cubicBezTo>
                  <a:cubicBezTo>
                    <a:pt x="93" y="0"/>
                    <a:pt x="129" y="21"/>
                    <a:pt x="138" y="57"/>
                  </a:cubicBezTo>
                  <a:lnTo>
                    <a:pt x="193" y="282"/>
                  </a:lnTo>
                  <a:cubicBezTo>
                    <a:pt x="202" y="317"/>
                    <a:pt x="181" y="354"/>
                    <a:pt x="145" y="362"/>
                  </a:cubicBezTo>
                  <a:cubicBezTo>
                    <a:pt x="139" y="364"/>
                    <a:pt x="134" y="364"/>
                    <a:pt x="129" y="3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6" name="Freeform 57">
              <a:extLst>
                <a:ext uri="{FF2B5EF4-FFF2-40B4-BE49-F238E27FC236}">
                  <a16:creationId xmlns:a16="http://schemas.microsoft.com/office/drawing/2014/main" id="{875875BC-E3CB-CE22-1B69-48F21692E9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750" y="4019550"/>
              <a:ext cx="34925" cy="15875"/>
            </a:xfrm>
            <a:custGeom>
              <a:avLst/>
              <a:gdLst>
                <a:gd name="T0" fmla="*/ 250 w 316"/>
                <a:gd name="T1" fmla="*/ 133 h 133"/>
                <a:gd name="T2" fmla="*/ 66 w 316"/>
                <a:gd name="T3" fmla="*/ 133 h 133"/>
                <a:gd name="T4" fmla="*/ 0 w 316"/>
                <a:gd name="T5" fmla="*/ 66 h 133"/>
                <a:gd name="T6" fmla="*/ 66 w 316"/>
                <a:gd name="T7" fmla="*/ 0 h 133"/>
                <a:gd name="T8" fmla="*/ 250 w 316"/>
                <a:gd name="T9" fmla="*/ 0 h 133"/>
                <a:gd name="T10" fmla="*/ 316 w 316"/>
                <a:gd name="T11" fmla="*/ 66 h 133"/>
                <a:gd name="T12" fmla="*/ 250 w 316"/>
                <a:gd name="T13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6" h="133">
                  <a:moveTo>
                    <a:pt x="250" y="133"/>
                  </a:moveTo>
                  <a:lnTo>
                    <a:pt x="66" y="133"/>
                  </a:lnTo>
                  <a:cubicBezTo>
                    <a:pt x="30" y="133"/>
                    <a:pt x="0" y="103"/>
                    <a:pt x="0" y="66"/>
                  </a:cubicBezTo>
                  <a:cubicBezTo>
                    <a:pt x="0" y="29"/>
                    <a:pt x="30" y="0"/>
                    <a:pt x="66" y="0"/>
                  </a:cubicBezTo>
                  <a:lnTo>
                    <a:pt x="250" y="0"/>
                  </a:lnTo>
                  <a:cubicBezTo>
                    <a:pt x="287" y="0"/>
                    <a:pt x="316" y="29"/>
                    <a:pt x="316" y="66"/>
                  </a:cubicBezTo>
                  <a:cubicBezTo>
                    <a:pt x="316" y="103"/>
                    <a:pt x="287" y="133"/>
                    <a:pt x="250" y="1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317" name="Businessman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36B36EE-8D5C-5224-25D6-30120DE9CD20}"/>
              </a:ext>
            </a:extLst>
          </p:cNvPr>
          <p:cNvSpPr>
            <a:spLocks noChangeAspect="1"/>
          </p:cNvSpPr>
          <p:nvPr/>
        </p:nvSpPr>
        <p:spPr>
          <a:xfrm>
            <a:off x="2395259" y="5466784"/>
            <a:ext cx="196141" cy="279276"/>
          </a:xfrm>
          <a:custGeom>
            <a:avLst/>
            <a:gdLst>
              <a:gd name="connsiteX0" fmla="*/ 635352 w 927523"/>
              <a:gd name="connsiteY0" fmla="*/ 0 h 1320657"/>
              <a:gd name="connsiteX1" fmla="*/ 731376 w 927523"/>
              <a:gd name="connsiteY1" fmla="*/ 61934 h 1320657"/>
              <a:gd name="connsiteX2" fmla="*/ 703727 w 927523"/>
              <a:gd name="connsiteY2" fmla="*/ 269921 h 1320657"/>
              <a:gd name="connsiteX3" fmla="*/ 676077 w 927523"/>
              <a:gd name="connsiteY3" fmla="*/ 287031 h 1320657"/>
              <a:gd name="connsiteX4" fmla="*/ 676988 w 927523"/>
              <a:gd name="connsiteY4" fmla="*/ 292301 h 1320657"/>
              <a:gd name="connsiteX5" fmla="*/ 746079 w 927523"/>
              <a:gd name="connsiteY5" fmla="*/ 293407 h 1320657"/>
              <a:gd name="connsiteX6" fmla="*/ 850170 w 927523"/>
              <a:gd name="connsiteY6" fmla="*/ 361977 h 1320657"/>
              <a:gd name="connsiteX7" fmla="*/ 868711 w 927523"/>
              <a:gd name="connsiteY7" fmla="*/ 414673 h 1320657"/>
              <a:gd name="connsiteX8" fmla="*/ 925962 w 927523"/>
              <a:gd name="connsiteY8" fmla="*/ 725711 h 1320657"/>
              <a:gd name="connsiteX9" fmla="*/ 893173 w 927523"/>
              <a:gd name="connsiteY9" fmla="*/ 797469 h 1320657"/>
              <a:gd name="connsiteX10" fmla="*/ 855635 w 927523"/>
              <a:gd name="connsiteY10" fmla="*/ 805080 h 1320657"/>
              <a:gd name="connsiteX11" fmla="*/ 799556 w 927523"/>
              <a:gd name="connsiteY11" fmla="*/ 771836 h 1320657"/>
              <a:gd name="connsiteX12" fmla="*/ 796953 w 927523"/>
              <a:gd name="connsiteY12" fmla="*/ 772357 h 1320657"/>
              <a:gd name="connsiteX13" fmla="*/ 796953 w 927523"/>
              <a:gd name="connsiteY13" fmla="*/ 1250786 h 1320657"/>
              <a:gd name="connsiteX14" fmla="*/ 793636 w 927523"/>
              <a:gd name="connsiteY14" fmla="*/ 1282794 h 1320657"/>
              <a:gd name="connsiteX15" fmla="*/ 777046 w 927523"/>
              <a:gd name="connsiteY15" fmla="*/ 1311159 h 1320657"/>
              <a:gd name="connsiteX16" fmla="*/ 753105 w 927523"/>
              <a:gd name="connsiteY16" fmla="*/ 1320657 h 1320657"/>
              <a:gd name="connsiteX17" fmla="*/ 692992 w 927523"/>
              <a:gd name="connsiteY17" fmla="*/ 1320657 h 1320657"/>
              <a:gd name="connsiteX18" fmla="*/ 657601 w 927523"/>
              <a:gd name="connsiteY18" fmla="*/ 1290015 h 1320657"/>
              <a:gd name="connsiteX19" fmla="*/ 648103 w 927523"/>
              <a:gd name="connsiteY19" fmla="*/ 1255730 h 1320657"/>
              <a:gd name="connsiteX20" fmla="*/ 630407 w 927523"/>
              <a:gd name="connsiteY20" fmla="*/ 1113711 h 1320657"/>
              <a:gd name="connsiteX21" fmla="*/ 629952 w 927523"/>
              <a:gd name="connsiteY21" fmla="*/ 1113255 h 1320657"/>
              <a:gd name="connsiteX22" fmla="*/ 629562 w 927523"/>
              <a:gd name="connsiteY22" fmla="*/ 1113255 h 1320657"/>
              <a:gd name="connsiteX23" fmla="*/ 628586 w 927523"/>
              <a:gd name="connsiteY23" fmla="*/ 1114036 h 1320657"/>
              <a:gd name="connsiteX24" fmla="*/ 611215 w 927523"/>
              <a:gd name="connsiteY24" fmla="*/ 1257226 h 1320657"/>
              <a:gd name="connsiteX25" fmla="*/ 567172 w 927523"/>
              <a:gd name="connsiteY25" fmla="*/ 1320657 h 1320657"/>
              <a:gd name="connsiteX26" fmla="*/ 505433 w 927523"/>
              <a:gd name="connsiteY26" fmla="*/ 1320657 h 1320657"/>
              <a:gd name="connsiteX27" fmla="*/ 467114 w 927523"/>
              <a:gd name="connsiteY27" fmla="*/ 1287348 h 1320657"/>
              <a:gd name="connsiteX28" fmla="*/ 462430 w 927523"/>
              <a:gd name="connsiteY28" fmla="*/ 1257226 h 1320657"/>
              <a:gd name="connsiteX29" fmla="*/ 462430 w 927523"/>
              <a:gd name="connsiteY29" fmla="*/ 970065 h 1320657"/>
              <a:gd name="connsiteX30" fmla="*/ 459242 w 927523"/>
              <a:gd name="connsiteY30" fmla="*/ 967267 h 1320657"/>
              <a:gd name="connsiteX31" fmla="*/ 455469 w 927523"/>
              <a:gd name="connsiteY31" fmla="*/ 974619 h 1320657"/>
              <a:gd name="connsiteX32" fmla="*/ 452281 w 927523"/>
              <a:gd name="connsiteY32" fmla="*/ 977351 h 1320657"/>
              <a:gd name="connsiteX33" fmla="*/ 431593 w 927523"/>
              <a:gd name="connsiteY33" fmla="*/ 983857 h 1320657"/>
              <a:gd name="connsiteX34" fmla="*/ 431463 w 927523"/>
              <a:gd name="connsiteY34" fmla="*/ 986980 h 1320657"/>
              <a:gd name="connsiteX35" fmla="*/ 438359 w 927523"/>
              <a:gd name="connsiteY35" fmla="*/ 989582 h 1320657"/>
              <a:gd name="connsiteX36" fmla="*/ 440441 w 927523"/>
              <a:gd name="connsiteY36" fmla="*/ 994331 h 1320657"/>
              <a:gd name="connsiteX37" fmla="*/ 399129 w 927523"/>
              <a:gd name="connsiteY37" fmla="*/ 1100569 h 1320657"/>
              <a:gd name="connsiteX38" fmla="*/ 373172 w 927523"/>
              <a:gd name="connsiteY38" fmla="*/ 1145784 h 1320657"/>
              <a:gd name="connsiteX39" fmla="*/ 335894 w 927523"/>
              <a:gd name="connsiteY39" fmla="*/ 1159121 h 1320657"/>
              <a:gd name="connsiteX40" fmla="*/ 298941 w 927523"/>
              <a:gd name="connsiteY40" fmla="*/ 1150013 h 1320657"/>
              <a:gd name="connsiteX41" fmla="*/ 59531 w 927523"/>
              <a:gd name="connsiteY41" fmla="*/ 1058412 h 1320657"/>
              <a:gd name="connsiteX42" fmla="*/ 13991 w 927523"/>
              <a:gd name="connsiteY42" fmla="*/ 1032324 h 1320657"/>
              <a:gd name="connsiteX43" fmla="*/ 4 w 927523"/>
              <a:gd name="connsiteY43" fmla="*/ 994591 h 1320657"/>
              <a:gd name="connsiteX44" fmla="*/ 8852 w 927523"/>
              <a:gd name="connsiteY44" fmla="*/ 957509 h 1320657"/>
              <a:gd name="connsiteX45" fmla="*/ 56604 w 927523"/>
              <a:gd name="connsiteY45" fmla="*/ 835397 h 1320657"/>
              <a:gd name="connsiteX46" fmla="*/ 56929 w 927523"/>
              <a:gd name="connsiteY46" fmla="*/ 829282 h 1320657"/>
              <a:gd name="connsiteX47" fmla="*/ 54067 w 927523"/>
              <a:gd name="connsiteY47" fmla="*/ 812302 h 1320657"/>
              <a:gd name="connsiteX48" fmla="*/ 76381 w 927523"/>
              <a:gd name="connsiteY48" fmla="*/ 766827 h 1320657"/>
              <a:gd name="connsiteX49" fmla="*/ 116977 w 927523"/>
              <a:gd name="connsiteY49" fmla="*/ 748611 h 1320657"/>
              <a:gd name="connsiteX50" fmla="*/ 157768 w 927523"/>
              <a:gd name="connsiteY50" fmla="*/ 758825 h 1320657"/>
              <a:gd name="connsiteX51" fmla="*/ 194265 w 927523"/>
              <a:gd name="connsiteY51" fmla="*/ 773072 h 1320657"/>
              <a:gd name="connsiteX52" fmla="*/ 199925 w 927523"/>
              <a:gd name="connsiteY52" fmla="*/ 772096 h 1320657"/>
              <a:gd name="connsiteX53" fmla="*/ 262249 w 927523"/>
              <a:gd name="connsiteY53" fmla="*/ 746789 h 1320657"/>
              <a:gd name="connsiteX54" fmla="*/ 264526 w 927523"/>
              <a:gd name="connsiteY54" fmla="*/ 743276 h 1320657"/>
              <a:gd name="connsiteX55" fmla="*/ 266283 w 927523"/>
              <a:gd name="connsiteY55" fmla="*/ 690450 h 1320657"/>
              <a:gd name="connsiteX56" fmla="*/ 271357 w 927523"/>
              <a:gd name="connsiteY56" fmla="*/ 677373 h 1320657"/>
              <a:gd name="connsiteX57" fmla="*/ 374147 w 927523"/>
              <a:gd name="connsiteY57" fmla="*/ 396913 h 1320657"/>
              <a:gd name="connsiteX58" fmla="*/ 391908 w 927523"/>
              <a:gd name="connsiteY58" fmla="*/ 362693 h 1320657"/>
              <a:gd name="connsiteX59" fmla="*/ 406806 w 927523"/>
              <a:gd name="connsiteY59" fmla="*/ 342330 h 1320657"/>
              <a:gd name="connsiteX60" fmla="*/ 430747 w 927523"/>
              <a:gd name="connsiteY60" fmla="*/ 318389 h 1320657"/>
              <a:gd name="connsiteX61" fmla="*/ 584412 w 927523"/>
              <a:gd name="connsiteY61" fmla="*/ 292236 h 1320657"/>
              <a:gd name="connsiteX62" fmla="*/ 584867 w 927523"/>
              <a:gd name="connsiteY62" fmla="*/ 288788 h 1320657"/>
              <a:gd name="connsiteX63" fmla="*/ 558584 w 927523"/>
              <a:gd name="connsiteY63" fmla="*/ 273630 h 1320657"/>
              <a:gd name="connsiteX64" fmla="*/ 505237 w 927523"/>
              <a:gd name="connsiteY64" fmla="*/ 180728 h 1320657"/>
              <a:gd name="connsiteX65" fmla="*/ 525275 w 927523"/>
              <a:gd name="connsiteY65" fmla="*/ 65252 h 1320657"/>
              <a:gd name="connsiteX66" fmla="*/ 621625 w 927523"/>
              <a:gd name="connsiteY66" fmla="*/ 0 h 1320657"/>
              <a:gd name="connsiteX67" fmla="*/ 635352 w 927523"/>
              <a:gd name="connsiteY67" fmla="*/ 0 h 1320657"/>
              <a:gd name="connsiteX68" fmla="*/ 628911 w 927523"/>
              <a:gd name="connsiteY68" fmla="*/ 253397 h 1320657"/>
              <a:gd name="connsiteX69" fmla="*/ 709907 w 927523"/>
              <a:gd name="connsiteY69" fmla="*/ 149631 h 1320657"/>
              <a:gd name="connsiteX70" fmla="*/ 628911 w 927523"/>
              <a:gd name="connsiteY70" fmla="*/ 45865 h 1320657"/>
              <a:gd name="connsiteX71" fmla="*/ 547915 w 927523"/>
              <a:gd name="connsiteY71" fmla="*/ 149631 h 1320657"/>
              <a:gd name="connsiteX72" fmla="*/ 628911 w 927523"/>
              <a:gd name="connsiteY72" fmla="*/ 253397 h 1320657"/>
              <a:gd name="connsiteX73" fmla="*/ 459047 w 927523"/>
              <a:gd name="connsiteY73" fmla="*/ 487212 h 1320657"/>
              <a:gd name="connsiteX74" fmla="*/ 489429 w 927523"/>
              <a:gd name="connsiteY74" fmla="*/ 463401 h 1320657"/>
              <a:gd name="connsiteX75" fmla="*/ 508100 w 927523"/>
              <a:gd name="connsiteY75" fmla="*/ 492872 h 1320657"/>
              <a:gd name="connsiteX76" fmla="*/ 508230 w 927523"/>
              <a:gd name="connsiteY76" fmla="*/ 1264123 h 1320657"/>
              <a:gd name="connsiteX77" fmla="*/ 519420 w 927523"/>
              <a:gd name="connsiteY77" fmla="*/ 1275312 h 1320657"/>
              <a:gd name="connsiteX78" fmla="*/ 552924 w 927523"/>
              <a:gd name="connsiteY78" fmla="*/ 1275312 h 1320657"/>
              <a:gd name="connsiteX79" fmla="*/ 564504 w 927523"/>
              <a:gd name="connsiteY79" fmla="*/ 1265098 h 1320657"/>
              <a:gd name="connsiteX80" fmla="*/ 605816 w 927523"/>
              <a:gd name="connsiteY80" fmla="*/ 890045 h 1320657"/>
              <a:gd name="connsiteX81" fmla="*/ 613818 w 927523"/>
              <a:gd name="connsiteY81" fmla="*/ 868706 h 1320657"/>
              <a:gd name="connsiteX82" fmla="*/ 652332 w 927523"/>
              <a:gd name="connsiteY82" fmla="*/ 883214 h 1320657"/>
              <a:gd name="connsiteX83" fmla="*/ 695204 w 927523"/>
              <a:gd name="connsiteY83" fmla="*/ 1263732 h 1320657"/>
              <a:gd name="connsiteX84" fmla="*/ 708541 w 927523"/>
              <a:gd name="connsiteY84" fmla="*/ 1275377 h 1320657"/>
              <a:gd name="connsiteX85" fmla="*/ 740419 w 927523"/>
              <a:gd name="connsiteY85" fmla="*/ 1275377 h 1320657"/>
              <a:gd name="connsiteX86" fmla="*/ 751348 w 927523"/>
              <a:gd name="connsiteY86" fmla="*/ 1264383 h 1320657"/>
              <a:gd name="connsiteX87" fmla="*/ 751348 w 927523"/>
              <a:gd name="connsiteY87" fmla="*/ 577381 h 1320657"/>
              <a:gd name="connsiteX88" fmla="*/ 768458 w 927523"/>
              <a:gd name="connsiteY88" fmla="*/ 550577 h 1320657"/>
              <a:gd name="connsiteX89" fmla="*/ 800401 w 927523"/>
              <a:gd name="connsiteY89" fmla="*/ 582130 h 1320657"/>
              <a:gd name="connsiteX90" fmla="*/ 839891 w 927523"/>
              <a:gd name="connsiteY90" fmla="*/ 751213 h 1320657"/>
              <a:gd name="connsiteX91" fmla="*/ 853293 w 927523"/>
              <a:gd name="connsiteY91" fmla="*/ 759606 h 1320657"/>
              <a:gd name="connsiteX92" fmla="*/ 873396 w 927523"/>
              <a:gd name="connsiteY92" fmla="*/ 755377 h 1320657"/>
              <a:gd name="connsiteX93" fmla="*/ 882308 w 927523"/>
              <a:gd name="connsiteY93" fmla="*/ 741975 h 1320657"/>
              <a:gd name="connsiteX94" fmla="*/ 825644 w 927523"/>
              <a:gd name="connsiteY94" fmla="*/ 431523 h 1320657"/>
              <a:gd name="connsiteX95" fmla="*/ 806517 w 927523"/>
              <a:gd name="connsiteY95" fmla="*/ 376355 h 1320657"/>
              <a:gd name="connsiteX96" fmla="*/ 737361 w 927523"/>
              <a:gd name="connsiteY96" fmla="*/ 338361 h 1320657"/>
              <a:gd name="connsiteX97" fmla="*/ 669637 w 927523"/>
              <a:gd name="connsiteY97" fmla="*/ 338687 h 1320657"/>
              <a:gd name="connsiteX98" fmla="*/ 667750 w 927523"/>
              <a:gd name="connsiteY98" fmla="*/ 342070 h 1320657"/>
              <a:gd name="connsiteX99" fmla="*/ 677704 w 927523"/>
              <a:gd name="connsiteY99" fmla="*/ 358334 h 1320657"/>
              <a:gd name="connsiteX100" fmla="*/ 668596 w 927523"/>
              <a:gd name="connsiteY100" fmla="*/ 418447 h 1320657"/>
              <a:gd name="connsiteX101" fmla="*/ 665668 w 927523"/>
              <a:gd name="connsiteY101" fmla="*/ 427359 h 1320657"/>
              <a:gd name="connsiteX102" fmla="*/ 706069 w 927523"/>
              <a:gd name="connsiteY102" fmla="*/ 598980 h 1320657"/>
              <a:gd name="connsiteX103" fmla="*/ 698522 w 927523"/>
              <a:gd name="connsiteY103" fmla="*/ 635802 h 1320657"/>
              <a:gd name="connsiteX104" fmla="*/ 652657 w 927523"/>
              <a:gd name="connsiteY104" fmla="*/ 689019 h 1320657"/>
              <a:gd name="connsiteX105" fmla="*/ 605751 w 927523"/>
              <a:gd name="connsiteY105" fmla="*/ 688628 h 1320657"/>
              <a:gd name="connsiteX106" fmla="*/ 561382 w 927523"/>
              <a:gd name="connsiteY106" fmla="*/ 637038 h 1320657"/>
              <a:gd name="connsiteX107" fmla="*/ 550842 w 927523"/>
              <a:gd name="connsiteY107" fmla="*/ 606722 h 1320657"/>
              <a:gd name="connsiteX108" fmla="*/ 593585 w 927523"/>
              <a:gd name="connsiteY108" fmla="*/ 428205 h 1320657"/>
              <a:gd name="connsiteX109" fmla="*/ 590072 w 927523"/>
              <a:gd name="connsiteY109" fmla="*/ 417276 h 1320657"/>
              <a:gd name="connsiteX110" fmla="*/ 591763 w 927523"/>
              <a:gd name="connsiteY110" fmla="*/ 342720 h 1320657"/>
              <a:gd name="connsiteX111" fmla="*/ 589812 w 927523"/>
              <a:gd name="connsiteY111" fmla="*/ 339012 h 1320657"/>
              <a:gd name="connsiteX112" fmla="*/ 493983 w 927523"/>
              <a:gd name="connsiteY112" fmla="*/ 339858 h 1320657"/>
              <a:gd name="connsiteX113" fmla="*/ 463991 w 927523"/>
              <a:gd name="connsiteY113" fmla="*/ 350722 h 1320657"/>
              <a:gd name="connsiteX114" fmla="*/ 419557 w 927523"/>
              <a:gd name="connsiteY114" fmla="*/ 407452 h 1320657"/>
              <a:gd name="connsiteX115" fmla="*/ 304732 w 927523"/>
              <a:gd name="connsiteY115" fmla="*/ 721417 h 1320657"/>
              <a:gd name="connsiteX116" fmla="*/ 306098 w 927523"/>
              <a:gd name="connsiteY116" fmla="*/ 724345 h 1320657"/>
              <a:gd name="connsiteX117" fmla="*/ 340513 w 927523"/>
              <a:gd name="connsiteY117" fmla="*/ 737421 h 1320657"/>
              <a:gd name="connsiteX118" fmla="*/ 343115 w 927523"/>
              <a:gd name="connsiteY118" fmla="*/ 736380 h 1320657"/>
              <a:gd name="connsiteX119" fmla="*/ 459047 w 927523"/>
              <a:gd name="connsiteY119" fmla="*/ 487212 h 1320657"/>
              <a:gd name="connsiteX120" fmla="*/ 628643 w 927523"/>
              <a:gd name="connsiteY120" fmla="*/ 391014 h 1320657"/>
              <a:gd name="connsiteX121" fmla="*/ 637010 w 927523"/>
              <a:gd name="connsiteY121" fmla="*/ 382003 h 1320657"/>
              <a:gd name="connsiteX122" fmla="*/ 637010 w 927523"/>
              <a:gd name="connsiteY122" fmla="*/ 382003 h 1320657"/>
              <a:gd name="connsiteX123" fmla="*/ 630480 w 927523"/>
              <a:gd name="connsiteY123" fmla="*/ 371584 h 1320657"/>
              <a:gd name="connsiteX124" fmla="*/ 622113 w 927523"/>
              <a:gd name="connsiteY124" fmla="*/ 380595 h 1320657"/>
              <a:gd name="connsiteX125" fmla="*/ 622113 w 927523"/>
              <a:gd name="connsiteY125" fmla="*/ 380595 h 1320657"/>
              <a:gd name="connsiteX126" fmla="*/ 628643 w 927523"/>
              <a:gd name="connsiteY126" fmla="*/ 391014 h 1320657"/>
              <a:gd name="connsiteX127" fmla="*/ 627545 w 927523"/>
              <a:gd name="connsiteY127" fmla="*/ 481617 h 1320657"/>
              <a:gd name="connsiteX128" fmla="*/ 598855 w 927523"/>
              <a:gd name="connsiteY128" fmla="*/ 601907 h 1320657"/>
              <a:gd name="connsiteX129" fmla="*/ 601847 w 927523"/>
              <a:gd name="connsiteY129" fmla="*/ 615504 h 1320657"/>
              <a:gd name="connsiteX130" fmla="*/ 626634 w 927523"/>
              <a:gd name="connsiteY130" fmla="*/ 646211 h 1320657"/>
              <a:gd name="connsiteX131" fmla="*/ 632229 w 927523"/>
              <a:gd name="connsiteY131" fmla="*/ 646211 h 1320657"/>
              <a:gd name="connsiteX132" fmla="*/ 657341 w 927523"/>
              <a:gd name="connsiteY132" fmla="*/ 615699 h 1320657"/>
              <a:gd name="connsiteX133" fmla="*/ 660334 w 927523"/>
              <a:gd name="connsiteY133" fmla="*/ 602753 h 1320657"/>
              <a:gd name="connsiteX134" fmla="*/ 630733 w 927523"/>
              <a:gd name="connsiteY134" fmla="*/ 478754 h 1320657"/>
              <a:gd name="connsiteX135" fmla="*/ 630212 w 927523"/>
              <a:gd name="connsiteY135" fmla="*/ 477714 h 1320657"/>
              <a:gd name="connsiteX136" fmla="*/ 629627 w 927523"/>
              <a:gd name="connsiteY136" fmla="*/ 476477 h 1320657"/>
              <a:gd name="connsiteX137" fmla="*/ 628777 w 927523"/>
              <a:gd name="connsiteY137" fmla="*/ 476334 h 1320657"/>
              <a:gd name="connsiteX138" fmla="*/ 628130 w 927523"/>
              <a:gd name="connsiteY138" fmla="*/ 477583 h 1320657"/>
              <a:gd name="connsiteX139" fmla="*/ 627545 w 927523"/>
              <a:gd name="connsiteY139" fmla="*/ 481617 h 1320657"/>
              <a:gd name="connsiteX140" fmla="*/ 358143 w 927523"/>
              <a:gd name="connsiteY140" fmla="*/ 778992 h 1320657"/>
              <a:gd name="connsiteX141" fmla="*/ 352418 w 927523"/>
              <a:gd name="connsiteY141" fmla="*/ 780359 h 1320657"/>
              <a:gd name="connsiteX142" fmla="*/ 350792 w 927523"/>
              <a:gd name="connsiteY142" fmla="*/ 785238 h 1320657"/>
              <a:gd name="connsiteX143" fmla="*/ 376620 w 927523"/>
              <a:gd name="connsiteY143" fmla="*/ 842033 h 1320657"/>
              <a:gd name="connsiteX144" fmla="*/ 380588 w 927523"/>
              <a:gd name="connsiteY144" fmla="*/ 846717 h 1320657"/>
              <a:gd name="connsiteX145" fmla="*/ 433610 w 927523"/>
              <a:gd name="connsiteY145" fmla="*/ 867210 h 1320657"/>
              <a:gd name="connsiteX146" fmla="*/ 458526 w 927523"/>
              <a:gd name="connsiteY146" fmla="*/ 887508 h 1320657"/>
              <a:gd name="connsiteX147" fmla="*/ 462560 w 927523"/>
              <a:gd name="connsiteY147" fmla="*/ 886337 h 1320657"/>
              <a:gd name="connsiteX148" fmla="*/ 462560 w 927523"/>
              <a:gd name="connsiteY148" fmla="*/ 593580 h 1320657"/>
              <a:gd name="connsiteX149" fmla="*/ 459047 w 927523"/>
              <a:gd name="connsiteY149" fmla="*/ 592799 h 1320657"/>
              <a:gd name="connsiteX150" fmla="*/ 387484 w 927523"/>
              <a:gd name="connsiteY150" fmla="*/ 749066 h 1320657"/>
              <a:gd name="connsiteX151" fmla="*/ 363868 w 927523"/>
              <a:gd name="connsiteY151" fmla="*/ 776195 h 1320657"/>
              <a:gd name="connsiteX152" fmla="*/ 358143 w 927523"/>
              <a:gd name="connsiteY152" fmla="*/ 778992 h 1320657"/>
              <a:gd name="connsiteX153" fmla="*/ 225752 w 927523"/>
              <a:gd name="connsiteY153" fmla="*/ 968764 h 1320657"/>
              <a:gd name="connsiteX154" fmla="*/ 251450 w 927523"/>
              <a:gd name="connsiteY154" fmla="*/ 972927 h 1320657"/>
              <a:gd name="connsiteX155" fmla="*/ 416109 w 927523"/>
              <a:gd name="connsiteY155" fmla="*/ 940204 h 1320657"/>
              <a:gd name="connsiteX156" fmla="*/ 426974 w 927523"/>
              <a:gd name="connsiteY156" fmla="*/ 927322 h 1320657"/>
              <a:gd name="connsiteX157" fmla="*/ 417866 w 927523"/>
              <a:gd name="connsiteY157" fmla="*/ 910993 h 1320657"/>
              <a:gd name="connsiteX158" fmla="*/ 352418 w 927523"/>
              <a:gd name="connsiteY158" fmla="*/ 884710 h 1320657"/>
              <a:gd name="connsiteX159" fmla="*/ 338171 w 927523"/>
              <a:gd name="connsiteY159" fmla="*/ 872544 h 1320657"/>
              <a:gd name="connsiteX160" fmla="*/ 333031 w 927523"/>
              <a:gd name="connsiteY160" fmla="*/ 870267 h 1320657"/>
              <a:gd name="connsiteX161" fmla="*/ 318198 w 927523"/>
              <a:gd name="connsiteY161" fmla="*/ 870788 h 1320657"/>
              <a:gd name="connsiteX162" fmla="*/ 271357 w 927523"/>
              <a:gd name="connsiteY162" fmla="*/ 852702 h 1320657"/>
              <a:gd name="connsiteX163" fmla="*/ 224776 w 927523"/>
              <a:gd name="connsiteY163" fmla="*/ 834031 h 1320657"/>
              <a:gd name="connsiteX164" fmla="*/ 214237 w 927523"/>
              <a:gd name="connsiteY164" fmla="*/ 823557 h 1320657"/>
              <a:gd name="connsiteX165" fmla="*/ 208902 w 927523"/>
              <a:gd name="connsiteY165" fmla="*/ 821735 h 1320657"/>
              <a:gd name="connsiteX166" fmla="*/ 190166 w 927523"/>
              <a:gd name="connsiteY166" fmla="*/ 820954 h 1320657"/>
              <a:gd name="connsiteX167" fmla="*/ 124328 w 927523"/>
              <a:gd name="connsiteY167" fmla="*/ 795647 h 1320657"/>
              <a:gd name="connsiteX168" fmla="*/ 106568 w 927523"/>
              <a:gd name="connsiteY168" fmla="*/ 801372 h 1320657"/>
              <a:gd name="connsiteX169" fmla="*/ 105722 w 927523"/>
              <a:gd name="connsiteY169" fmla="*/ 818222 h 1320657"/>
              <a:gd name="connsiteX170" fmla="*/ 204023 w 927523"/>
              <a:gd name="connsiteY170" fmla="*/ 954321 h 1320657"/>
              <a:gd name="connsiteX171" fmla="*/ 225752 w 927523"/>
              <a:gd name="connsiteY171" fmla="*/ 968764 h 1320657"/>
              <a:gd name="connsiteX172" fmla="*/ 191857 w 927523"/>
              <a:gd name="connsiteY172" fmla="*/ 1060559 h 1320657"/>
              <a:gd name="connsiteX173" fmla="*/ 330950 w 927523"/>
              <a:gd name="connsiteY173" fmla="*/ 1113060 h 1320657"/>
              <a:gd name="connsiteX174" fmla="*/ 348710 w 927523"/>
              <a:gd name="connsiteY174" fmla="*/ 1104928 h 1320657"/>
              <a:gd name="connsiteX175" fmla="*/ 383060 w 927523"/>
              <a:gd name="connsiteY175" fmla="*/ 1014629 h 1320657"/>
              <a:gd name="connsiteX176" fmla="*/ 382094 w 927523"/>
              <a:gd name="connsiteY176" fmla="*/ 1012542 h 1320657"/>
              <a:gd name="connsiteX177" fmla="*/ 381174 w 927523"/>
              <a:gd name="connsiteY177" fmla="*/ 1012482 h 1320657"/>
              <a:gd name="connsiteX178" fmla="*/ 258281 w 927523"/>
              <a:gd name="connsiteY178" fmla="*/ 1037529 h 1320657"/>
              <a:gd name="connsiteX179" fmla="*/ 203242 w 927523"/>
              <a:gd name="connsiteY179" fmla="*/ 1031023 h 1320657"/>
              <a:gd name="connsiteX180" fmla="*/ 157898 w 927523"/>
              <a:gd name="connsiteY180" fmla="*/ 999015 h 1320657"/>
              <a:gd name="connsiteX181" fmla="*/ 83277 w 927523"/>
              <a:gd name="connsiteY181" fmla="*/ 898242 h 1320657"/>
              <a:gd name="connsiteX182" fmla="*/ 81001 w 927523"/>
              <a:gd name="connsiteY182" fmla="*/ 897908 h 1320657"/>
              <a:gd name="connsiteX183" fmla="*/ 80480 w 927523"/>
              <a:gd name="connsiteY183" fmla="*/ 898567 h 1320657"/>
              <a:gd name="connsiteX184" fmla="*/ 45609 w 927523"/>
              <a:gd name="connsiteY184" fmla="*/ 988671 h 1320657"/>
              <a:gd name="connsiteX185" fmla="*/ 53416 w 927523"/>
              <a:gd name="connsiteY185" fmla="*/ 1006627 h 1320657"/>
              <a:gd name="connsiteX186" fmla="*/ 191857 w 927523"/>
              <a:gd name="connsiteY186" fmla="*/ 1060559 h 13206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</a:cxnLst>
            <a:rect l="l" t="t" r="r" b="b"/>
            <a:pathLst>
              <a:path w="927523" h="1320657">
                <a:moveTo>
                  <a:pt x="635352" y="0"/>
                </a:moveTo>
                <a:cubicBezTo>
                  <a:pt x="677639" y="5205"/>
                  <a:pt x="709647" y="25849"/>
                  <a:pt x="731376" y="61934"/>
                </a:cubicBezTo>
                <a:cubicBezTo>
                  <a:pt x="770670" y="127251"/>
                  <a:pt x="762148" y="217551"/>
                  <a:pt x="703727" y="269921"/>
                </a:cubicBezTo>
                <a:cubicBezTo>
                  <a:pt x="694142" y="278552"/>
                  <a:pt x="684925" y="284256"/>
                  <a:pt x="676077" y="287031"/>
                </a:cubicBezTo>
                <a:cubicBezTo>
                  <a:pt x="665408" y="290414"/>
                  <a:pt x="665712" y="292171"/>
                  <a:pt x="676988" y="292301"/>
                </a:cubicBezTo>
                <a:cubicBezTo>
                  <a:pt x="678116" y="292301"/>
                  <a:pt x="701146" y="292670"/>
                  <a:pt x="746079" y="293407"/>
                </a:cubicBezTo>
                <a:cubicBezTo>
                  <a:pt x="794286" y="294188"/>
                  <a:pt x="829417" y="319105"/>
                  <a:pt x="850170" y="361977"/>
                </a:cubicBezTo>
                <a:cubicBezTo>
                  <a:pt x="859235" y="380757"/>
                  <a:pt x="865415" y="398322"/>
                  <a:pt x="868711" y="414673"/>
                </a:cubicBezTo>
                <a:cubicBezTo>
                  <a:pt x="887318" y="506404"/>
                  <a:pt x="906401" y="610083"/>
                  <a:pt x="925962" y="725711"/>
                </a:cubicBezTo>
                <a:cubicBezTo>
                  <a:pt x="930841" y="754336"/>
                  <a:pt x="925441" y="790312"/>
                  <a:pt x="893173" y="797469"/>
                </a:cubicBezTo>
                <a:cubicBezTo>
                  <a:pt x="872788" y="801979"/>
                  <a:pt x="860276" y="804516"/>
                  <a:pt x="855635" y="805080"/>
                </a:cubicBezTo>
                <a:cubicBezTo>
                  <a:pt x="827487" y="808333"/>
                  <a:pt x="808794" y="797252"/>
                  <a:pt x="799556" y="771836"/>
                </a:cubicBezTo>
                <a:cubicBezTo>
                  <a:pt x="797821" y="767022"/>
                  <a:pt x="796953" y="767195"/>
                  <a:pt x="796953" y="772357"/>
                </a:cubicBezTo>
                <a:cubicBezTo>
                  <a:pt x="796997" y="975031"/>
                  <a:pt x="796997" y="1134507"/>
                  <a:pt x="796953" y="1250786"/>
                </a:cubicBezTo>
                <a:cubicBezTo>
                  <a:pt x="796953" y="1264795"/>
                  <a:pt x="795847" y="1275464"/>
                  <a:pt x="793636" y="1282794"/>
                </a:cubicBezTo>
                <a:cubicBezTo>
                  <a:pt x="790166" y="1294374"/>
                  <a:pt x="784636" y="1303829"/>
                  <a:pt x="777046" y="1311159"/>
                </a:cubicBezTo>
                <a:cubicBezTo>
                  <a:pt x="772449" y="1315626"/>
                  <a:pt x="764468" y="1318792"/>
                  <a:pt x="753105" y="1320657"/>
                </a:cubicBezTo>
                <a:lnTo>
                  <a:pt x="692992" y="1320657"/>
                </a:lnTo>
                <a:cubicBezTo>
                  <a:pt x="676294" y="1316146"/>
                  <a:pt x="664497" y="1305932"/>
                  <a:pt x="657601" y="1290015"/>
                </a:cubicBezTo>
                <a:cubicBezTo>
                  <a:pt x="653004" y="1279346"/>
                  <a:pt x="649838" y="1267917"/>
                  <a:pt x="648103" y="1255730"/>
                </a:cubicBezTo>
                <a:cubicBezTo>
                  <a:pt x="641380" y="1208499"/>
                  <a:pt x="635482" y="1161159"/>
                  <a:pt x="630407" y="1113711"/>
                </a:cubicBezTo>
                <a:cubicBezTo>
                  <a:pt x="630407" y="1113407"/>
                  <a:pt x="630255" y="1113255"/>
                  <a:pt x="629952" y="1113255"/>
                </a:cubicBezTo>
                <a:cubicBezTo>
                  <a:pt x="629865" y="1113255"/>
                  <a:pt x="629735" y="1113255"/>
                  <a:pt x="629562" y="1113255"/>
                </a:cubicBezTo>
                <a:cubicBezTo>
                  <a:pt x="628998" y="1113212"/>
                  <a:pt x="628672" y="1113472"/>
                  <a:pt x="628586" y="1114036"/>
                </a:cubicBezTo>
                <a:cubicBezTo>
                  <a:pt x="623728" y="1161875"/>
                  <a:pt x="617938" y="1209605"/>
                  <a:pt x="611215" y="1257226"/>
                </a:cubicBezTo>
                <a:cubicBezTo>
                  <a:pt x="607117" y="1286242"/>
                  <a:pt x="596187" y="1312720"/>
                  <a:pt x="567172" y="1320657"/>
                </a:cubicBezTo>
                <a:lnTo>
                  <a:pt x="505433" y="1320657"/>
                </a:lnTo>
                <a:cubicBezTo>
                  <a:pt x="485785" y="1316884"/>
                  <a:pt x="473013" y="1305781"/>
                  <a:pt x="467114" y="1287348"/>
                </a:cubicBezTo>
                <a:cubicBezTo>
                  <a:pt x="463991" y="1277546"/>
                  <a:pt x="462430" y="1267506"/>
                  <a:pt x="462430" y="1257226"/>
                </a:cubicBezTo>
                <a:cubicBezTo>
                  <a:pt x="462690" y="1123556"/>
                  <a:pt x="462690" y="1027836"/>
                  <a:pt x="462430" y="970065"/>
                </a:cubicBezTo>
                <a:cubicBezTo>
                  <a:pt x="462430" y="965511"/>
                  <a:pt x="461367" y="964578"/>
                  <a:pt x="459242" y="967267"/>
                </a:cubicBezTo>
                <a:cubicBezTo>
                  <a:pt x="458678" y="968005"/>
                  <a:pt x="457420" y="970455"/>
                  <a:pt x="455469" y="974619"/>
                </a:cubicBezTo>
                <a:cubicBezTo>
                  <a:pt x="454853" y="975940"/>
                  <a:pt x="453692" y="976935"/>
                  <a:pt x="452281" y="977351"/>
                </a:cubicBezTo>
                <a:lnTo>
                  <a:pt x="431593" y="983857"/>
                </a:lnTo>
                <a:cubicBezTo>
                  <a:pt x="428557" y="984811"/>
                  <a:pt x="428513" y="985852"/>
                  <a:pt x="431463" y="986980"/>
                </a:cubicBezTo>
                <a:lnTo>
                  <a:pt x="438359" y="989582"/>
                </a:lnTo>
                <a:cubicBezTo>
                  <a:pt x="440657" y="990449"/>
                  <a:pt x="441351" y="992032"/>
                  <a:pt x="440441" y="994331"/>
                </a:cubicBezTo>
                <a:cubicBezTo>
                  <a:pt x="437144" y="1002528"/>
                  <a:pt x="423374" y="1037941"/>
                  <a:pt x="399129" y="1100569"/>
                </a:cubicBezTo>
                <a:cubicBezTo>
                  <a:pt x="390238" y="1123556"/>
                  <a:pt x="381586" y="1138628"/>
                  <a:pt x="373172" y="1145784"/>
                </a:cubicBezTo>
                <a:cubicBezTo>
                  <a:pt x="362676" y="1154675"/>
                  <a:pt x="350250" y="1159121"/>
                  <a:pt x="335894" y="1159121"/>
                </a:cubicBezTo>
                <a:cubicBezTo>
                  <a:pt x="327350" y="1159077"/>
                  <a:pt x="315032" y="1156041"/>
                  <a:pt x="298941" y="1150013"/>
                </a:cubicBezTo>
                <a:cubicBezTo>
                  <a:pt x="209596" y="1116270"/>
                  <a:pt x="129793" y="1085736"/>
                  <a:pt x="59531" y="1058412"/>
                </a:cubicBezTo>
                <a:cubicBezTo>
                  <a:pt x="36414" y="1049391"/>
                  <a:pt x="21234" y="1040695"/>
                  <a:pt x="13991" y="1032324"/>
                </a:cubicBezTo>
                <a:cubicBezTo>
                  <a:pt x="4840" y="1021655"/>
                  <a:pt x="178" y="1009077"/>
                  <a:pt x="4" y="994591"/>
                </a:cubicBezTo>
                <a:cubicBezTo>
                  <a:pt x="-126" y="985614"/>
                  <a:pt x="2823" y="973253"/>
                  <a:pt x="8852" y="957509"/>
                </a:cubicBezTo>
                <a:cubicBezTo>
                  <a:pt x="33140" y="894187"/>
                  <a:pt x="49057" y="853483"/>
                  <a:pt x="56604" y="835397"/>
                </a:cubicBezTo>
                <a:cubicBezTo>
                  <a:pt x="57428" y="833402"/>
                  <a:pt x="57536" y="831363"/>
                  <a:pt x="56929" y="829282"/>
                </a:cubicBezTo>
                <a:cubicBezTo>
                  <a:pt x="55498" y="824272"/>
                  <a:pt x="52570" y="818547"/>
                  <a:pt x="54067" y="812302"/>
                </a:cubicBezTo>
                <a:cubicBezTo>
                  <a:pt x="58881" y="792004"/>
                  <a:pt x="66319" y="776846"/>
                  <a:pt x="76381" y="766827"/>
                </a:cubicBezTo>
                <a:cubicBezTo>
                  <a:pt x="88265" y="754986"/>
                  <a:pt x="101797" y="748914"/>
                  <a:pt x="116977" y="748611"/>
                </a:cubicBezTo>
                <a:cubicBezTo>
                  <a:pt x="127473" y="748394"/>
                  <a:pt x="141070" y="751799"/>
                  <a:pt x="157768" y="758825"/>
                </a:cubicBezTo>
                <a:cubicBezTo>
                  <a:pt x="168610" y="763379"/>
                  <a:pt x="180776" y="768128"/>
                  <a:pt x="194265" y="773072"/>
                </a:cubicBezTo>
                <a:cubicBezTo>
                  <a:pt x="196346" y="773810"/>
                  <a:pt x="198233" y="773484"/>
                  <a:pt x="199925" y="772096"/>
                </a:cubicBezTo>
                <a:cubicBezTo>
                  <a:pt x="217967" y="756960"/>
                  <a:pt x="238742" y="748524"/>
                  <a:pt x="262249" y="746789"/>
                </a:cubicBezTo>
                <a:cubicBezTo>
                  <a:pt x="264505" y="746616"/>
                  <a:pt x="265264" y="745445"/>
                  <a:pt x="264526" y="743276"/>
                </a:cubicBezTo>
                <a:cubicBezTo>
                  <a:pt x="258758" y="725971"/>
                  <a:pt x="259343" y="708362"/>
                  <a:pt x="266283" y="690450"/>
                </a:cubicBezTo>
                <a:cubicBezTo>
                  <a:pt x="269492" y="682253"/>
                  <a:pt x="271184" y="677894"/>
                  <a:pt x="271357" y="677373"/>
                </a:cubicBezTo>
                <a:cubicBezTo>
                  <a:pt x="326656" y="520152"/>
                  <a:pt x="360919" y="426665"/>
                  <a:pt x="374147" y="396913"/>
                </a:cubicBezTo>
                <a:cubicBezTo>
                  <a:pt x="376750" y="391101"/>
                  <a:pt x="382670" y="379694"/>
                  <a:pt x="391908" y="362693"/>
                </a:cubicBezTo>
                <a:cubicBezTo>
                  <a:pt x="396462" y="354365"/>
                  <a:pt x="401428" y="347578"/>
                  <a:pt x="406806" y="342330"/>
                </a:cubicBezTo>
                <a:cubicBezTo>
                  <a:pt x="414873" y="334458"/>
                  <a:pt x="421964" y="324634"/>
                  <a:pt x="430747" y="318389"/>
                </a:cubicBezTo>
                <a:cubicBezTo>
                  <a:pt x="475181" y="286836"/>
                  <a:pt x="519290" y="293082"/>
                  <a:pt x="584412" y="292236"/>
                </a:cubicBezTo>
                <a:cubicBezTo>
                  <a:pt x="591828" y="292149"/>
                  <a:pt x="591980" y="291000"/>
                  <a:pt x="584867" y="288788"/>
                </a:cubicBezTo>
                <a:cubicBezTo>
                  <a:pt x="576453" y="286142"/>
                  <a:pt x="567692" y="281090"/>
                  <a:pt x="558584" y="273630"/>
                </a:cubicBezTo>
                <a:cubicBezTo>
                  <a:pt x="529699" y="249949"/>
                  <a:pt x="511917" y="218982"/>
                  <a:pt x="505237" y="180728"/>
                </a:cubicBezTo>
                <a:cubicBezTo>
                  <a:pt x="498081" y="139656"/>
                  <a:pt x="504760" y="101164"/>
                  <a:pt x="525275" y="65252"/>
                </a:cubicBezTo>
                <a:cubicBezTo>
                  <a:pt x="546874" y="27476"/>
                  <a:pt x="578991" y="5725"/>
                  <a:pt x="621625" y="0"/>
                </a:cubicBezTo>
                <a:lnTo>
                  <a:pt x="635352" y="0"/>
                </a:lnTo>
                <a:close/>
                <a:moveTo>
                  <a:pt x="628911" y="253397"/>
                </a:moveTo>
                <a:cubicBezTo>
                  <a:pt x="673644" y="253397"/>
                  <a:pt x="709907" y="206939"/>
                  <a:pt x="709907" y="149631"/>
                </a:cubicBezTo>
                <a:cubicBezTo>
                  <a:pt x="709907" y="92323"/>
                  <a:pt x="673644" y="45865"/>
                  <a:pt x="628911" y="45865"/>
                </a:cubicBezTo>
                <a:cubicBezTo>
                  <a:pt x="584178" y="45865"/>
                  <a:pt x="547915" y="92323"/>
                  <a:pt x="547915" y="149631"/>
                </a:cubicBezTo>
                <a:cubicBezTo>
                  <a:pt x="547915" y="206939"/>
                  <a:pt x="584178" y="253397"/>
                  <a:pt x="628911" y="253397"/>
                </a:cubicBezTo>
                <a:close/>
                <a:moveTo>
                  <a:pt x="459047" y="487212"/>
                </a:moveTo>
                <a:cubicBezTo>
                  <a:pt x="466333" y="471858"/>
                  <a:pt x="472253" y="460343"/>
                  <a:pt x="489429" y="463401"/>
                </a:cubicBezTo>
                <a:cubicBezTo>
                  <a:pt x="505042" y="466198"/>
                  <a:pt x="508100" y="477909"/>
                  <a:pt x="508100" y="492872"/>
                </a:cubicBezTo>
                <a:cubicBezTo>
                  <a:pt x="508143" y="935910"/>
                  <a:pt x="508187" y="1192994"/>
                  <a:pt x="508230" y="1264123"/>
                </a:cubicBezTo>
                <a:cubicBezTo>
                  <a:pt x="508230" y="1271582"/>
                  <a:pt x="511960" y="1275312"/>
                  <a:pt x="519420" y="1275312"/>
                </a:cubicBezTo>
                <a:lnTo>
                  <a:pt x="552924" y="1275312"/>
                </a:lnTo>
                <a:cubicBezTo>
                  <a:pt x="558789" y="1275324"/>
                  <a:pt x="563751" y="1270948"/>
                  <a:pt x="564504" y="1265098"/>
                </a:cubicBezTo>
                <a:cubicBezTo>
                  <a:pt x="581029" y="1140232"/>
                  <a:pt x="594799" y="1015214"/>
                  <a:pt x="605816" y="890045"/>
                </a:cubicBezTo>
                <a:cubicBezTo>
                  <a:pt x="606683" y="880199"/>
                  <a:pt x="609350" y="873087"/>
                  <a:pt x="613818" y="868706"/>
                </a:cubicBezTo>
                <a:cubicBezTo>
                  <a:pt x="627610" y="855304"/>
                  <a:pt x="650640" y="864542"/>
                  <a:pt x="652332" y="883214"/>
                </a:cubicBezTo>
                <a:cubicBezTo>
                  <a:pt x="664822" y="1019270"/>
                  <a:pt x="679113" y="1146109"/>
                  <a:pt x="695204" y="1263732"/>
                </a:cubicBezTo>
                <a:cubicBezTo>
                  <a:pt x="696144" y="1270408"/>
                  <a:pt x="701831" y="1275374"/>
                  <a:pt x="708541" y="1275377"/>
                </a:cubicBezTo>
                <a:lnTo>
                  <a:pt x="740419" y="1275377"/>
                </a:lnTo>
                <a:cubicBezTo>
                  <a:pt x="747705" y="1275377"/>
                  <a:pt x="751348" y="1271713"/>
                  <a:pt x="751348" y="1264383"/>
                </a:cubicBezTo>
                <a:cubicBezTo>
                  <a:pt x="751522" y="985375"/>
                  <a:pt x="751522" y="756374"/>
                  <a:pt x="751348" y="577381"/>
                </a:cubicBezTo>
                <a:cubicBezTo>
                  <a:pt x="751305" y="562548"/>
                  <a:pt x="757008" y="553613"/>
                  <a:pt x="768458" y="550577"/>
                </a:cubicBezTo>
                <a:cubicBezTo>
                  <a:pt x="790253" y="544787"/>
                  <a:pt x="797734" y="566907"/>
                  <a:pt x="800401" y="582130"/>
                </a:cubicBezTo>
                <a:cubicBezTo>
                  <a:pt x="810550" y="639185"/>
                  <a:pt x="825904" y="696045"/>
                  <a:pt x="839891" y="751213"/>
                </a:cubicBezTo>
                <a:cubicBezTo>
                  <a:pt x="841713" y="758326"/>
                  <a:pt x="846180" y="761123"/>
                  <a:pt x="853293" y="759606"/>
                </a:cubicBezTo>
                <a:lnTo>
                  <a:pt x="873396" y="755377"/>
                </a:lnTo>
                <a:cubicBezTo>
                  <a:pt x="879441" y="754086"/>
                  <a:pt x="883375" y="748170"/>
                  <a:pt x="882308" y="741975"/>
                </a:cubicBezTo>
                <a:cubicBezTo>
                  <a:pt x="862401" y="622314"/>
                  <a:pt x="843513" y="518830"/>
                  <a:pt x="825644" y="431523"/>
                </a:cubicBezTo>
                <a:cubicBezTo>
                  <a:pt x="821437" y="410878"/>
                  <a:pt x="815061" y="392489"/>
                  <a:pt x="806517" y="376355"/>
                </a:cubicBezTo>
                <a:cubicBezTo>
                  <a:pt x="791619" y="348120"/>
                  <a:pt x="770150" y="338687"/>
                  <a:pt x="737361" y="338361"/>
                </a:cubicBezTo>
                <a:cubicBezTo>
                  <a:pt x="708996" y="338101"/>
                  <a:pt x="686421" y="338210"/>
                  <a:pt x="669637" y="338687"/>
                </a:cubicBezTo>
                <a:cubicBezTo>
                  <a:pt x="667121" y="338730"/>
                  <a:pt x="666492" y="339858"/>
                  <a:pt x="667750" y="342070"/>
                </a:cubicBezTo>
                <a:cubicBezTo>
                  <a:pt x="670960" y="347621"/>
                  <a:pt x="674277" y="353043"/>
                  <a:pt x="677704" y="358334"/>
                </a:cubicBezTo>
                <a:cubicBezTo>
                  <a:pt x="692277" y="380757"/>
                  <a:pt x="689241" y="400794"/>
                  <a:pt x="668596" y="418447"/>
                </a:cubicBezTo>
                <a:cubicBezTo>
                  <a:pt x="666035" y="420639"/>
                  <a:pt x="664906" y="424075"/>
                  <a:pt x="665668" y="427359"/>
                </a:cubicBezTo>
                <a:cubicBezTo>
                  <a:pt x="671610" y="452775"/>
                  <a:pt x="685077" y="509982"/>
                  <a:pt x="706069" y="598980"/>
                </a:cubicBezTo>
                <a:cubicBezTo>
                  <a:pt x="709907" y="615114"/>
                  <a:pt x="707175" y="622986"/>
                  <a:pt x="698522" y="635802"/>
                </a:cubicBezTo>
                <a:cubicBezTo>
                  <a:pt x="684296" y="656794"/>
                  <a:pt x="669008" y="674533"/>
                  <a:pt x="652657" y="689019"/>
                </a:cubicBezTo>
                <a:cubicBezTo>
                  <a:pt x="637043" y="702811"/>
                  <a:pt x="621408" y="702681"/>
                  <a:pt x="605751" y="688628"/>
                </a:cubicBezTo>
                <a:cubicBezTo>
                  <a:pt x="587795" y="672494"/>
                  <a:pt x="575759" y="655124"/>
                  <a:pt x="561382" y="637038"/>
                </a:cubicBezTo>
                <a:cubicBezTo>
                  <a:pt x="552187" y="625415"/>
                  <a:pt x="548674" y="615309"/>
                  <a:pt x="550842" y="606722"/>
                </a:cubicBezTo>
                <a:cubicBezTo>
                  <a:pt x="565892" y="546479"/>
                  <a:pt x="580140" y="486973"/>
                  <a:pt x="593585" y="428205"/>
                </a:cubicBezTo>
                <a:cubicBezTo>
                  <a:pt x="594583" y="423868"/>
                  <a:pt x="593412" y="420225"/>
                  <a:pt x="590072" y="417276"/>
                </a:cubicBezTo>
                <a:cubicBezTo>
                  <a:pt x="560211" y="390797"/>
                  <a:pt x="575044" y="368808"/>
                  <a:pt x="591763" y="342720"/>
                </a:cubicBezTo>
                <a:cubicBezTo>
                  <a:pt x="593325" y="340335"/>
                  <a:pt x="592674" y="339099"/>
                  <a:pt x="589812" y="339012"/>
                </a:cubicBezTo>
                <a:cubicBezTo>
                  <a:pt x="534253" y="337754"/>
                  <a:pt x="502310" y="338036"/>
                  <a:pt x="493983" y="339858"/>
                </a:cubicBezTo>
                <a:cubicBezTo>
                  <a:pt x="479019" y="343111"/>
                  <a:pt x="469022" y="346732"/>
                  <a:pt x="463991" y="350722"/>
                </a:cubicBezTo>
                <a:cubicBezTo>
                  <a:pt x="443086" y="367160"/>
                  <a:pt x="428275" y="386070"/>
                  <a:pt x="419557" y="407452"/>
                </a:cubicBezTo>
                <a:cubicBezTo>
                  <a:pt x="383472" y="495973"/>
                  <a:pt x="345197" y="600628"/>
                  <a:pt x="304732" y="721417"/>
                </a:cubicBezTo>
                <a:cubicBezTo>
                  <a:pt x="304325" y="722624"/>
                  <a:pt x="304932" y="723925"/>
                  <a:pt x="306098" y="724345"/>
                </a:cubicBezTo>
                <a:lnTo>
                  <a:pt x="340513" y="737421"/>
                </a:lnTo>
                <a:cubicBezTo>
                  <a:pt x="341727" y="737855"/>
                  <a:pt x="342595" y="737508"/>
                  <a:pt x="343115" y="736380"/>
                </a:cubicBezTo>
                <a:cubicBezTo>
                  <a:pt x="375297" y="664991"/>
                  <a:pt x="413941" y="581935"/>
                  <a:pt x="459047" y="487212"/>
                </a:cubicBezTo>
                <a:close/>
                <a:moveTo>
                  <a:pt x="628643" y="391014"/>
                </a:moveTo>
                <a:cubicBezTo>
                  <a:pt x="632757" y="391403"/>
                  <a:pt x="636503" y="387369"/>
                  <a:pt x="637010" y="382003"/>
                </a:cubicBezTo>
                <a:cubicBezTo>
                  <a:pt x="637010" y="382003"/>
                  <a:pt x="637010" y="382003"/>
                  <a:pt x="637010" y="382003"/>
                </a:cubicBezTo>
                <a:cubicBezTo>
                  <a:pt x="637517" y="376638"/>
                  <a:pt x="634594" y="371973"/>
                  <a:pt x="630480" y="371584"/>
                </a:cubicBezTo>
                <a:cubicBezTo>
                  <a:pt x="626367" y="371195"/>
                  <a:pt x="622621" y="375229"/>
                  <a:pt x="622113" y="380595"/>
                </a:cubicBezTo>
                <a:cubicBezTo>
                  <a:pt x="622113" y="380595"/>
                  <a:pt x="622113" y="380595"/>
                  <a:pt x="622113" y="380595"/>
                </a:cubicBezTo>
                <a:cubicBezTo>
                  <a:pt x="621606" y="385960"/>
                  <a:pt x="624530" y="390625"/>
                  <a:pt x="628643" y="391014"/>
                </a:cubicBezTo>
                <a:close/>
                <a:moveTo>
                  <a:pt x="627545" y="481617"/>
                </a:moveTo>
                <a:cubicBezTo>
                  <a:pt x="621256" y="510762"/>
                  <a:pt x="611693" y="550859"/>
                  <a:pt x="598855" y="601907"/>
                </a:cubicBezTo>
                <a:cubicBezTo>
                  <a:pt x="597625" y="606648"/>
                  <a:pt x="598737" y="611699"/>
                  <a:pt x="601847" y="615504"/>
                </a:cubicBezTo>
                <a:lnTo>
                  <a:pt x="626634" y="646211"/>
                </a:lnTo>
                <a:cubicBezTo>
                  <a:pt x="628499" y="648510"/>
                  <a:pt x="630364" y="648510"/>
                  <a:pt x="632229" y="646211"/>
                </a:cubicBezTo>
                <a:lnTo>
                  <a:pt x="657341" y="615699"/>
                </a:lnTo>
                <a:cubicBezTo>
                  <a:pt x="660296" y="612083"/>
                  <a:pt x="661402" y="607299"/>
                  <a:pt x="660334" y="602753"/>
                </a:cubicBezTo>
                <a:cubicBezTo>
                  <a:pt x="649100" y="555392"/>
                  <a:pt x="639233" y="514059"/>
                  <a:pt x="630733" y="478754"/>
                </a:cubicBezTo>
                <a:cubicBezTo>
                  <a:pt x="630559" y="478191"/>
                  <a:pt x="630386" y="477844"/>
                  <a:pt x="630212" y="477714"/>
                </a:cubicBezTo>
                <a:cubicBezTo>
                  <a:pt x="629822" y="477497"/>
                  <a:pt x="629627" y="477085"/>
                  <a:pt x="629627" y="476477"/>
                </a:cubicBezTo>
                <a:cubicBezTo>
                  <a:pt x="629571" y="476022"/>
                  <a:pt x="629191" y="475958"/>
                  <a:pt x="628777" y="476334"/>
                </a:cubicBezTo>
                <a:cubicBezTo>
                  <a:pt x="628444" y="476637"/>
                  <a:pt x="628180" y="477147"/>
                  <a:pt x="628130" y="477583"/>
                </a:cubicBezTo>
                <a:cubicBezTo>
                  <a:pt x="627957" y="479275"/>
                  <a:pt x="627762" y="480619"/>
                  <a:pt x="627545" y="481617"/>
                </a:cubicBezTo>
                <a:close/>
                <a:moveTo>
                  <a:pt x="358143" y="778992"/>
                </a:moveTo>
                <a:lnTo>
                  <a:pt x="352418" y="780359"/>
                </a:lnTo>
                <a:cubicBezTo>
                  <a:pt x="348949" y="781183"/>
                  <a:pt x="348407" y="782809"/>
                  <a:pt x="350792" y="785238"/>
                </a:cubicBezTo>
                <a:cubicBezTo>
                  <a:pt x="365885" y="800396"/>
                  <a:pt x="371025" y="821084"/>
                  <a:pt x="376620" y="842033"/>
                </a:cubicBezTo>
                <a:cubicBezTo>
                  <a:pt x="377270" y="844461"/>
                  <a:pt x="378593" y="846023"/>
                  <a:pt x="380588" y="846717"/>
                </a:cubicBezTo>
                <a:cubicBezTo>
                  <a:pt x="402968" y="854654"/>
                  <a:pt x="420642" y="861485"/>
                  <a:pt x="433610" y="867210"/>
                </a:cubicBezTo>
                <a:cubicBezTo>
                  <a:pt x="444496" y="871981"/>
                  <a:pt x="452801" y="878747"/>
                  <a:pt x="458526" y="887508"/>
                </a:cubicBezTo>
                <a:cubicBezTo>
                  <a:pt x="461216" y="891715"/>
                  <a:pt x="462560" y="891324"/>
                  <a:pt x="462560" y="886337"/>
                </a:cubicBezTo>
                <a:lnTo>
                  <a:pt x="462560" y="593580"/>
                </a:lnTo>
                <a:cubicBezTo>
                  <a:pt x="462560" y="587985"/>
                  <a:pt x="461389" y="587725"/>
                  <a:pt x="459047" y="592799"/>
                </a:cubicBezTo>
                <a:cubicBezTo>
                  <a:pt x="433675" y="647577"/>
                  <a:pt x="409820" y="699666"/>
                  <a:pt x="387484" y="749066"/>
                </a:cubicBezTo>
                <a:cubicBezTo>
                  <a:pt x="383451" y="758087"/>
                  <a:pt x="375579" y="767130"/>
                  <a:pt x="363868" y="776195"/>
                </a:cubicBezTo>
                <a:cubicBezTo>
                  <a:pt x="362047" y="777583"/>
                  <a:pt x="360138" y="778515"/>
                  <a:pt x="358143" y="778992"/>
                </a:cubicBezTo>
                <a:close/>
                <a:moveTo>
                  <a:pt x="225752" y="968764"/>
                </a:moveTo>
                <a:cubicBezTo>
                  <a:pt x="236118" y="972841"/>
                  <a:pt x="244684" y="974229"/>
                  <a:pt x="251450" y="972927"/>
                </a:cubicBezTo>
                <a:cubicBezTo>
                  <a:pt x="282590" y="966986"/>
                  <a:pt x="337477" y="956078"/>
                  <a:pt x="416109" y="940204"/>
                </a:cubicBezTo>
                <a:cubicBezTo>
                  <a:pt x="422294" y="938939"/>
                  <a:pt x="426794" y="933604"/>
                  <a:pt x="426974" y="927322"/>
                </a:cubicBezTo>
                <a:cubicBezTo>
                  <a:pt x="427191" y="919602"/>
                  <a:pt x="424155" y="914159"/>
                  <a:pt x="417866" y="910993"/>
                </a:cubicBezTo>
                <a:cubicBezTo>
                  <a:pt x="404681" y="904357"/>
                  <a:pt x="382865" y="895596"/>
                  <a:pt x="352418" y="884710"/>
                </a:cubicBezTo>
                <a:cubicBezTo>
                  <a:pt x="346368" y="882563"/>
                  <a:pt x="341229" y="877229"/>
                  <a:pt x="338171" y="872544"/>
                </a:cubicBezTo>
                <a:cubicBezTo>
                  <a:pt x="337068" y="870845"/>
                  <a:pt x="335056" y="869954"/>
                  <a:pt x="333031" y="870267"/>
                </a:cubicBezTo>
                <a:cubicBezTo>
                  <a:pt x="325615" y="871525"/>
                  <a:pt x="320670" y="871699"/>
                  <a:pt x="318198" y="870788"/>
                </a:cubicBezTo>
                <a:cubicBezTo>
                  <a:pt x="302541" y="864846"/>
                  <a:pt x="286928" y="858817"/>
                  <a:pt x="271357" y="852702"/>
                </a:cubicBezTo>
                <a:cubicBezTo>
                  <a:pt x="255787" y="846587"/>
                  <a:pt x="240260" y="840363"/>
                  <a:pt x="224776" y="834031"/>
                </a:cubicBezTo>
                <a:cubicBezTo>
                  <a:pt x="222304" y="833033"/>
                  <a:pt x="218791" y="829542"/>
                  <a:pt x="214237" y="823557"/>
                </a:cubicBezTo>
                <a:cubicBezTo>
                  <a:pt x="212962" y="821944"/>
                  <a:pt x="210871" y="821230"/>
                  <a:pt x="208902" y="821735"/>
                </a:cubicBezTo>
                <a:cubicBezTo>
                  <a:pt x="203438" y="823101"/>
                  <a:pt x="196086" y="823491"/>
                  <a:pt x="190166" y="820954"/>
                </a:cubicBezTo>
                <a:cubicBezTo>
                  <a:pt x="160457" y="808203"/>
                  <a:pt x="138511" y="799767"/>
                  <a:pt x="124328" y="795647"/>
                </a:cubicBezTo>
                <a:cubicBezTo>
                  <a:pt x="117562" y="793652"/>
                  <a:pt x="111642" y="795560"/>
                  <a:pt x="106568" y="801372"/>
                </a:cubicBezTo>
                <a:cubicBezTo>
                  <a:pt x="102403" y="806090"/>
                  <a:pt x="102053" y="813073"/>
                  <a:pt x="105722" y="818222"/>
                </a:cubicBezTo>
                <a:cubicBezTo>
                  <a:pt x="152520" y="883366"/>
                  <a:pt x="185287" y="928732"/>
                  <a:pt x="204023" y="954321"/>
                </a:cubicBezTo>
                <a:cubicBezTo>
                  <a:pt x="208100" y="959873"/>
                  <a:pt x="215343" y="964687"/>
                  <a:pt x="225752" y="968764"/>
                </a:cubicBezTo>
                <a:close/>
                <a:moveTo>
                  <a:pt x="191857" y="1060559"/>
                </a:moveTo>
                <a:cubicBezTo>
                  <a:pt x="238352" y="1078385"/>
                  <a:pt x="284716" y="1095885"/>
                  <a:pt x="330950" y="1113060"/>
                </a:cubicBezTo>
                <a:cubicBezTo>
                  <a:pt x="338099" y="1115692"/>
                  <a:pt x="346032" y="1112060"/>
                  <a:pt x="348710" y="1104928"/>
                </a:cubicBezTo>
                <a:lnTo>
                  <a:pt x="383060" y="1014629"/>
                </a:lnTo>
                <a:cubicBezTo>
                  <a:pt x="383370" y="1013786"/>
                  <a:pt x="382938" y="1012851"/>
                  <a:pt x="382094" y="1012542"/>
                </a:cubicBezTo>
                <a:cubicBezTo>
                  <a:pt x="381800" y="1012433"/>
                  <a:pt x="381480" y="1012413"/>
                  <a:pt x="381174" y="1012482"/>
                </a:cubicBezTo>
                <a:cubicBezTo>
                  <a:pt x="333075" y="1023195"/>
                  <a:pt x="292110" y="1031544"/>
                  <a:pt x="258281" y="1037529"/>
                </a:cubicBezTo>
                <a:cubicBezTo>
                  <a:pt x="240889" y="1040608"/>
                  <a:pt x="222543" y="1038440"/>
                  <a:pt x="203242" y="1031023"/>
                </a:cubicBezTo>
                <a:cubicBezTo>
                  <a:pt x="183899" y="1023650"/>
                  <a:pt x="168784" y="1012981"/>
                  <a:pt x="157898" y="999015"/>
                </a:cubicBezTo>
                <a:cubicBezTo>
                  <a:pt x="136776" y="971951"/>
                  <a:pt x="111902" y="938360"/>
                  <a:pt x="83277" y="898242"/>
                </a:cubicBezTo>
                <a:cubicBezTo>
                  <a:pt x="82741" y="897521"/>
                  <a:pt x="81722" y="897372"/>
                  <a:pt x="81001" y="897908"/>
                </a:cubicBezTo>
                <a:cubicBezTo>
                  <a:pt x="80773" y="898079"/>
                  <a:pt x="80593" y="898306"/>
                  <a:pt x="80480" y="898567"/>
                </a:cubicBezTo>
                <a:lnTo>
                  <a:pt x="45609" y="988671"/>
                </a:lnTo>
                <a:cubicBezTo>
                  <a:pt x="42814" y="995785"/>
                  <a:pt x="46307" y="1003819"/>
                  <a:pt x="53416" y="1006627"/>
                </a:cubicBezTo>
                <a:cubicBezTo>
                  <a:pt x="99260" y="1024756"/>
                  <a:pt x="145407" y="1042734"/>
                  <a:pt x="191857" y="1060559"/>
                </a:cubicBezTo>
                <a:close/>
              </a:path>
            </a:pathLst>
          </a:custGeom>
          <a:solidFill>
            <a:schemeClr val="dk2"/>
          </a:solidFill>
          <a:ln w="648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318" name="Computer10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0E174F5-298A-837E-D185-08C46FD7E86B}"/>
              </a:ext>
            </a:extLst>
          </p:cNvPr>
          <p:cNvGrpSpPr>
            <a:grpSpLocks noChangeAspect="1"/>
          </p:cNvGrpSpPr>
          <p:nvPr/>
        </p:nvGrpSpPr>
        <p:grpSpPr>
          <a:xfrm>
            <a:off x="754061" y="5059111"/>
            <a:ext cx="160964" cy="150813"/>
            <a:chOff x="3894138" y="1706563"/>
            <a:chExt cx="176213" cy="165100"/>
          </a:xfrm>
          <a:solidFill>
            <a:schemeClr val="dk2"/>
          </a:solidFill>
        </p:grpSpPr>
        <p:sp>
          <p:nvSpPr>
            <p:cNvPr id="319" name="Freeform 88">
              <a:extLst>
                <a:ext uri="{FF2B5EF4-FFF2-40B4-BE49-F238E27FC236}">
                  <a16:creationId xmlns:a16="http://schemas.microsoft.com/office/drawing/2014/main" id="{C1E2E053-7C6B-92AF-D999-C48D73263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4138" y="1754188"/>
              <a:ext cx="7938" cy="6350"/>
            </a:xfrm>
            <a:custGeom>
              <a:avLst/>
              <a:gdLst>
                <a:gd name="T0" fmla="*/ 100 w 200"/>
                <a:gd name="T1" fmla="*/ 201 h 201"/>
                <a:gd name="T2" fmla="*/ 29 w 200"/>
                <a:gd name="T3" fmla="*/ 171 h 201"/>
                <a:gd name="T4" fmla="*/ 0 w 200"/>
                <a:gd name="T5" fmla="*/ 100 h 201"/>
                <a:gd name="T6" fmla="*/ 29 w 200"/>
                <a:gd name="T7" fmla="*/ 29 h 201"/>
                <a:gd name="T8" fmla="*/ 100 w 200"/>
                <a:gd name="T9" fmla="*/ 0 h 201"/>
                <a:gd name="T10" fmla="*/ 171 w 200"/>
                <a:gd name="T11" fmla="*/ 29 h 201"/>
                <a:gd name="T12" fmla="*/ 200 w 200"/>
                <a:gd name="T13" fmla="*/ 100 h 201"/>
                <a:gd name="T14" fmla="*/ 171 w 200"/>
                <a:gd name="T15" fmla="*/ 171 h 201"/>
                <a:gd name="T16" fmla="*/ 100 w 200"/>
                <a:gd name="T17" fmla="*/ 201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0" h="201">
                  <a:moveTo>
                    <a:pt x="100" y="201"/>
                  </a:moveTo>
                  <a:cubicBezTo>
                    <a:pt x="74" y="201"/>
                    <a:pt x="48" y="189"/>
                    <a:pt x="29" y="171"/>
                  </a:cubicBezTo>
                  <a:cubicBezTo>
                    <a:pt x="11" y="152"/>
                    <a:pt x="0" y="127"/>
                    <a:pt x="0" y="100"/>
                  </a:cubicBezTo>
                  <a:cubicBezTo>
                    <a:pt x="0" y="74"/>
                    <a:pt x="11" y="48"/>
                    <a:pt x="29" y="29"/>
                  </a:cubicBezTo>
                  <a:cubicBezTo>
                    <a:pt x="48" y="10"/>
                    <a:pt x="74" y="0"/>
                    <a:pt x="100" y="0"/>
                  </a:cubicBezTo>
                  <a:cubicBezTo>
                    <a:pt x="127" y="0"/>
                    <a:pt x="152" y="10"/>
                    <a:pt x="171" y="29"/>
                  </a:cubicBezTo>
                  <a:cubicBezTo>
                    <a:pt x="189" y="48"/>
                    <a:pt x="200" y="74"/>
                    <a:pt x="200" y="100"/>
                  </a:cubicBezTo>
                  <a:cubicBezTo>
                    <a:pt x="200" y="127"/>
                    <a:pt x="189" y="152"/>
                    <a:pt x="171" y="171"/>
                  </a:cubicBezTo>
                  <a:cubicBezTo>
                    <a:pt x="152" y="189"/>
                    <a:pt x="127" y="201"/>
                    <a:pt x="100" y="20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0" name="Freeform 89">
              <a:extLst>
                <a:ext uri="{FF2B5EF4-FFF2-40B4-BE49-F238E27FC236}">
                  <a16:creationId xmlns:a16="http://schemas.microsoft.com/office/drawing/2014/main" id="{0E44F4F7-EED5-3C64-2BE0-86A54C583A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4138" y="1706563"/>
              <a:ext cx="176213" cy="139700"/>
            </a:xfrm>
            <a:custGeom>
              <a:avLst/>
              <a:gdLst>
                <a:gd name="T0" fmla="*/ 4565 w 4844"/>
                <a:gd name="T1" fmla="*/ 3874 h 3874"/>
                <a:gd name="T2" fmla="*/ 280 w 4844"/>
                <a:gd name="T3" fmla="*/ 3874 h 3874"/>
                <a:gd name="T4" fmla="*/ 0 w 4844"/>
                <a:gd name="T5" fmla="*/ 3594 h 3874"/>
                <a:gd name="T6" fmla="*/ 0 w 4844"/>
                <a:gd name="T7" fmla="*/ 1726 h 3874"/>
                <a:gd name="T8" fmla="*/ 100 w 4844"/>
                <a:gd name="T9" fmla="*/ 1626 h 3874"/>
                <a:gd name="T10" fmla="*/ 200 w 4844"/>
                <a:gd name="T11" fmla="*/ 1726 h 3874"/>
                <a:gd name="T12" fmla="*/ 200 w 4844"/>
                <a:gd name="T13" fmla="*/ 3594 h 3874"/>
                <a:gd name="T14" fmla="*/ 280 w 4844"/>
                <a:gd name="T15" fmla="*/ 3674 h 3874"/>
                <a:gd name="T16" fmla="*/ 4565 w 4844"/>
                <a:gd name="T17" fmla="*/ 3674 h 3874"/>
                <a:gd name="T18" fmla="*/ 4644 w 4844"/>
                <a:gd name="T19" fmla="*/ 3594 h 3874"/>
                <a:gd name="T20" fmla="*/ 4644 w 4844"/>
                <a:gd name="T21" fmla="*/ 280 h 3874"/>
                <a:gd name="T22" fmla="*/ 4565 w 4844"/>
                <a:gd name="T23" fmla="*/ 200 h 3874"/>
                <a:gd name="T24" fmla="*/ 280 w 4844"/>
                <a:gd name="T25" fmla="*/ 200 h 3874"/>
                <a:gd name="T26" fmla="*/ 200 w 4844"/>
                <a:gd name="T27" fmla="*/ 280 h 3874"/>
                <a:gd name="T28" fmla="*/ 200 w 4844"/>
                <a:gd name="T29" fmla="*/ 1114 h 3874"/>
                <a:gd name="T30" fmla="*/ 100 w 4844"/>
                <a:gd name="T31" fmla="*/ 1213 h 3874"/>
                <a:gd name="T32" fmla="*/ 0 w 4844"/>
                <a:gd name="T33" fmla="*/ 1114 h 3874"/>
                <a:gd name="T34" fmla="*/ 0 w 4844"/>
                <a:gd name="T35" fmla="*/ 280 h 3874"/>
                <a:gd name="T36" fmla="*/ 280 w 4844"/>
                <a:gd name="T37" fmla="*/ 0 h 3874"/>
                <a:gd name="T38" fmla="*/ 4565 w 4844"/>
                <a:gd name="T39" fmla="*/ 0 h 3874"/>
                <a:gd name="T40" fmla="*/ 4844 w 4844"/>
                <a:gd name="T41" fmla="*/ 280 h 3874"/>
                <a:gd name="T42" fmla="*/ 4844 w 4844"/>
                <a:gd name="T43" fmla="*/ 3594 h 3874"/>
                <a:gd name="T44" fmla="*/ 4565 w 4844"/>
                <a:gd name="T45" fmla="*/ 3874 h 38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844" h="3874">
                  <a:moveTo>
                    <a:pt x="4565" y="3874"/>
                  </a:moveTo>
                  <a:lnTo>
                    <a:pt x="280" y="3874"/>
                  </a:lnTo>
                  <a:cubicBezTo>
                    <a:pt x="126" y="3874"/>
                    <a:pt x="0" y="3749"/>
                    <a:pt x="0" y="3594"/>
                  </a:cubicBezTo>
                  <a:lnTo>
                    <a:pt x="0" y="1726"/>
                  </a:lnTo>
                  <a:cubicBezTo>
                    <a:pt x="0" y="1671"/>
                    <a:pt x="45" y="1626"/>
                    <a:pt x="100" y="1626"/>
                  </a:cubicBezTo>
                  <a:cubicBezTo>
                    <a:pt x="155" y="1626"/>
                    <a:pt x="200" y="1671"/>
                    <a:pt x="200" y="1726"/>
                  </a:cubicBezTo>
                  <a:lnTo>
                    <a:pt x="200" y="3594"/>
                  </a:lnTo>
                  <a:cubicBezTo>
                    <a:pt x="200" y="3638"/>
                    <a:pt x="236" y="3674"/>
                    <a:pt x="280" y="3674"/>
                  </a:cubicBezTo>
                  <a:lnTo>
                    <a:pt x="4565" y="3674"/>
                  </a:lnTo>
                  <a:cubicBezTo>
                    <a:pt x="4609" y="3674"/>
                    <a:pt x="4644" y="3638"/>
                    <a:pt x="4644" y="3594"/>
                  </a:cubicBezTo>
                  <a:lnTo>
                    <a:pt x="4644" y="280"/>
                  </a:lnTo>
                  <a:cubicBezTo>
                    <a:pt x="4644" y="236"/>
                    <a:pt x="4609" y="200"/>
                    <a:pt x="4565" y="200"/>
                  </a:cubicBezTo>
                  <a:lnTo>
                    <a:pt x="280" y="200"/>
                  </a:lnTo>
                  <a:cubicBezTo>
                    <a:pt x="236" y="200"/>
                    <a:pt x="200" y="236"/>
                    <a:pt x="200" y="280"/>
                  </a:cubicBezTo>
                  <a:lnTo>
                    <a:pt x="200" y="1114"/>
                  </a:lnTo>
                  <a:cubicBezTo>
                    <a:pt x="200" y="1169"/>
                    <a:pt x="155" y="1213"/>
                    <a:pt x="100" y="1213"/>
                  </a:cubicBezTo>
                  <a:cubicBezTo>
                    <a:pt x="45" y="1213"/>
                    <a:pt x="0" y="1169"/>
                    <a:pt x="0" y="1114"/>
                  </a:cubicBezTo>
                  <a:lnTo>
                    <a:pt x="0" y="280"/>
                  </a:lnTo>
                  <a:cubicBezTo>
                    <a:pt x="0" y="126"/>
                    <a:pt x="126" y="0"/>
                    <a:pt x="280" y="0"/>
                  </a:cubicBezTo>
                  <a:lnTo>
                    <a:pt x="4565" y="0"/>
                  </a:lnTo>
                  <a:cubicBezTo>
                    <a:pt x="4719" y="0"/>
                    <a:pt x="4844" y="126"/>
                    <a:pt x="4844" y="280"/>
                  </a:cubicBezTo>
                  <a:lnTo>
                    <a:pt x="4844" y="3594"/>
                  </a:lnTo>
                  <a:cubicBezTo>
                    <a:pt x="4844" y="3749"/>
                    <a:pt x="4719" y="3874"/>
                    <a:pt x="4565" y="38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1" name="Freeform 90">
              <a:extLst>
                <a:ext uri="{FF2B5EF4-FFF2-40B4-BE49-F238E27FC236}">
                  <a16:creationId xmlns:a16="http://schemas.microsoft.com/office/drawing/2014/main" id="{3870C40E-8B18-9B3C-A644-6A4FA807F0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7313" y="1809750"/>
              <a:ext cx="171450" cy="6350"/>
            </a:xfrm>
            <a:custGeom>
              <a:avLst/>
              <a:gdLst>
                <a:gd name="T0" fmla="*/ 4617 w 4717"/>
                <a:gd name="T1" fmla="*/ 200 h 200"/>
                <a:gd name="T2" fmla="*/ 100 w 4717"/>
                <a:gd name="T3" fmla="*/ 200 h 200"/>
                <a:gd name="T4" fmla="*/ 0 w 4717"/>
                <a:gd name="T5" fmla="*/ 100 h 200"/>
                <a:gd name="T6" fmla="*/ 100 w 4717"/>
                <a:gd name="T7" fmla="*/ 0 h 200"/>
                <a:gd name="T8" fmla="*/ 4617 w 4717"/>
                <a:gd name="T9" fmla="*/ 0 h 200"/>
                <a:gd name="T10" fmla="*/ 4717 w 4717"/>
                <a:gd name="T11" fmla="*/ 100 h 200"/>
                <a:gd name="T12" fmla="*/ 4617 w 4717"/>
                <a:gd name="T13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17" h="200">
                  <a:moveTo>
                    <a:pt x="4617" y="200"/>
                  </a:moveTo>
                  <a:lnTo>
                    <a:pt x="100" y="200"/>
                  </a:lnTo>
                  <a:cubicBezTo>
                    <a:pt x="44" y="200"/>
                    <a:pt x="0" y="156"/>
                    <a:pt x="0" y="100"/>
                  </a:cubicBezTo>
                  <a:cubicBezTo>
                    <a:pt x="0" y="45"/>
                    <a:pt x="44" y="0"/>
                    <a:pt x="100" y="0"/>
                  </a:cubicBezTo>
                  <a:lnTo>
                    <a:pt x="4617" y="0"/>
                  </a:lnTo>
                  <a:cubicBezTo>
                    <a:pt x="4673" y="0"/>
                    <a:pt x="4717" y="45"/>
                    <a:pt x="4717" y="100"/>
                  </a:cubicBezTo>
                  <a:cubicBezTo>
                    <a:pt x="4717" y="156"/>
                    <a:pt x="4673" y="200"/>
                    <a:pt x="4617" y="2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2" name="Freeform 91">
              <a:extLst>
                <a:ext uri="{FF2B5EF4-FFF2-40B4-BE49-F238E27FC236}">
                  <a16:creationId xmlns:a16="http://schemas.microsoft.com/office/drawing/2014/main" id="{8AFFB464-BEE9-5AF5-7FDC-26C9A962F1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1925" y="1824038"/>
              <a:ext cx="22225" cy="7938"/>
            </a:xfrm>
            <a:custGeom>
              <a:avLst/>
              <a:gdLst>
                <a:gd name="T0" fmla="*/ 523 w 622"/>
                <a:gd name="T1" fmla="*/ 201 h 201"/>
                <a:gd name="T2" fmla="*/ 100 w 622"/>
                <a:gd name="T3" fmla="*/ 201 h 201"/>
                <a:gd name="T4" fmla="*/ 0 w 622"/>
                <a:gd name="T5" fmla="*/ 101 h 201"/>
                <a:gd name="T6" fmla="*/ 100 w 622"/>
                <a:gd name="T7" fmla="*/ 0 h 201"/>
                <a:gd name="T8" fmla="*/ 523 w 622"/>
                <a:gd name="T9" fmla="*/ 0 h 201"/>
                <a:gd name="T10" fmla="*/ 622 w 622"/>
                <a:gd name="T11" fmla="*/ 101 h 201"/>
                <a:gd name="T12" fmla="*/ 523 w 622"/>
                <a:gd name="T13" fmla="*/ 201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2" h="201">
                  <a:moveTo>
                    <a:pt x="523" y="201"/>
                  </a:moveTo>
                  <a:lnTo>
                    <a:pt x="100" y="201"/>
                  </a:lnTo>
                  <a:cubicBezTo>
                    <a:pt x="45" y="201"/>
                    <a:pt x="0" y="156"/>
                    <a:pt x="0" y="101"/>
                  </a:cubicBezTo>
                  <a:cubicBezTo>
                    <a:pt x="0" y="45"/>
                    <a:pt x="45" y="0"/>
                    <a:pt x="100" y="0"/>
                  </a:cubicBezTo>
                  <a:lnTo>
                    <a:pt x="523" y="0"/>
                  </a:lnTo>
                  <a:cubicBezTo>
                    <a:pt x="578" y="0"/>
                    <a:pt x="622" y="45"/>
                    <a:pt x="622" y="101"/>
                  </a:cubicBezTo>
                  <a:cubicBezTo>
                    <a:pt x="622" y="156"/>
                    <a:pt x="578" y="201"/>
                    <a:pt x="523" y="20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3" name="Rectangle 92">
              <a:extLst>
                <a:ext uri="{FF2B5EF4-FFF2-40B4-BE49-F238E27FC236}">
                  <a16:creationId xmlns:a16="http://schemas.microsoft.com/office/drawing/2014/main" id="{57074F15-11AC-8763-62B5-56CD0511A2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7638" y="1846263"/>
              <a:ext cx="7938" cy="127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4" name="Rectangle 93">
              <a:extLst>
                <a:ext uri="{FF2B5EF4-FFF2-40B4-BE49-F238E27FC236}">
                  <a16:creationId xmlns:a16="http://schemas.microsoft.com/office/drawing/2014/main" id="{2E5877F3-EC18-7B09-35ED-AD32F9CB56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8913" y="1846263"/>
              <a:ext cx="7938" cy="127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5" name="Rectangle 94">
              <a:extLst>
                <a:ext uri="{FF2B5EF4-FFF2-40B4-BE49-F238E27FC236}">
                  <a16:creationId xmlns:a16="http://schemas.microsoft.com/office/drawing/2014/main" id="{63D7337E-AC5C-084E-2B37-DC856B8953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938" y="1865313"/>
              <a:ext cx="74613" cy="635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326" name="Asset_alloc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7619F2F-1882-A0FA-C919-FFF40AC1831B}"/>
              </a:ext>
            </a:extLst>
          </p:cNvPr>
          <p:cNvGrpSpPr>
            <a:grpSpLocks noChangeAspect="1"/>
          </p:cNvGrpSpPr>
          <p:nvPr/>
        </p:nvGrpSpPr>
        <p:grpSpPr>
          <a:xfrm>
            <a:off x="740296" y="4815597"/>
            <a:ext cx="196141" cy="196141"/>
            <a:chOff x="4729163" y="1241426"/>
            <a:chExt cx="419101" cy="419100"/>
          </a:xfrm>
          <a:solidFill>
            <a:schemeClr val="dk2"/>
          </a:solidFill>
        </p:grpSpPr>
        <p:sp>
          <p:nvSpPr>
            <p:cNvPr id="327" name="Freeform 500">
              <a:extLst>
                <a:ext uri="{FF2B5EF4-FFF2-40B4-BE49-F238E27FC236}">
                  <a16:creationId xmlns:a16="http://schemas.microsoft.com/office/drawing/2014/main" id="{265F2D95-7574-324F-F314-5811C7E4B6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33951" y="1301751"/>
              <a:ext cx="214313" cy="161925"/>
            </a:xfrm>
            <a:custGeom>
              <a:avLst/>
              <a:gdLst>
                <a:gd name="T0" fmla="*/ 28 w 282"/>
                <a:gd name="T1" fmla="*/ 195 h 213"/>
                <a:gd name="T2" fmla="*/ 265 w 282"/>
                <a:gd name="T3" fmla="*/ 196 h 213"/>
                <a:gd name="T4" fmla="*/ 265 w 282"/>
                <a:gd name="T5" fmla="*/ 196 h 213"/>
                <a:gd name="T6" fmla="*/ 199 w 282"/>
                <a:gd name="T7" fmla="*/ 24 h 213"/>
                <a:gd name="T8" fmla="*/ 28 w 282"/>
                <a:gd name="T9" fmla="*/ 195 h 213"/>
                <a:gd name="T10" fmla="*/ 281 w 282"/>
                <a:gd name="T11" fmla="*/ 213 h 213"/>
                <a:gd name="T12" fmla="*/ 0 w 282"/>
                <a:gd name="T13" fmla="*/ 212 h 213"/>
                <a:gd name="T14" fmla="*/ 0 w 282"/>
                <a:gd name="T15" fmla="*/ 200 h 213"/>
                <a:gd name="T16" fmla="*/ 2 w 282"/>
                <a:gd name="T17" fmla="*/ 197 h 213"/>
                <a:gd name="T18" fmla="*/ 200 w 282"/>
                <a:gd name="T19" fmla="*/ 0 h 213"/>
                <a:gd name="T20" fmla="*/ 206 w 282"/>
                <a:gd name="T21" fmla="*/ 6 h 213"/>
                <a:gd name="T22" fmla="*/ 282 w 282"/>
                <a:gd name="T23" fmla="*/ 196 h 213"/>
                <a:gd name="T24" fmla="*/ 282 w 282"/>
                <a:gd name="T25" fmla="*/ 202 h 213"/>
                <a:gd name="T26" fmla="*/ 281 w 282"/>
                <a:gd name="T27" fmla="*/ 21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2" h="213">
                  <a:moveTo>
                    <a:pt x="28" y="195"/>
                  </a:moveTo>
                  <a:lnTo>
                    <a:pt x="265" y="196"/>
                  </a:lnTo>
                  <a:lnTo>
                    <a:pt x="265" y="196"/>
                  </a:lnTo>
                  <a:cubicBezTo>
                    <a:pt x="265" y="133"/>
                    <a:pt x="242" y="72"/>
                    <a:pt x="199" y="24"/>
                  </a:cubicBezTo>
                  <a:lnTo>
                    <a:pt x="28" y="195"/>
                  </a:lnTo>
                  <a:close/>
                  <a:moveTo>
                    <a:pt x="281" y="213"/>
                  </a:moveTo>
                  <a:lnTo>
                    <a:pt x="0" y="212"/>
                  </a:lnTo>
                  <a:lnTo>
                    <a:pt x="0" y="200"/>
                  </a:lnTo>
                  <a:lnTo>
                    <a:pt x="2" y="197"/>
                  </a:lnTo>
                  <a:lnTo>
                    <a:pt x="200" y="0"/>
                  </a:lnTo>
                  <a:lnTo>
                    <a:pt x="206" y="6"/>
                  </a:lnTo>
                  <a:cubicBezTo>
                    <a:pt x="255" y="58"/>
                    <a:pt x="282" y="125"/>
                    <a:pt x="282" y="196"/>
                  </a:cubicBezTo>
                  <a:cubicBezTo>
                    <a:pt x="282" y="198"/>
                    <a:pt x="282" y="200"/>
                    <a:pt x="282" y="202"/>
                  </a:cubicBezTo>
                  <a:lnTo>
                    <a:pt x="281" y="213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8" name="Rectangle 501">
              <a:extLst>
                <a:ext uri="{FF2B5EF4-FFF2-40B4-BE49-F238E27FC236}">
                  <a16:creationId xmlns:a16="http://schemas.microsoft.com/office/drawing/2014/main" id="{2D4FCD5E-A124-3A9D-3952-4AF8072B5B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26026" y="1363664"/>
              <a:ext cx="12700" cy="936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9" name="Rectangle 502">
              <a:extLst>
                <a:ext uri="{FF2B5EF4-FFF2-40B4-BE49-F238E27FC236}">
                  <a16:creationId xmlns:a16="http://schemas.microsoft.com/office/drawing/2014/main" id="{979C40CA-E679-3B40-D374-2D6E78E30A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9513" y="1401764"/>
              <a:ext cx="12700" cy="555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0" name="Rectangle 503">
              <a:extLst>
                <a:ext uri="{FF2B5EF4-FFF2-40B4-BE49-F238E27FC236}">
                  <a16:creationId xmlns:a16="http://schemas.microsoft.com/office/drawing/2014/main" id="{271C7F07-92F3-0CDB-9CDE-4E541D4ADF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0638" y="1336676"/>
              <a:ext cx="12700" cy="12065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1" name="Rectangle 504">
              <a:extLst>
                <a:ext uri="{FF2B5EF4-FFF2-40B4-BE49-F238E27FC236}">
                  <a16:creationId xmlns:a16="http://schemas.microsoft.com/office/drawing/2014/main" id="{744FC05E-109C-EB5A-4F4B-70157FD9BB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64126" y="1327151"/>
              <a:ext cx="12700" cy="13017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2" name="Freeform 505">
              <a:extLst>
                <a:ext uri="{FF2B5EF4-FFF2-40B4-BE49-F238E27FC236}">
                  <a16:creationId xmlns:a16="http://schemas.microsoft.com/office/drawing/2014/main" id="{BB2441A6-33A1-416D-633C-4C3433A2BC8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9163" y="1241426"/>
              <a:ext cx="414338" cy="419100"/>
            </a:xfrm>
            <a:custGeom>
              <a:avLst/>
              <a:gdLst>
                <a:gd name="T0" fmla="*/ 275 w 543"/>
                <a:gd name="T1" fmla="*/ 550 h 550"/>
                <a:gd name="T2" fmla="*/ 0 w 543"/>
                <a:gd name="T3" fmla="*/ 275 h 550"/>
                <a:gd name="T4" fmla="*/ 275 w 543"/>
                <a:gd name="T5" fmla="*/ 0 h 550"/>
                <a:gd name="T6" fmla="*/ 424 w 543"/>
                <a:gd name="T7" fmla="*/ 45 h 550"/>
                <a:gd name="T8" fmla="*/ 432 w 543"/>
                <a:gd name="T9" fmla="*/ 50 h 550"/>
                <a:gd name="T10" fmla="*/ 378 w 543"/>
                <a:gd name="T11" fmla="*/ 104 h 550"/>
                <a:gd name="T12" fmla="*/ 366 w 543"/>
                <a:gd name="T13" fmla="*/ 92 h 550"/>
                <a:gd name="T14" fmla="*/ 406 w 543"/>
                <a:gd name="T15" fmla="*/ 53 h 550"/>
                <a:gd name="T16" fmla="*/ 275 w 543"/>
                <a:gd name="T17" fmla="*/ 17 h 550"/>
                <a:gd name="T18" fmla="*/ 17 w 543"/>
                <a:gd name="T19" fmla="*/ 275 h 550"/>
                <a:gd name="T20" fmla="*/ 275 w 543"/>
                <a:gd name="T21" fmla="*/ 534 h 550"/>
                <a:gd name="T22" fmla="*/ 521 w 543"/>
                <a:gd name="T23" fmla="*/ 351 h 550"/>
                <a:gd name="T24" fmla="*/ 468 w 543"/>
                <a:gd name="T25" fmla="*/ 351 h 550"/>
                <a:gd name="T26" fmla="*/ 468 w 543"/>
                <a:gd name="T27" fmla="*/ 335 h 550"/>
                <a:gd name="T28" fmla="*/ 543 w 543"/>
                <a:gd name="T29" fmla="*/ 335 h 550"/>
                <a:gd name="T30" fmla="*/ 540 w 543"/>
                <a:gd name="T31" fmla="*/ 345 h 550"/>
                <a:gd name="T32" fmla="*/ 275 w 543"/>
                <a:gd name="T33" fmla="*/ 55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43" h="550">
                  <a:moveTo>
                    <a:pt x="275" y="550"/>
                  </a:moveTo>
                  <a:cubicBezTo>
                    <a:pt x="123" y="550"/>
                    <a:pt x="0" y="427"/>
                    <a:pt x="0" y="275"/>
                  </a:cubicBezTo>
                  <a:cubicBezTo>
                    <a:pt x="0" y="124"/>
                    <a:pt x="123" y="0"/>
                    <a:pt x="275" y="0"/>
                  </a:cubicBezTo>
                  <a:cubicBezTo>
                    <a:pt x="330" y="0"/>
                    <a:pt x="380" y="15"/>
                    <a:pt x="424" y="45"/>
                  </a:cubicBezTo>
                  <a:lnTo>
                    <a:pt x="432" y="50"/>
                  </a:lnTo>
                  <a:lnTo>
                    <a:pt x="378" y="104"/>
                  </a:lnTo>
                  <a:lnTo>
                    <a:pt x="366" y="92"/>
                  </a:lnTo>
                  <a:lnTo>
                    <a:pt x="406" y="53"/>
                  </a:lnTo>
                  <a:cubicBezTo>
                    <a:pt x="367" y="29"/>
                    <a:pt x="323" y="17"/>
                    <a:pt x="275" y="17"/>
                  </a:cubicBezTo>
                  <a:cubicBezTo>
                    <a:pt x="133" y="17"/>
                    <a:pt x="17" y="133"/>
                    <a:pt x="17" y="275"/>
                  </a:cubicBezTo>
                  <a:cubicBezTo>
                    <a:pt x="17" y="418"/>
                    <a:pt x="133" y="534"/>
                    <a:pt x="275" y="534"/>
                  </a:cubicBezTo>
                  <a:cubicBezTo>
                    <a:pt x="388" y="534"/>
                    <a:pt x="488" y="459"/>
                    <a:pt x="521" y="351"/>
                  </a:cubicBezTo>
                  <a:lnTo>
                    <a:pt x="468" y="351"/>
                  </a:lnTo>
                  <a:lnTo>
                    <a:pt x="468" y="335"/>
                  </a:lnTo>
                  <a:lnTo>
                    <a:pt x="543" y="335"/>
                  </a:lnTo>
                  <a:lnTo>
                    <a:pt x="540" y="345"/>
                  </a:lnTo>
                  <a:cubicBezTo>
                    <a:pt x="509" y="466"/>
                    <a:pt x="400" y="550"/>
                    <a:pt x="275" y="55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3" name="Freeform 506">
              <a:extLst>
                <a:ext uri="{FF2B5EF4-FFF2-40B4-BE49-F238E27FC236}">
                  <a16:creationId xmlns:a16="http://schemas.microsoft.com/office/drawing/2014/main" id="{0B958533-D6E5-D7FB-0311-B961A6E9694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4888" y="1397001"/>
              <a:ext cx="77788" cy="122238"/>
            </a:xfrm>
            <a:custGeom>
              <a:avLst/>
              <a:gdLst>
                <a:gd name="T0" fmla="*/ 51 w 103"/>
                <a:gd name="T1" fmla="*/ 161 h 161"/>
                <a:gd name="T2" fmla="*/ 0 w 103"/>
                <a:gd name="T3" fmla="*/ 116 h 161"/>
                <a:gd name="T4" fmla="*/ 16 w 103"/>
                <a:gd name="T5" fmla="*/ 116 h 161"/>
                <a:gd name="T6" fmla="*/ 51 w 103"/>
                <a:gd name="T7" fmla="*/ 144 h 161"/>
                <a:gd name="T8" fmla="*/ 86 w 103"/>
                <a:gd name="T9" fmla="*/ 116 h 161"/>
                <a:gd name="T10" fmla="*/ 51 w 103"/>
                <a:gd name="T11" fmla="*/ 88 h 161"/>
                <a:gd name="T12" fmla="*/ 0 w 103"/>
                <a:gd name="T13" fmla="*/ 44 h 161"/>
                <a:gd name="T14" fmla="*/ 51 w 103"/>
                <a:gd name="T15" fmla="*/ 0 h 161"/>
                <a:gd name="T16" fmla="*/ 103 w 103"/>
                <a:gd name="T17" fmla="*/ 44 h 161"/>
                <a:gd name="T18" fmla="*/ 86 w 103"/>
                <a:gd name="T19" fmla="*/ 44 h 161"/>
                <a:gd name="T20" fmla="*/ 51 w 103"/>
                <a:gd name="T21" fmla="*/ 16 h 161"/>
                <a:gd name="T22" fmla="*/ 16 w 103"/>
                <a:gd name="T23" fmla="*/ 44 h 161"/>
                <a:gd name="T24" fmla="*/ 51 w 103"/>
                <a:gd name="T25" fmla="*/ 72 h 161"/>
                <a:gd name="T26" fmla="*/ 103 w 103"/>
                <a:gd name="T27" fmla="*/ 116 h 161"/>
                <a:gd name="T28" fmla="*/ 51 w 103"/>
                <a:gd name="T29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3" h="161">
                  <a:moveTo>
                    <a:pt x="51" y="161"/>
                  </a:moveTo>
                  <a:cubicBezTo>
                    <a:pt x="23" y="161"/>
                    <a:pt x="0" y="141"/>
                    <a:pt x="0" y="116"/>
                  </a:cubicBezTo>
                  <a:lnTo>
                    <a:pt x="16" y="116"/>
                  </a:lnTo>
                  <a:cubicBezTo>
                    <a:pt x="16" y="131"/>
                    <a:pt x="32" y="144"/>
                    <a:pt x="51" y="144"/>
                  </a:cubicBezTo>
                  <a:cubicBezTo>
                    <a:pt x="70" y="144"/>
                    <a:pt x="86" y="131"/>
                    <a:pt x="86" y="116"/>
                  </a:cubicBezTo>
                  <a:cubicBezTo>
                    <a:pt x="86" y="99"/>
                    <a:pt x="72" y="88"/>
                    <a:pt x="51" y="88"/>
                  </a:cubicBezTo>
                  <a:cubicBezTo>
                    <a:pt x="15" y="88"/>
                    <a:pt x="0" y="66"/>
                    <a:pt x="0" y="44"/>
                  </a:cubicBezTo>
                  <a:cubicBezTo>
                    <a:pt x="0" y="19"/>
                    <a:pt x="23" y="0"/>
                    <a:pt x="51" y="0"/>
                  </a:cubicBezTo>
                  <a:cubicBezTo>
                    <a:pt x="79" y="0"/>
                    <a:pt x="103" y="19"/>
                    <a:pt x="103" y="44"/>
                  </a:cubicBezTo>
                  <a:lnTo>
                    <a:pt x="86" y="44"/>
                  </a:lnTo>
                  <a:cubicBezTo>
                    <a:pt x="86" y="29"/>
                    <a:pt x="70" y="16"/>
                    <a:pt x="51" y="16"/>
                  </a:cubicBezTo>
                  <a:cubicBezTo>
                    <a:pt x="32" y="16"/>
                    <a:pt x="16" y="29"/>
                    <a:pt x="16" y="44"/>
                  </a:cubicBezTo>
                  <a:cubicBezTo>
                    <a:pt x="16" y="61"/>
                    <a:pt x="29" y="72"/>
                    <a:pt x="51" y="72"/>
                  </a:cubicBezTo>
                  <a:cubicBezTo>
                    <a:pt x="81" y="72"/>
                    <a:pt x="103" y="90"/>
                    <a:pt x="103" y="116"/>
                  </a:cubicBezTo>
                  <a:cubicBezTo>
                    <a:pt x="103" y="141"/>
                    <a:pt x="79" y="161"/>
                    <a:pt x="51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4" name="Rectangle 507">
              <a:extLst>
                <a:ext uri="{FF2B5EF4-FFF2-40B4-BE49-F238E27FC236}">
                  <a16:creationId xmlns:a16="http://schemas.microsoft.com/office/drawing/2014/main" id="{EB74DD36-759E-1EB3-F30C-BA00621E5A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46638" y="1377951"/>
              <a:ext cx="12700" cy="301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5" name="Rectangle 508">
              <a:extLst>
                <a:ext uri="{FF2B5EF4-FFF2-40B4-BE49-F238E27FC236}">
                  <a16:creationId xmlns:a16="http://schemas.microsoft.com/office/drawing/2014/main" id="{79727037-A2E6-68B6-C15B-1F9D06A1CA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46638" y="1506539"/>
              <a:ext cx="12700" cy="301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36" name="Question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EDC60F8-6C7B-9141-305C-B16C680777FB}"/>
              </a:ext>
            </a:extLst>
          </p:cNvPr>
          <p:cNvGrpSpPr>
            <a:grpSpLocks noChangeAspect="1"/>
          </p:cNvGrpSpPr>
          <p:nvPr/>
        </p:nvGrpSpPr>
        <p:grpSpPr>
          <a:xfrm>
            <a:off x="746638" y="5276057"/>
            <a:ext cx="199845" cy="177174"/>
            <a:chOff x="3236371" y="5545992"/>
            <a:chExt cx="637425" cy="565112"/>
          </a:xfrm>
          <a:solidFill>
            <a:schemeClr val="dk2"/>
          </a:solidFill>
        </p:grpSpPr>
        <p:sp>
          <p:nvSpPr>
            <p:cNvPr id="337" name="Forme libre : forme 290">
              <a:extLst>
                <a:ext uri="{FF2B5EF4-FFF2-40B4-BE49-F238E27FC236}">
                  <a16:creationId xmlns:a16="http://schemas.microsoft.com/office/drawing/2014/main" id="{29B964D2-6EF0-91C0-1815-932E8835ECD4}"/>
                </a:ext>
              </a:extLst>
            </p:cNvPr>
            <p:cNvSpPr/>
            <p:nvPr/>
          </p:nvSpPr>
          <p:spPr>
            <a:xfrm>
              <a:off x="3236371" y="5545992"/>
              <a:ext cx="637425" cy="565112"/>
            </a:xfrm>
            <a:custGeom>
              <a:avLst/>
              <a:gdLst>
                <a:gd name="connsiteX0" fmla="*/ 345495 w 637425"/>
                <a:gd name="connsiteY0" fmla="*/ 0 h 565112"/>
                <a:gd name="connsiteX1" fmla="*/ 379161 w 637425"/>
                <a:gd name="connsiteY1" fmla="*/ 23863 h 565112"/>
                <a:gd name="connsiteX2" fmla="*/ 383071 w 637425"/>
                <a:gd name="connsiteY2" fmla="*/ 61118 h 565112"/>
                <a:gd name="connsiteX3" fmla="*/ 383178 w 637425"/>
                <a:gd name="connsiteY3" fmla="*/ 167337 h 565112"/>
                <a:gd name="connsiteX4" fmla="*/ 384490 w 637425"/>
                <a:gd name="connsiteY4" fmla="*/ 168623 h 565112"/>
                <a:gd name="connsiteX5" fmla="*/ 574593 w 637425"/>
                <a:gd name="connsiteY5" fmla="*/ 168677 h 565112"/>
                <a:gd name="connsiteX6" fmla="*/ 612732 w 637425"/>
                <a:gd name="connsiteY6" fmla="*/ 172399 h 565112"/>
                <a:gd name="connsiteX7" fmla="*/ 637425 w 637425"/>
                <a:gd name="connsiteY7" fmla="*/ 206815 h 565112"/>
                <a:gd name="connsiteX8" fmla="*/ 637425 w 637425"/>
                <a:gd name="connsiteY8" fmla="*/ 432297 h 565112"/>
                <a:gd name="connsiteX9" fmla="*/ 607589 w 637425"/>
                <a:gd name="connsiteY9" fmla="*/ 467811 h 565112"/>
                <a:gd name="connsiteX10" fmla="*/ 581262 w 637425"/>
                <a:gd name="connsiteY10" fmla="*/ 469579 h 565112"/>
                <a:gd name="connsiteX11" fmla="*/ 554720 w 637425"/>
                <a:gd name="connsiteY11" fmla="*/ 469713 h 565112"/>
                <a:gd name="connsiteX12" fmla="*/ 553381 w 637425"/>
                <a:gd name="connsiteY12" fmla="*/ 471078 h 565112"/>
                <a:gd name="connsiteX13" fmla="*/ 553301 w 637425"/>
                <a:gd name="connsiteY13" fmla="*/ 537713 h 565112"/>
                <a:gd name="connsiteX14" fmla="*/ 535008 w 637425"/>
                <a:gd name="connsiteY14" fmla="*/ 565112 h 565112"/>
                <a:gd name="connsiteX15" fmla="*/ 529143 w 637425"/>
                <a:gd name="connsiteY15" fmla="*/ 565112 h 565112"/>
                <a:gd name="connsiteX16" fmla="*/ 516877 w 637425"/>
                <a:gd name="connsiteY16" fmla="*/ 558470 h 565112"/>
                <a:gd name="connsiteX17" fmla="*/ 438806 w 637425"/>
                <a:gd name="connsiteY17" fmla="*/ 471373 h 565112"/>
                <a:gd name="connsiteX18" fmla="*/ 434842 w 637425"/>
                <a:gd name="connsiteY18" fmla="*/ 469605 h 565112"/>
                <a:gd name="connsiteX19" fmla="*/ 305991 w 637425"/>
                <a:gd name="connsiteY19" fmla="*/ 469579 h 565112"/>
                <a:gd name="connsiteX20" fmla="*/ 280842 w 637425"/>
                <a:gd name="connsiteY20" fmla="*/ 467516 h 565112"/>
                <a:gd name="connsiteX21" fmla="*/ 251756 w 637425"/>
                <a:gd name="connsiteY21" fmla="*/ 427235 h 565112"/>
                <a:gd name="connsiteX22" fmla="*/ 251756 w 637425"/>
                <a:gd name="connsiteY22" fmla="*/ 302134 h 565112"/>
                <a:gd name="connsiteX23" fmla="*/ 250738 w 637425"/>
                <a:gd name="connsiteY23" fmla="*/ 301090 h 565112"/>
                <a:gd name="connsiteX24" fmla="*/ 202235 w 637425"/>
                <a:gd name="connsiteY24" fmla="*/ 301090 h 565112"/>
                <a:gd name="connsiteX25" fmla="*/ 196798 w 637425"/>
                <a:gd name="connsiteY25" fmla="*/ 303607 h 565112"/>
                <a:gd name="connsiteX26" fmla="*/ 121834 w 637425"/>
                <a:gd name="connsiteY26" fmla="*/ 390275 h 565112"/>
                <a:gd name="connsiteX27" fmla="*/ 89561 w 637425"/>
                <a:gd name="connsiteY27" fmla="*/ 389526 h 565112"/>
                <a:gd name="connsiteX28" fmla="*/ 84633 w 637425"/>
                <a:gd name="connsiteY28" fmla="*/ 371608 h 565112"/>
                <a:gd name="connsiteX29" fmla="*/ 84526 w 637425"/>
                <a:gd name="connsiteY29" fmla="*/ 302670 h 565112"/>
                <a:gd name="connsiteX30" fmla="*/ 83267 w 637425"/>
                <a:gd name="connsiteY30" fmla="*/ 301357 h 565112"/>
                <a:gd name="connsiteX31" fmla="*/ 27586 w 637425"/>
                <a:gd name="connsiteY31" fmla="*/ 298385 h 565112"/>
                <a:gd name="connsiteX32" fmla="*/ 0 w 637425"/>
                <a:gd name="connsiteY32" fmla="*/ 263862 h 565112"/>
                <a:gd name="connsiteX33" fmla="*/ 0 w 637425"/>
                <a:gd name="connsiteY33" fmla="*/ 37737 h 565112"/>
                <a:gd name="connsiteX34" fmla="*/ 37844 w 637425"/>
                <a:gd name="connsiteY34" fmla="*/ 0 h 565112"/>
                <a:gd name="connsiteX35" fmla="*/ 345495 w 637425"/>
                <a:gd name="connsiteY35" fmla="*/ 0 h 565112"/>
                <a:gd name="connsiteX36" fmla="*/ 102336 w 637425"/>
                <a:gd name="connsiteY36" fmla="*/ 287243 h 565112"/>
                <a:gd name="connsiteX37" fmla="*/ 103381 w 637425"/>
                <a:gd name="connsiteY37" fmla="*/ 291341 h 565112"/>
                <a:gd name="connsiteX38" fmla="*/ 103381 w 637425"/>
                <a:gd name="connsiteY38" fmla="*/ 376295 h 565112"/>
                <a:gd name="connsiteX39" fmla="*/ 105638 w 637425"/>
                <a:gd name="connsiteY39" fmla="*/ 378547 h 565112"/>
                <a:gd name="connsiteX40" fmla="*/ 107050 w 637425"/>
                <a:gd name="connsiteY40" fmla="*/ 378063 h 565112"/>
                <a:gd name="connsiteX41" fmla="*/ 111094 w 637425"/>
                <a:gd name="connsiteY41" fmla="*/ 374233 h 565112"/>
                <a:gd name="connsiteX42" fmla="*/ 181827 w 637425"/>
                <a:gd name="connsiteY42" fmla="*/ 292278 h 565112"/>
                <a:gd name="connsiteX43" fmla="*/ 188790 w 637425"/>
                <a:gd name="connsiteY43" fmla="*/ 285288 h 565112"/>
                <a:gd name="connsiteX44" fmla="*/ 197736 w 637425"/>
                <a:gd name="connsiteY44" fmla="*/ 282502 h 565112"/>
                <a:gd name="connsiteX45" fmla="*/ 332264 w 637425"/>
                <a:gd name="connsiteY45" fmla="*/ 281913 h 565112"/>
                <a:gd name="connsiteX46" fmla="*/ 353021 w 637425"/>
                <a:gd name="connsiteY46" fmla="*/ 279235 h 565112"/>
                <a:gd name="connsiteX47" fmla="*/ 364243 w 637425"/>
                <a:gd name="connsiteY47" fmla="*/ 258425 h 565112"/>
                <a:gd name="connsiteX48" fmla="*/ 364243 w 637425"/>
                <a:gd name="connsiteY48" fmla="*/ 46468 h 565112"/>
                <a:gd name="connsiteX49" fmla="*/ 362689 w 637425"/>
                <a:gd name="connsiteY49" fmla="*/ 32728 h 565112"/>
                <a:gd name="connsiteX50" fmla="*/ 353262 w 637425"/>
                <a:gd name="connsiteY50" fmla="*/ 21614 h 565112"/>
                <a:gd name="connsiteX51" fmla="*/ 334407 w 637425"/>
                <a:gd name="connsiteY51" fmla="*/ 18775 h 565112"/>
                <a:gd name="connsiteX52" fmla="*/ 50780 w 637425"/>
                <a:gd name="connsiteY52" fmla="*/ 18775 h 565112"/>
                <a:gd name="connsiteX53" fmla="*/ 30077 w 637425"/>
                <a:gd name="connsiteY53" fmla="*/ 21747 h 565112"/>
                <a:gd name="connsiteX54" fmla="*/ 18828 w 637425"/>
                <a:gd name="connsiteY54" fmla="*/ 42236 h 565112"/>
                <a:gd name="connsiteX55" fmla="*/ 18721 w 637425"/>
                <a:gd name="connsiteY55" fmla="*/ 257836 h 565112"/>
                <a:gd name="connsiteX56" fmla="*/ 28711 w 637425"/>
                <a:gd name="connsiteY56" fmla="*/ 278324 h 565112"/>
                <a:gd name="connsiteX57" fmla="*/ 47566 w 637425"/>
                <a:gd name="connsiteY57" fmla="*/ 282395 h 565112"/>
                <a:gd name="connsiteX58" fmla="*/ 93096 w 637425"/>
                <a:gd name="connsiteY58" fmla="*/ 282288 h 565112"/>
                <a:gd name="connsiteX59" fmla="*/ 102336 w 637425"/>
                <a:gd name="connsiteY59" fmla="*/ 287243 h 565112"/>
                <a:gd name="connsiteX60" fmla="*/ 534419 w 637425"/>
                <a:gd name="connsiteY60" fmla="*/ 464972 h 565112"/>
                <a:gd name="connsiteX61" fmla="*/ 542990 w 637425"/>
                <a:gd name="connsiteY61" fmla="*/ 450965 h 565112"/>
                <a:gd name="connsiteX62" fmla="*/ 588922 w 637425"/>
                <a:gd name="connsiteY62" fmla="*/ 450911 h 565112"/>
                <a:gd name="connsiteX63" fmla="*/ 608875 w 637425"/>
                <a:gd name="connsiteY63" fmla="*/ 447028 h 565112"/>
                <a:gd name="connsiteX64" fmla="*/ 618704 w 637425"/>
                <a:gd name="connsiteY64" fmla="*/ 426512 h 565112"/>
                <a:gd name="connsiteX65" fmla="*/ 618650 w 637425"/>
                <a:gd name="connsiteY65" fmla="*/ 218894 h 565112"/>
                <a:gd name="connsiteX66" fmla="*/ 615276 w 637425"/>
                <a:gd name="connsiteY66" fmla="*/ 198271 h 565112"/>
                <a:gd name="connsiteX67" fmla="*/ 594573 w 637425"/>
                <a:gd name="connsiteY67" fmla="*/ 187451 h 565112"/>
                <a:gd name="connsiteX68" fmla="*/ 384946 w 637425"/>
                <a:gd name="connsiteY68" fmla="*/ 187451 h 565112"/>
                <a:gd name="connsiteX69" fmla="*/ 384062 w 637425"/>
                <a:gd name="connsiteY69" fmla="*/ 188362 h 565112"/>
                <a:gd name="connsiteX70" fmla="*/ 384169 w 637425"/>
                <a:gd name="connsiteY70" fmla="*/ 259791 h 565112"/>
                <a:gd name="connsiteX71" fmla="*/ 338746 w 637425"/>
                <a:gd name="connsiteY71" fmla="*/ 302081 h 565112"/>
                <a:gd name="connsiteX72" fmla="*/ 271950 w 637425"/>
                <a:gd name="connsiteY72" fmla="*/ 302134 h 565112"/>
                <a:gd name="connsiteX73" fmla="*/ 270611 w 637425"/>
                <a:gd name="connsiteY73" fmla="*/ 303500 h 565112"/>
                <a:gd name="connsiteX74" fmla="*/ 270450 w 637425"/>
                <a:gd name="connsiteY74" fmla="*/ 424745 h 565112"/>
                <a:gd name="connsiteX75" fmla="*/ 283413 w 637425"/>
                <a:gd name="connsiteY75" fmla="*/ 448447 h 565112"/>
                <a:gd name="connsiteX76" fmla="*/ 302348 w 637425"/>
                <a:gd name="connsiteY76" fmla="*/ 450884 h 565112"/>
                <a:gd name="connsiteX77" fmla="*/ 441350 w 637425"/>
                <a:gd name="connsiteY77" fmla="*/ 450884 h 565112"/>
                <a:gd name="connsiteX78" fmla="*/ 448474 w 637425"/>
                <a:gd name="connsiteY78" fmla="*/ 454098 h 565112"/>
                <a:gd name="connsiteX79" fmla="*/ 528259 w 637425"/>
                <a:gd name="connsiteY79" fmla="*/ 543177 h 565112"/>
                <a:gd name="connsiteX80" fmla="*/ 534473 w 637425"/>
                <a:gd name="connsiteY80" fmla="*/ 540793 h 565112"/>
                <a:gd name="connsiteX81" fmla="*/ 534419 w 637425"/>
                <a:gd name="connsiteY81" fmla="*/ 464972 h 565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637425" h="565112">
                  <a:moveTo>
                    <a:pt x="345495" y="0"/>
                  </a:moveTo>
                  <a:cubicBezTo>
                    <a:pt x="362404" y="2785"/>
                    <a:pt x="373626" y="10740"/>
                    <a:pt x="379161" y="23863"/>
                  </a:cubicBezTo>
                  <a:cubicBezTo>
                    <a:pt x="381821" y="30166"/>
                    <a:pt x="383125" y="42584"/>
                    <a:pt x="383071" y="61118"/>
                  </a:cubicBezTo>
                  <a:cubicBezTo>
                    <a:pt x="382910" y="112719"/>
                    <a:pt x="382946" y="148125"/>
                    <a:pt x="383178" y="167337"/>
                  </a:cubicBezTo>
                  <a:cubicBezTo>
                    <a:pt x="383196" y="168194"/>
                    <a:pt x="383633" y="168623"/>
                    <a:pt x="384490" y="168623"/>
                  </a:cubicBezTo>
                  <a:cubicBezTo>
                    <a:pt x="456946" y="168766"/>
                    <a:pt x="520314" y="168784"/>
                    <a:pt x="574593" y="168677"/>
                  </a:cubicBezTo>
                  <a:cubicBezTo>
                    <a:pt x="593894" y="168623"/>
                    <a:pt x="606607" y="169864"/>
                    <a:pt x="612732" y="172399"/>
                  </a:cubicBezTo>
                  <a:cubicBezTo>
                    <a:pt x="626087" y="177917"/>
                    <a:pt x="634318" y="189388"/>
                    <a:pt x="637425" y="206815"/>
                  </a:cubicBezTo>
                  <a:lnTo>
                    <a:pt x="637425" y="432297"/>
                  </a:lnTo>
                  <a:cubicBezTo>
                    <a:pt x="634015" y="451456"/>
                    <a:pt x="624069" y="463294"/>
                    <a:pt x="607589" y="467811"/>
                  </a:cubicBezTo>
                  <a:cubicBezTo>
                    <a:pt x="602858" y="469097"/>
                    <a:pt x="594082" y="469686"/>
                    <a:pt x="581262" y="469579"/>
                  </a:cubicBezTo>
                  <a:cubicBezTo>
                    <a:pt x="570603" y="469489"/>
                    <a:pt x="561755" y="469534"/>
                    <a:pt x="554720" y="469713"/>
                  </a:cubicBezTo>
                  <a:cubicBezTo>
                    <a:pt x="553828" y="469730"/>
                    <a:pt x="553381" y="470186"/>
                    <a:pt x="553381" y="471078"/>
                  </a:cubicBezTo>
                  <a:cubicBezTo>
                    <a:pt x="553256" y="499968"/>
                    <a:pt x="553230" y="522180"/>
                    <a:pt x="553301" y="537713"/>
                  </a:cubicBezTo>
                  <a:cubicBezTo>
                    <a:pt x="553390" y="551676"/>
                    <a:pt x="547293" y="560809"/>
                    <a:pt x="535008" y="565112"/>
                  </a:cubicBezTo>
                  <a:lnTo>
                    <a:pt x="529143" y="565112"/>
                  </a:lnTo>
                  <a:cubicBezTo>
                    <a:pt x="523715" y="563737"/>
                    <a:pt x="519626" y="561523"/>
                    <a:pt x="516877" y="558470"/>
                  </a:cubicBezTo>
                  <a:cubicBezTo>
                    <a:pt x="490612" y="529277"/>
                    <a:pt x="464588" y="500245"/>
                    <a:pt x="438806" y="471373"/>
                  </a:cubicBezTo>
                  <a:cubicBezTo>
                    <a:pt x="437799" y="470248"/>
                    <a:pt x="436357" y="469605"/>
                    <a:pt x="434842" y="469605"/>
                  </a:cubicBezTo>
                  <a:cubicBezTo>
                    <a:pt x="386026" y="469605"/>
                    <a:pt x="343076" y="469596"/>
                    <a:pt x="305991" y="469579"/>
                  </a:cubicBezTo>
                  <a:cubicBezTo>
                    <a:pt x="293510" y="469579"/>
                    <a:pt x="285127" y="468891"/>
                    <a:pt x="280842" y="467516"/>
                  </a:cubicBezTo>
                  <a:cubicBezTo>
                    <a:pt x="263219" y="461838"/>
                    <a:pt x="251649" y="445823"/>
                    <a:pt x="251756" y="427235"/>
                  </a:cubicBezTo>
                  <a:cubicBezTo>
                    <a:pt x="251756" y="425950"/>
                    <a:pt x="251756" y="384249"/>
                    <a:pt x="251756" y="302134"/>
                  </a:cubicBezTo>
                  <a:cubicBezTo>
                    <a:pt x="251756" y="301557"/>
                    <a:pt x="251300" y="301090"/>
                    <a:pt x="250738" y="301090"/>
                  </a:cubicBezTo>
                  <a:lnTo>
                    <a:pt x="202235" y="301090"/>
                  </a:lnTo>
                  <a:cubicBezTo>
                    <a:pt x="200039" y="301090"/>
                    <a:pt x="198227" y="301929"/>
                    <a:pt x="196798" y="303607"/>
                  </a:cubicBezTo>
                  <a:cubicBezTo>
                    <a:pt x="160142" y="346209"/>
                    <a:pt x="135154" y="375099"/>
                    <a:pt x="121834" y="390275"/>
                  </a:cubicBezTo>
                  <a:cubicBezTo>
                    <a:pt x="112728" y="400667"/>
                    <a:pt x="98292" y="399462"/>
                    <a:pt x="89561" y="389526"/>
                  </a:cubicBezTo>
                  <a:cubicBezTo>
                    <a:pt x="86258" y="385758"/>
                    <a:pt x="84615" y="379786"/>
                    <a:pt x="84633" y="371608"/>
                  </a:cubicBezTo>
                  <a:cubicBezTo>
                    <a:pt x="84704" y="331845"/>
                    <a:pt x="84669" y="308865"/>
                    <a:pt x="84526" y="302670"/>
                  </a:cubicBezTo>
                  <a:cubicBezTo>
                    <a:pt x="84508" y="301848"/>
                    <a:pt x="84088" y="301411"/>
                    <a:pt x="83267" y="301357"/>
                  </a:cubicBezTo>
                  <a:cubicBezTo>
                    <a:pt x="68644" y="300527"/>
                    <a:pt x="42343" y="303500"/>
                    <a:pt x="27586" y="298385"/>
                  </a:cubicBezTo>
                  <a:cubicBezTo>
                    <a:pt x="12588" y="293189"/>
                    <a:pt x="3392" y="281681"/>
                    <a:pt x="0" y="263862"/>
                  </a:cubicBezTo>
                  <a:lnTo>
                    <a:pt x="0" y="37737"/>
                  </a:lnTo>
                  <a:cubicBezTo>
                    <a:pt x="3446" y="16275"/>
                    <a:pt x="16061" y="3696"/>
                    <a:pt x="37844" y="0"/>
                  </a:cubicBezTo>
                  <a:lnTo>
                    <a:pt x="345495" y="0"/>
                  </a:lnTo>
                  <a:close/>
                  <a:moveTo>
                    <a:pt x="102336" y="287243"/>
                  </a:moveTo>
                  <a:cubicBezTo>
                    <a:pt x="103021" y="288508"/>
                    <a:pt x="103380" y="289917"/>
                    <a:pt x="103381" y="291341"/>
                  </a:cubicBezTo>
                  <a:lnTo>
                    <a:pt x="103381" y="376295"/>
                  </a:lnTo>
                  <a:cubicBezTo>
                    <a:pt x="103372" y="377539"/>
                    <a:pt x="104383" y="378547"/>
                    <a:pt x="105638" y="378547"/>
                  </a:cubicBezTo>
                  <a:cubicBezTo>
                    <a:pt x="106149" y="378547"/>
                    <a:pt x="106647" y="378376"/>
                    <a:pt x="107050" y="378063"/>
                  </a:cubicBezTo>
                  <a:cubicBezTo>
                    <a:pt x="108585" y="376848"/>
                    <a:pt x="109933" y="375572"/>
                    <a:pt x="111094" y="374233"/>
                  </a:cubicBezTo>
                  <a:cubicBezTo>
                    <a:pt x="145465" y="334470"/>
                    <a:pt x="169043" y="307151"/>
                    <a:pt x="181827" y="292278"/>
                  </a:cubicBezTo>
                  <a:cubicBezTo>
                    <a:pt x="184219" y="289493"/>
                    <a:pt x="186541" y="287163"/>
                    <a:pt x="188790" y="285288"/>
                  </a:cubicBezTo>
                  <a:cubicBezTo>
                    <a:pt x="191004" y="283449"/>
                    <a:pt x="193986" y="282520"/>
                    <a:pt x="197736" y="282502"/>
                  </a:cubicBezTo>
                  <a:cubicBezTo>
                    <a:pt x="264156" y="282038"/>
                    <a:pt x="308999" y="281842"/>
                    <a:pt x="332264" y="281913"/>
                  </a:cubicBezTo>
                  <a:cubicBezTo>
                    <a:pt x="342406" y="281949"/>
                    <a:pt x="349325" y="281056"/>
                    <a:pt x="353021" y="279235"/>
                  </a:cubicBezTo>
                  <a:cubicBezTo>
                    <a:pt x="360502" y="275539"/>
                    <a:pt x="364243" y="268602"/>
                    <a:pt x="364243" y="258425"/>
                  </a:cubicBezTo>
                  <a:cubicBezTo>
                    <a:pt x="364243" y="187773"/>
                    <a:pt x="364243" y="117120"/>
                    <a:pt x="364243" y="46468"/>
                  </a:cubicBezTo>
                  <a:cubicBezTo>
                    <a:pt x="364243" y="39790"/>
                    <a:pt x="363725" y="35210"/>
                    <a:pt x="362689" y="32728"/>
                  </a:cubicBezTo>
                  <a:cubicBezTo>
                    <a:pt x="360708" y="27943"/>
                    <a:pt x="357565" y="24238"/>
                    <a:pt x="353262" y="21614"/>
                  </a:cubicBezTo>
                  <a:cubicBezTo>
                    <a:pt x="350155" y="19721"/>
                    <a:pt x="343870" y="18775"/>
                    <a:pt x="334407" y="18775"/>
                  </a:cubicBezTo>
                  <a:cubicBezTo>
                    <a:pt x="239865" y="18739"/>
                    <a:pt x="145322" y="18739"/>
                    <a:pt x="50780" y="18775"/>
                  </a:cubicBezTo>
                  <a:cubicBezTo>
                    <a:pt x="40959" y="18775"/>
                    <a:pt x="34058" y="19766"/>
                    <a:pt x="30077" y="21747"/>
                  </a:cubicBezTo>
                  <a:cubicBezTo>
                    <a:pt x="22578" y="25479"/>
                    <a:pt x="18828" y="32309"/>
                    <a:pt x="18828" y="42236"/>
                  </a:cubicBezTo>
                  <a:cubicBezTo>
                    <a:pt x="18775" y="81964"/>
                    <a:pt x="18739" y="153830"/>
                    <a:pt x="18721" y="257836"/>
                  </a:cubicBezTo>
                  <a:cubicBezTo>
                    <a:pt x="18721" y="266995"/>
                    <a:pt x="22051" y="273825"/>
                    <a:pt x="28711" y="278324"/>
                  </a:cubicBezTo>
                  <a:cubicBezTo>
                    <a:pt x="32621" y="280949"/>
                    <a:pt x="38906" y="282306"/>
                    <a:pt x="47566" y="282395"/>
                  </a:cubicBezTo>
                  <a:cubicBezTo>
                    <a:pt x="54886" y="282467"/>
                    <a:pt x="70063" y="282431"/>
                    <a:pt x="93096" y="282288"/>
                  </a:cubicBezTo>
                  <a:cubicBezTo>
                    <a:pt x="97417" y="282270"/>
                    <a:pt x="100497" y="283922"/>
                    <a:pt x="102336" y="287243"/>
                  </a:cubicBezTo>
                  <a:close/>
                  <a:moveTo>
                    <a:pt x="534419" y="464972"/>
                  </a:moveTo>
                  <a:cubicBezTo>
                    <a:pt x="534125" y="458437"/>
                    <a:pt x="535678" y="450992"/>
                    <a:pt x="542990" y="450965"/>
                  </a:cubicBezTo>
                  <a:cubicBezTo>
                    <a:pt x="547686" y="450947"/>
                    <a:pt x="562996" y="450929"/>
                    <a:pt x="588922" y="450911"/>
                  </a:cubicBezTo>
                  <a:cubicBezTo>
                    <a:pt x="598206" y="450893"/>
                    <a:pt x="604857" y="449599"/>
                    <a:pt x="608875" y="447028"/>
                  </a:cubicBezTo>
                  <a:cubicBezTo>
                    <a:pt x="615428" y="442850"/>
                    <a:pt x="618704" y="436011"/>
                    <a:pt x="618704" y="426512"/>
                  </a:cubicBezTo>
                  <a:cubicBezTo>
                    <a:pt x="618704" y="357306"/>
                    <a:pt x="618686" y="288100"/>
                    <a:pt x="618650" y="218894"/>
                  </a:cubicBezTo>
                  <a:cubicBezTo>
                    <a:pt x="618650" y="209181"/>
                    <a:pt x="617526" y="202307"/>
                    <a:pt x="615276" y="198271"/>
                  </a:cubicBezTo>
                  <a:cubicBezTo>
                    <a:pt x="611276" y="191040"/>
                    <a:pt x="604375" y="187433"/>
                    <a:pt x="594573" y="187451"/>
                  </a:cubicBezTo>
                  <a:cubicBezTo>
                    <a:pt x="523385" y="187487"/>
                    <a:pt x="453509" y="187487"/>
                    <a:pt x="384946" y="187451"/>
                  </a:cubicBezTo>
                  <a:cubicBezTo>
                    <a:pt x="384458" y="187451"/>
                    <a:pt x="384062" y="187859"/>
                    <a:pt x="384062" y="188362"/>
                  </a:cubicBezTo>
                  <a:cubicBezTo>
                    <a:pt x="384080" y="194468"/>
                    <a:pt x="384116" y="218278"/>
                    <a:pt x="384169" y="259791"/>
                  </a:cubicBezTo>
                  <a:cubicBezTo>
                    <a:pt x="384196" y="285716"/>
                    <a:pt x="364189" y="302322"/>
                    <a:pt x="338746" y="302081"/>
                  </a:cubicBezTo>
                  <a:cubicBezTo>
                    <a:pt x="319980" y="301920"/>
                    <a:pt x="297715" y="301938"/>
                    <a:pt x="271950" y="302134"/>
                  </a:cubicBezTo>
                  <a:cubicBezTo>
                    <a:pt x="271057" y="302152"/>
                    <a:pt x="270611" y="302607"/>
                    <a:pt x="270611" y="303500"/>
                  </a:cubicBezTo>
                  <a:cubicBezTo>
                    <a:pt x="270557" y="315374"/>
                    <a:pt x="270504" y="355788"/>
                    <a:pt x="270450" y="424745"/>
                  </a:cubicBezTo>
                  <a:cubicBezTo>
                    <a:pt x="270450" y="435618"/>
                    <a:pt x="273771" y="443867"/>
                    <a:pt x="283413" y="448447"/>
                  </a:cubicBezTo>
                  <a:cubicBezTo>
                    <a:pt x="286823" y="450072"/>
                    <a:pt x="293135" y="450884"/>
                    <a:pt x="302348" y="450884"/>
                  </a:cubicBezTo>
                  <a:cubicBezTo>
                    <a:pt x="378161" y="450849"/>
                    <a:pt x="424495" y="450849"/>
                    <a:pt x="441350" y="450884"/>
                  </a:cubicBezTo>
                  <a:cubicBezTo>
                    <a:pt x="444078" y="450901"/>
                    <a:pt x="446667" y="452069"/>
                    <a:pt x="448474" y="454098"/>
                  </a:cubicBezTo>
                  <a:lnTo>
                    <a:pt x="528259" y="543177"/>
                  </a:lnTo>
                  <a:cubicBezTo>
                    <a:pt x="532384" y="547766"/>
                    <a:pt x="534455" y="546971"/>
                    <a:pt x="534473" y="540793"/>
                  </a:cubicBezTo>
                  <a:cubicBezTo>
                    <a:pt x="534580" y="493763"/>
                    <a:pt x="534562" y="468489"/>
                    <a:pt x="534419" y="464972"/>
                  </a:cubicBezTo>
                  <a:close/>
                </a:path>
              </a:pathLst>
            </a:custGeom>
            <a:grpFill/>
            <a:ln w="26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38" name="Forme libre : forme 326">
              <a:extLst>
                <a:ext uri="{FF2B5EF4-FFF2-40B4-BE49-F238E27FC236}">
                  <a16:creationId xmlns:a16="http://schemas.microsoft.com/office/drawing/2014/main" id="{C24FFFA6-A749-C120-8507-7919EBF07D1B}"/>
                </a:ext>
              </a:extLst>
            </p:cNvPr>
            <p:cNvSpPr/>
            <p:nvPr/>
          </p:nvSpPr>
          <p:spPr>
            <a:xfrm>
              <a:off x="3375716" y="5599631"/>
              <a:ext cx="107101" cy="152464"/>
            </a:xfrm>
            <a:custGeom>
              <a:avLst/>
              <a:gdLst>
                <a:gd name="connsiteX0" fmla="*/ 61711 w 107101"/>
                <a:gd name="connsiteY0" fmla="*/ 145248 h 152464"/>
                <a:gd name="connsiteX1" fmla="*/ 56034 w 107101"/>
                <a:gd name="connsiteY1" fmla="*/ 151730 h 152464"/>
                <a:gd name="connsiteX2" fmla="*/ 43553 w 107101"/>
                <a:gd name="connsiteY2" fmla="*/ 139544 h 152464"/>
                <a:gd name="connsiteX3" fmla="*/ 58417 w 107101"/>
                <a:gd name="connsiteY3" fmla="*/ 99879 h 152464"/>
                <a:gd name="connsiteX4" fmla="*/ 88012 w 107101"/>
                <a:gd name="connsiteY4" fmla="*/ 57214 h 152464"/>
                <a:gd name="connsiteX5" fmla="*/ 72076 w 107101"/>
                <a:gd name="connsiteY5" fmla="*/ 24325 h 152464"/>
                <a:gd name="connsiteX6" fmla="*/ 37393 w 107101"/>
                <a:gd name="connsiteY6" fmla="*/ 22611 h 152464"/>
                <a:gd name="connsiteX7" fmla="*/ 18458 w 107101"/>
                <a:gd name="connsiteY7" fmla="*/ 55205 h 152464"/>
                <a:gd name="connsiteX8" fmla="*/ 10771 w 107101"/>
                <a:gd name="connsiteY8" fmla="*/ 63133 h 152464"/>
                <a:gd name="connsiteX9" fmla="*/ 112 w 107101"/>
                <a:gd name="connsiteY9" fmla="*/ 50492 h 152464"/>
                <a:gd name="connsiteX10" fmla="*/ 22663 w 107101"/>
                <a:gd name="connsiteY10" fmla="*/ 9809 h 152464"/>
                <a:gd name="connsiteX11" fmla="*/ 104055 w 107101"/>
                <a:gd name="connsiteY11" fmla="*/ 36699 h 152464"/>
                <a:gd name="connsiteX12" fmla="*/ 73817 w 107101"/>
                <a:gd name="connsiteY12" fmla="*/ 110645 h 152464"/>
                <a:gd name="connsiteX13" fmla="*/ 61711 w 107101"/>
                <a:gd name="connsiteY13" fmla="*/ 145248 h 152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7101" h="152464">
                  <a:moveTo>
                    <a:pt x="61711" y="145248"/>
                  </a:moveTo>
                  <a:cubicBezTo>
                    <a:pt x="61533" y="148355"/>
                    <a:pt x="59640" y="150516"/>
                    <a:pt x="56034" y="151730"/>
                  </a:cubicBezTo>
                  <a:cubicBezTo>
                    <a:pt x="46794" y="154836"/>
                    <a:pt x="43660" y="147578"/>
                    <a:pt x="43553" y="139544"/>
                  </a:cubicBezTo>
                  <a:cubicBezTo>
                    <a:pt x="43392" y="124260"/>
                    <a:pt x="48347" y="111038"/>
                    <a:pt x="58417" y="99879"/>
                  </a:cubicBezTo>
                  <a:cubicBezTo>
                    <a:pt x="66023" y="91469"/>
                    <a:pt x="87262" y="73900"/>
                    <a:pt x="88012" y="57214"/>
                  </a:cubicBezTo>
                  <a:cubicBezTo>
                    <a:pt x="88690" y="42626"/>
                    <a:pt x="83379" y="31663"/>
                    <a:pt x="72076" y="24325"/>
                  </a:cubicBezTo>
                  <a:cubicBezTo>
                    <a:pt x="62301" y="17978"/>
                    <a:pt x="47597" y="16906"/>
                    <a:pt x="37393" y="22611"/>
                  </a:cubicBezTo>
                  <a:cubicBezTo>
                    <a:pt x="23975" y="30110"/>
                    <a:pt x="20252" y="40287"/>
                    <a:pt x="18458" y="55205"/>
                  </a:cubicBezTo>
                  <a:cubicBezTo>
                    <a:pt x="17949" y="59223"/>
                    <a:pt x="14092" y="63053"/>
                    <a:pt x="10771" y="63133"/>
                  </a:cubicBezTo>
                  <a:cubicBezTo>
                    <a:pt x="2335" y="63320"/>
                    <a:pt x="-638" y="58071"/>
                    <a:pt x="112" y="50492"/>
                  </a:cubicBezTo>
                  <a:cubicBezTo>
                    <a:pt x="1861" y="32726"/>
                    <a:pt x="9378" y="19165"/>
                    <a:pt x="22663" y="9809"/>
                  </a:cubicBezTo>
                  <a:cubicBezTo>
                    <a:pt x="52016" y="-10867"/>
                    <a:pt x="92136" y="2578"/>
                    <a:pt x="104055" y="36699"/>
                  </a:cubicBezTo>
                  <a:cubicBezTo>
                    <a:pt x="114714" y="67177"/>
                    <a:pt x="95672" y="89326"/>
                    <a:pt x="73817" y="110645"/>
                  </a:cubicBezTo>
                  <a:cubicBezTo>
                    <a:pt x="63908" y="120314"/>
                    <a:pt x="62461" y="131321"/>
                    <a:pt x="61711" y="145248"/>
                  </a:cubicBezTo>
                  <a:close/>
                </a:path>
              </a:pathLst>
            </a:custGeom>
            <a:grpFill/>
            <a:ln w="26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39" name="Forme libre : forme 332">
              <a:extLst>
                <a:ext uri="{FF2B5EF4-FFF2-40B4-BE49-F238E27FC236}">
                  <a16:creationId xmlns:a16="http://schemas.microsoft.com/office/drawing/2014/main" id="{C79FD7B9-2177-6CDF-31BD-CB930090D71E}"/>
                </a:ext>
              </a:extLst>
            </p:cNvPr>
            <p:cNvSpPr/>
            <p:nvPr/>
          </p:nvSpPr>
          <p:spPr>
            <a:xfrm>
              <a:off x="3670221" y="5768421"/>
              <a:ext cx="18747" cy="149768"/>
            </a:xfrm>
            <a:custGeom>
              <a:avLst/>
              <a:gdLst>
                <a:gd name="connsiteX0" fmla="*/ 9535 w 18747"/>
                <a:gd name="connsiteY0" fmla="*/ 0 h 149768"/>
                <a:gd name="connsiteX1" fmla="*/ 18748 w 18747"/>
                <a:gd name="connsiteY1" fmla="*/ 0 h 149768"/>
                <a:gd name="connsiteX2" fmla="*/ 18748 w 18747"/>
                <a:gd name="connsiteY2" fmla="*/ 149768 h 149768"/>
                <a:gd name="connsiteX3" fmla="*/ 9535 w 18747"/>
                <a:gd name="connsiteY3" fmla="*/ 149768 h 149768"/>
                <a:gd name="connsiteX4" fmla="*/ 9213 w 18747"/>
                <a:gd name="connsiteY4" fmla="*/ 149768 h 149768"/>
                <a:gd name="connsiteX5" fmla="*/ 0 w 18747"/>
                <a:gd name="connsiteY5" fmla="*/ 149768 h 149768"/>
                <a:gd name="connsiteX6" fmla="*/ 0 w 18747"/>
                <a:gd name="connsiteY6" fmla="*/ 0 h 149768"/>
                <a:gd name="connsiteX7" fmla="*/ 9213 w 18747"/>
                <a:gd name="connsiteY7" fmla="*/ 0 h 149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747" h="149768">
                  <a:moveTo>
                    <a:pt x="9535" y="0"/>
                  </a:moveTo>
                  <a:cubicBezTo>
                    <a:pt x="14623" y="0"/>
                    <a:pt x="18748" y="0"/>
                    <a:pt x="18748" y="0"/>
                  </a:cubicBezTo>
                  <a:lnTo>
                    <a:pt x="18748" y="149768"/>
                  </a:lnTo>
                  <a:cubicBezTo>
                    <a:pt x="18748" y="149768"/>
                    <a:pt x="14623" y="149768"/>
                    <a:pt x="9535" y="149768"/>
                  </a:cubicBezTo>
                  <a:lnTo>
                    <a:pt x="9213" y="149768"/>
                  </a:lnTo>
                  <a:cubicBezTo>
                    <a:pt x="4125" y="149768"/>
                    <a:pt x="0" y="149768"/>
                    <a:pt x="0" y="149768"/>
                  </a:cubicBezTo>
                  <a:lnTo>
                    <a:pt x="0" y="0"/>
                  </a:lnTo>
                  <a:cubicBezTo>
                    <a:pt x="0" y="0"/>
                    <a:pt x="4125" y="0"/>
                    <a:pt x="9213" y="0"/>
                  </a:cubicBezTo>
                  <a:close/>
                </a:path>
              </a:pathLst>
            </a:custGeom>
            <a:grpFill/>
            <a:ln w="26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40" name="Forme libre : forme 333">
              <a:extLst>
                <a:ext uri="{FF2B5EF4-FFF2-40B4-BE49-F238E27FC236}">
                  <a16:creationId xmlns:a16="http://schemas.microsoft.com/office/drawing/2014/main" id="{DC42B772-B1AF-77B7-C5EA-F6CDE938D74E}"/>
                </a:ext>
              </a:extLst>
            </p:cNvPr>
            <p:cNvSpPr/>
            <p:nvPr/>
          </p:nvSpPr>
          <p:spPr>
            <a:xfrm>
              <a:off x="3418545" y="5771019"/>
              <a:ext cx="18640" cy="18640"/>
            </a:xfrm>
            <a:custGeom>
              <a:avLst/>
              <a:gdLst>
                <a:gd name="connsiteX0" fmla="*/ 18641 w 18640"/>
                <a:gd name="connsiteY0" fmla="*/ 9320 h 18640"/>
                <a:gd name="connsiteX1" fmla="*/ 9320 w 18640"/>
                <a:gd name="connsiteY1" fmla="*/ 18641 h 18640"/>
                <a:gd name="connsiteX2" fmla="*/ 0 w 18640"/>
                <a:gd name="connsiteY2" fmla="*/ 9320 h 18640"/>
                <a:gd name="connsiteX3" fmla="*/ 9320 w 18640"/>
                <a:gd name="connsiteY3" fmla="*/ 0 h 18640"/>
                <a:gd name="connsiteX4" fmla="*/ 18641 w 18640"/>
                <a:gd name="connsiteY4" fmla="*/ 9320 h 18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640" h="18640">
                  <a:moveTo>
                    <a:pt x="18641" y="9320"/>
                  </a:moveTo>
                  <a:cubicBezTo>
                    <a:pt x="18641" y="14468"/>
                    <a:pt x="14468" y="18641"/>
                    <a:pt x="9320" y="18641"/>
                  </a:cubicBezTo>
                  <a:cubicBezTo>
                    <a:pt x="4173" y="18641"/>
                    <a:pt x="0" y="14468"/>
                    <a:pt x="0" y="9320"/>
                  </a:cubicBezTo>
                  <a:cubicBezTo>
                    <a:pt x="0" y="4173"/>
                    <a:pt x="4173" y="0"/>
                    <a:pt x="9320" y="0"/>
                  </a:cubicBezTo>
                  <a:cubicBezTo>
                    <a:pt x="14468" y="0"/>
                    <a:pt x="18641" y="4173"/>
                    <a:pt x="18641" y="9320"/>
                  </a:cubicBezTo>
                  <a:close/>
                </a:path>
              </a:pathLst>
            </a:custGeom>
            <a:grpFill/>
            <a:ln w="26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41" name="Forme libre : forme 334">
              <a:extLst>
                <a:ext uri="{FF2B5EF4-FFF2-40B4-BE49-F238E27FC236}">
                  <a16:creationId xmlns:a16="http://schemas.microsoft.com/office/drawing/2014/main" id="{1A91C76C-E2F8-8FE9-56E8-C648E4BC7F19}"/>
                </a:ext>
              </a:extLst>
            </p:cNvPr>
            <p:cNvSpPr/>
            <p:nvPr/>
          </p:nvSpPr>
          <p:spPr>
            <a:xfrm>
              <a:off x="3555137" y="5939749"/>
              <a:ext cx="18640" cy="18640"/>
            </a:xfrm>
            <a:custGeom>
              <a:avLst/>
              <a:gdLst>
                <a:gd name="connsiteX0" fmla="*/ 18641 w 18640"/>
                <a:gd name="connsiteY0" fmla="*/ 9320 h 18640"/>
                <a:gd name="connsiteX1" fmla="*/ 9320 w 18640"/>
                <a:gd name="connsiteY1" fmla="*/ 18641 h 18640"/>
                <a:gd name="connsiteX2" fmla="*/ 0 w 18640"/>
                <a:gd name="connsiteY2" fmla="*/ 9320 h 18640"/>
                <a:gd name="connsiteX3" fmla="*/ 9320 w 18640"/>
                <a:gd name="connsiteY3" fmla="*/ 0 h 18640"/>
                <a:gd name="connsiteX4" fmla="*/ 18641 w 18640"/>
                <a:gd name="connsiteY4" fmla="*/ 9320 h 18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640" h="18640">
                  <a:moveTo>
                    <a:pt x="18641" y="9320"/>
                  </a:moveTo>
                  <a:cubicBezTo>
                    <a:pt x="18641" y="14468"/>
                    <a:pt x="14468" y="18641"/>
                    <a:pt x="9320" y="18641"/>
                  </a:cubicBezTo>
                  <a:cubicBezTo>
                    <a:pt x="4173" y="18641"/>
                    <a:pt x="0" y="14468"/>
                    <a:pt x="0" y="9320"/>
                  </a:cubicBezTo>
                  <a:cubicBezTo>
                    <a:pt x="0" y="4173"/>
                    <a:pt x="4173" y="0"/>
                    <a:pt x="9320" y="0"/>
                  </a:cubicBezTo>
                  <a:cubicBezTo>
                    <a:pt x="14468" y="0"/>
                    <a:pt x="18641" y="4173"/>
                    <a:pt x="18641" y="9320"/>
                  </a:cubicBezTo>
                  <a:close/>
                </a:path>
              </a:pathLst>
            </a:custGeom>
            <a:grpFill/>
            <a:ln w="26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42" name="Forme libre : forme 335">
              <a:extLst>
                <a:ext uri="{FF2B5EF4-FFF2-40B4-BE49-F238E27FC236}">
                  <a16:creationId xmlns:a16="http://schemas.microsoft.com/office/drawing/2014/main" id="{BED8ACBA-49FF-8B47-924F-82FE31D0E74B}"/>
                </a:ext>
              </a:extLst>
            </p:cNvPr>
            <p:cNvSpPr/>
            <p:nvPr/>
          </p:nvSpPr>
          <p:spPr>
            <a:xfrm>
              <a:off x="3592632" y="5939749"/>
              <a:ext cx="18640" cy="18640"/>
            </a:xfrm>
            <a:custGeom>
              <a:avLst/>
              <a:gdLst>
                <a:gd name="connsiteX0" fmla="*/ 18641 w 18640"/>
                <a:gd name="connsiteY0" fmla="*/ 9320 h 18640"/>
                <a:gd name="connsiteX1" fmla="*/ 9320 w 18640"/>
                <a:gd name="connsiteY1" fmla="*/ 18641 h 18640"/>
                <a:gd name="connsiteX2" fmla="*/ 0 w 18640"/>
                <a:gd name="connsiteY2" fmla="*/ 9320 h 18640"/>
                <a:gd name="connsiteX3" fmla="*/ 9320 w 18640"/>
                <a:gd name="connsiteY3" fmla="*/ 0 h 18640"/>
                <a:gd name="connsiteX4" fmla="*/ 18641 w 18640"/>
                <a:gd name="connsiteY4" fmla="*/ 9320 h 18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640" h="18640">
                  <a:moveTo>
                    <a:pt x="18641" y="9320"/>
                  </a:moveTo>
                  <a:cubicBezTo>
                    <a:pt x="18641" y="14468"/>
                    <a:pt x="14468" y="18641"/>
                    <a:pt x="9320" y="18641"/>
                  </a:cubicBezTo>
                  <a:cubicBezTo>
                    <a:pt x="4173" y="18641"/>
                    <a:pt x="0" y="14468"/>
                    <a:pt x="0" y="9320"/>
                  </a:cubicBezTo>
                  <a:cubicBezTo>
                    <a:pt x="0" y="4173"/>
                    <a:pt x="4173" y="0"/>
                    <a:pt x="9320" y="0"/>
                  </a:cubicBezTo>
                  <a:cubicBezTo>
                    <a:pt x="14468" y="0"/>
                    <a:pt x="18641" y="4173"/>
                    <a:pt x="18641" y="9320"/>
                  </a:cubicBezTo>
                  <a:close/>
                </a:path>
              </a:pathLst>
            </a:custGeom>
            <a:grpFill/>
            <a:ln w="26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43" name="Forme libre : forme 336">
              <a:extLst>
                <a:ext uri="{FF2B5EF4-FFF2-40B4-BE49-F238E27FC236}">
                  <a16:creationId xmlns:a16="http://schemas.microsoft.com/office/drawing/2014/main" id="{DB208964-33FD-485F-2987-AB68E780D4B7}"/>
                </a:ext>
              </a:extLst>
            </p:cNvPr>
            <p:cNvSpPr/>
            <p:nvPr/>
          </p:nvSpPr>
          <p:spPr>
            <a:xfrm>
              <a:off x="3632806" y="5939749"/>
              <a:ext cx="18640" cy="18640"/>
            </a:xfrm>
            <a:custGeom>
              <a:avLst/>
              <a:gdLst>
                <a:gd name="connsiteX0" fmla="*/ 18641 w 18640"/>
                <a:gd name="connsiteY0" fmla="*/ 9320 h 18640"/>
                <a:gd name="connsiteX1" fmla="*/ 9320 w 18640"/>
                <a:gd name="connsiteY1" fmla="*/ 18641 h 18640"/>
                <a:gd name="connsiteX2" fmla="*/ 0 w 18640"/>
                <a:gd name="connsiteY2" fmla="*/ 9320 h 18640"/>
                <a:gd name="connsiteX3" fmla="*/ 9320 w 18640"/>
                <a:gd name="connsiteY3" fmla="*/ 0 h 18640"/>
                <a:gd name="connsiteX4" fmla="*/ 18641 w 18640"/>
                <a:gd name="connsiteY4" fmla="*/ 9320 h 18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640" h="18640">
                  <a:moveTo>
                    <a:pt x="18641" y="9320"/>
                  </a:moveTo>
                  <a:cubicBezTo>
                    <a:pt x="18641" y="14468"/>
                    <a:pt x="14468" y="18641"/>
                    <a:pt x="9320" y="18641"/>
                  </a:cubicBezTo>
                  <a:cubicBezTo>
                    <a:pt x="4173" y="18641"/>
                    <a:pt x="0" y="14468"/>
                    <a:pt x="0" y="9320"/>
                  </a:cubicBezTo>
                  <a:cubicBezTo>
                    <a:pt x="0" y="4173"/>
                    <a:pt x="4173" y="0"/>
                    <a:pt x="9320" y="0"/>
                  </a:cubicBezTo>
                  <a:cubicBezTo>
                    <a:pt x="14468" y="0"/>
                    <a:pt x="18641" y="4173"/>
                    <a:pt x="18641" y="9320"/>
                  </a:cubicBezTo>
                  <a:close/>
                </a:path>
              </a:pathLst>
            </a:custGeom>
            <a:grpFill/>
            <a:ln w="26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44" name="Forme libre : forme 337">
              <a:extLst>
                <a:ext uri="{FF2B5EF4-FFF2-40B4-BE49-F238E27FC236}">
                  <a16:creationId xmlns:a16="http://schemas.microsoft.com/office/drawing/2014/main" id="{36260AE7-0D6D-E017-64B3-C01EB172C475}"/>
                </a:ext>
              </a:extLst>
            </p:cNvPr>
            <p:cNvSpPr/>
            <p:nvPr/>
          </p:nvSpPr>
          <p:spPr>
            <a:xfrm>
              <a:off x="3670302" y="5939749"/>
              <a:ext cx="18640" cy="18640"/>
            </a:xfrm>
            <a:custGeom>
              <a:avLst/>
              <a:gdLst>
                <a:gd name="connsiteX0" fmla="*/ 18641 w 18640"/>
                <a:gd name="connsiteY0" fmla="*/ 9320 h 18640"/>
                <a:gd name="connsiteX1" fmla="*/ 9320 w 18640"/>
                <a:gd name="connsiteY1" fmla="*/ 18641 h 18640"/>
                <a:gd name="connsiteX2" fmla="*/ 0 w 18640"/>
                <a:gd name="connsiteY2" fmla="*/ 9320 h 18640"/>
                <a:gd name="connsiteX3" fmla="*/ 9320 w 18640"/>
                <a:gd name="connsiteY3" fmla="*/ 0 h 18640"/>
                <a:gd name="connsiteX4" fmla="*/ 18641 w 18640"/>
                <a:gd name="connsiteY4" fmla="*/ 9320 h 18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640" h="18640">
                  <a:moveTo>
                    <a:pt x="18641" y="9320"/>
                  </a:moveTo>
                  <a:cubicBezTo>
                    <a:pt x="18641" y="14468"/>
                    <a:pt x="14468" y="18641"/>
                    <a:pt x="9320" y="18641"/>
                  </a:cubicBezTo>
                  <a:cubicBezTo>
                    <a:pt x="4173" y="18641"/>
                    <a:pt x="0" y="14468"/>
                    <a:pt x="0" y="9320"/>
                  </a:cubicBezTo>
                  <a:cubicBezTo>
                    <a:pt x="0" y="4173"/>
                    <a:pt x="4173" y="0"/>
                    <a:pt x="9320" y="0"/>
                  </a:cubicBezTo>
                  <a:cubicBezTo>
                    <a:pt x="14468" y="0"/>
                    <a:pt x="18641" y="4173"/>
                    <a:pt x="18641" y="9320"/>
                  </a:cubicBezTo>
                  <a:close/>
                </a:path>
              </a:pathLst>
            </a:custGeom>
            <a:grpFill/>
            <a:ln w="26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345" name="Blockchain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4E41B70-C288-0C9F-F8D2-14A86CF55234}"/>
              </a:ext>
            </a:extLst>
          </p:cNvPr>
          <p:cNvGrpSpPr>
            <a:grpSpLocks noChangeAspect="1"/>
          </p:cNvGrpSpPr>
          <p:nvPr/>
        </p:nvGrpSpPr>
        <p:grpSpPr>
          <a:xfrm>
            <a:off x="743504" y="5496866"/>
            <a:ext cx="206227" cy="137322"/>
            <a:chOff x="8358188" y="4727575"/>
            <a:chExt cx="669926" cy="446088"/>
          </a:xfrm>
          <a:solidFill>
            <a:schemeClr val="dk2"/>
          </a:solidFill>
        </p:grpSpPr>
        <p:sp>
          <p:nvSpPr>
            <p:cNvPr id="346" name="Freeform 583">
              <a:extLst>
                <a:ext uri="{FF2B5EF4-FFF2-40B4-BE49-F238E27FC236}">
                  <a16:creationId xmlns:a16="http://schemas.microsoft.com/office/drawing/2014/main" id="{651F84CB-694F-1B79-C834-FC318559F3B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6301" y="4776788"/>
              <a:ext cx="330200" cy="187325"/>
            </a:xfrm>
            <a:custGeom>
              <a:avLst/>
              <a:gdLst>
                <a:gd name="T0" fmla="*/ 66 w 208"/>
                <a:gd name="T1" fmla="*/ 8 h 118"/>
                <a:gd name="T2" fmla="*/ 178 w 208"/>
                <a:gd name="T3" fmla="*/ 8 h 118"/>
                <a:gd name="T4" fmla="*/ 204 w 208"/>
                <a:gd name="T5" fmla="*/ 54 h 118"/>
                <a:gd name="T6" fmla="*/ 208 w 208"/>
                <a:gd name="T7" fmla="*/ 46 h 118"/>
                <a:gd name="T8" fmla="*/ 183 w 208"/>
                <a:gd name="T9" fmla="*/ 0 h 118"/>
                <a:gd name="T10" fmla="*/ 61 w 208"/>
                <a:gd name="T11" fmla="*/ 0 h 118"/>
                <a:gd name="T12" fmla="*/ 0 w 208"/>
                <a:gd name="T13" fmla="*/ 110 h 118"/>
                <a:gd name="T14" fmla="*/ 5 w 208"/>
                <a:gd name="T15" fmla="*/ 118 h 118"/>
                <a:gd name="T16" fmla="*/ 9 w 208"/>
                <a:gd name="T17" fmla="*/ 110 h 118"/>
                <a:gd name="T18" fmla="*/ 9 w 208"/>
                <a:gd name="T19" fmla="*/ 110 h 118"/>
                <a:gd name="T20" fmla="*/ 9 w 208"/>
                <a:gd name="T21" fmla="*/ 109 h 118"/>
                <a:gd name="T22" fmla="*/ 9 w 208"/>
                <a:gd name="T23" fmla="*/ 109 h 118"/>
                <a:gd name="T24" fmla="*/ 66 w 208"/>
                <a:gd name="T25" fmla="*/ 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8" h="118">
                  <a:moveTo>
                    <a:pt x="66" y="8"/>
                  </a:moveTo>
                  <a:lnTo>
                    <a:pt x="178" y="8"/>
                  </a:lnTo>
                  <a:lnTo>
                    <a:pt x="204" y="54"/>
                  </a:lnTo>
                  <a:lnTo>
                    <a:pt x="208" y="46"/>
                  </a:lnTo>
                  <a:lnTo>
                    <a:pt x="183" y="0"/>
                  </a:lnTo>
                  <a:lnTo>
                    <a:pt x="61" y="0"/>
                  </a:lnTo>
                  <a:lnTo>
                    <a:pt x="0" y="110"/>
                  </a:lnTo>
                  <a:lnTo>
                    <a:pt x="5" y="118"/>
                  </a:lnTo>
                  <a:lnTo>
                    <a:pt x="9" y="110"/>
                  </a:lnTo>
                  <a:lnTo>
                    <a:pt x="9" y="110"/>
                  </a:lnTo>
                  <a:lnTo>
                    <a:pt x="9" y="109"/>
                  </a:lnTo>
                  <a:lnTo>
                    <a:pt x="9" y="109"/>
                  </a:lnTo>
                  <a:lnTo>
                    <a:pt x="66" y="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7" name="Freeform 584">
              <a:extLst>
                <a:ext uri="{FF2B5EF4-FFF2-40B4-BE49-F238E27FC236}">
                  <a16:creationId xmlns:a16="http://schemas.microsoft.com/office/drawing/2014/main" id="{15176DC5-5015-2FBD-38FD-989152BFFCF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9151" y="4727575"/>
              <a:ext cx="415925" cy="287338"/>
            </a:xfrm>
            <a:custGeom>
              <a:avLst/>
              <a:gdLst>
                <a:gd name="T0" fmla="*/ 84 w 262"/>
                <a:gd name="T1" fmla="*/ 8 h 181"/>
                <a:gd name="T2" fmla="*/ 232 w 262"/>
                <a:gd name="T3" fmla="*/ 8 h 181"/>
                <a:gd name="T4" fmla="*/ 257 w 262"/>
                <a:gd name="T5" fmla="*/ 53 h 181"/>
                <a:gd name="T6" fmla="*/ 262 w 262"/>
                <a:gd name="T7" fmla="*/ 45 h 181"/>
                <a:gd name="T8" fmla="*/ 236 w 262"/>
                <a:gd name="T9" fmla="*/ 0 h 181"/>
                <a:gd name="T10" fmla="*/ 79 w 262"/>
                <a:gd name="T11" fmla="*/ 0 h 181"/>
                <a:gd name="T12" fmla="*/ 0 w 262"/>
                <a:gd name="T13" fmla="*/ 141 h 181"/>
                <a:gd name="T14" fmla="*/ 23 w 262"/>
                <a:gd name="T15" fmla="*/ 181 h 181"/>
                <a:gd name="T16" fmla="*/ 28 w 262"/>
                <a:gd name="T17" fmla="*/ 173 h 181"/>
                <a:gd name="T18" fmla="*/ 9 w 262"/>
                <a:gd name="T19" fmla="*/ 141 h 181"/>
                <a:gd name="T20" fmla="*/ 84 w 262"/>
                <a:gd name="T21" fmla="*/ 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2" h="181">
                  <a:moveTo>
                    <a:pt x="84" y="8"/>
                  </a:moveTo>
                  <a:lnTo>
                    <a:pt x="232" y="8"/>
                  </a:lnTo>
                  <a:lnTo>
                    <a:pt x="257" y="53"/>
                  </a:lnTo>
                  <a:lnTo>
                    <a:pt x="262" y="45"/>
                  </a:lnTo>
                  <a:lnTo>
                    <a:pt x="236" y="0"/>
                  </a:lnTo>
                  <a:lnTo>
                    <a:pt x="79" y="0"/>
                  </a:lnTo>
                  <a:lnTo>
                    <a:pt x="0" y="141"/>
                  </a:lnTo>
                  <a:lnTo>
                    <a:pt x="23" y="181"/>
                  </a:lnTo>
                  <a:lnTo>
                    <a:pt x="28" y="173"/>
                  </a:lnTo>
                  <a:lnTo>
                    <a:pt x="9" y="141"/>
                  </a:lnTo>
                  <a:lnTo>
                    <a:pt x="84" y="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8" name="Freeform 585">
              <a:extLst>
                <a:ext uri="{FF2B5EF4-FFF2-40B4-BE49-F238E27FC236}">
                  <a16:creationId xmlns:a16="http://schemas.microsoft.com/office/drawing/2014/main" id="{5E49BE6B-6182-DDD0-B928-ED468A4EE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1863" y="4935538"/>
              <a:ext cx="330200" cy="188913"/>
            </a:xfrm>
            <a:custGeom>
              <a:avLst/>
              <a:gdLst>
                <a:gd name="T0" fmla="*/ 199 w 208"/>
                <a:gd name="T1" fmla="*/ 8 h 119"/>
                <a:gd name="T2" fmla="*/ 199 w 208"/>
                <a:gd name="T3" fmla="*/ 10 h 119"/>
                <a:gd name="T4" fmla="*/ 143 w 208"/>
                <a:gd name="T5" fmla="*/ 111 h 119"/>
                <a:gd name="T6" fmla="*/ 31 w 208"/>
                <a:gd name="T7" fmla="*/ 111 h 119"/>
                <a:gd name="T8" fmla="*/ 5 w 208"/>
                <a:gd name="T9" fmla="*/ 65 h 119"/>
                <a:gd name="T10" fmla="*/ 0 w 208"/>
                <a:gd name="T11" fmla="*/ 73 h 119"/>
                <a:gd name="T12" fmla="*/ 26 w 208"/>
                <a:gd name="T13" fmla="*/ 119 h 119"/>
                <a:gd name="T14" fmla="*/ 148 w 208"/>
                <a:gd name="T15" fmla="*/ 119 h 119"/>
                <a:gd name="T16" fmla="*/ 208 w 208"/>
                <a:gd name="T17" fmla="*/ 10 h 119"/>
                <a:gd name="T18" fmla="*/ 203 w 208"/>
                <a:gd name="T19" fmla="*/ 0 h 119"/>
                <a:gd name="T20" fmla="*/ 199 w 208"/>
                <a:gd name="T21" fmla="*/ 8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8" h="119">
                  <a:moveTo>
                    <a:pt x="199" y="8"/>
                  </a:moveTo>
                  <a:lnTo>
                    <a:pt x="199" y="10"/>
                  </a:lnTo>
                  <a:lnTo>
                    <a:pt x="143" y="111"/>
                  </a:lnTo>
                  <a:lnTo>
                    <a:pt x="31" y="111"/>
                  </a:lnTo>
                  <a:lnTo>
                    <a:pt x="5" y="65"/>
                  </a:lnTo>
                  <a:lnTo>
                    <a:pt x="0" y="73"/>
                  </a:lnTo>
                  <a:lnTo>
                    <a:pt x="26" y="119"/>
                  </a:lnTo>
                  <a:lnTo>
                    <a:pt x="148" y="119"/>
                  </a:lnTo>
                  <a:lnTo>
                    <a:pt x="208" y="10"/>
                  </a:lnTo>
                  <a:lnTo>
                    <a:pt x="203" y="0"/>
                  </a:lnTo>
                  <a:lnTo>
                    <a:pt x="199" y="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9" name="Freeform 586">
              <a:extLst>
                <a:ext uri="{FF2B5EF4-FFF2-40B4-BE49-F238E27FC236}">
                  <a16:creationId xmlns:a16="http://schemas.microsoft.com/office/drawing/2014/main" id="{C144A204-9665-0918-5AC4-F07F4D2D2EB6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3288" y="4886325"/>
              <a:ext cx="415925" cy="287338"/>
            </a:xfrm>
            <a:custGeom>
              <a:avLst/>
              <a:gdLst>
                <a:gd name="T0" fmla="*/ 234 w 262"/>
                <a:gd name="T1" fmla="*/ 8 h 181"/>
                <a:gd name="T2" fmla="*/ 253 w 262"/>
                <a:gd name="T3" fmla="*/ 41 h 181"/>
                <a:gd name="T4" fmla="*/ 179 w 262"/>
                <a:gd name="T5" fmla="*/ 173 h 181"/>
                <a:gd name="T6" fmla="*/ 31 w 262"/>
                <a:gd name="T7" fmla="*/ 173 h 181"/>
                <a:gd name="T8" fmla="*/ 5 w 262"/>
                <a:gd name="T9" fmla="*/ 128 h 181"/>
                <a:gd name="T10" fmla="*/ 0 w 262"/>
                <a:gd name="T11" fmla="*/ 136 h 181"/>
                <a:gd name="T12" fmla="*/ 26 w 262"/>
                <a:gd name="T13" fmla="*/ 181 h 181"/>
                <a:gd name="T14" fmla="*/ 183 w 262"/>
                <a:gd name="T15" fmla="*/ 181 h 181"/>
                <a:gd name="T16" fmla="*/ 262 w 262"/>
                <a:gd name="T17" fmla="*/ 41 h 181"/>
                <a:gd name="T18" fmla="*/ 239 w 262"/>
                <a:gd name="T19" fmla="*/ 0 h 181"/>
                <a:gd name="T20" fmla="*/ 234 w 262"/>
                <a:gd name="T21" fmla="*/ 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2" h="181">
                  <a:moveTo>
                    <a:pt x="234" y="8"/>
                  </a:moveTo>
                  <a:lnTo>
                    <a:pt x="253" y="41"/>
                  </a:lnTo>
                  <a:lnTo>
                    <a:pt x="179" y="173"/>
                  </a:lnTo>
                  <a:lnTo>
                    <a:pt x="31" y="173"/>
                  </a:lnTo>
                  <a:lnTo>
                    <a:pt x="5" y="128"/>
                  </a:lnTo>
                  <a:lnTo>
                    <a:pt x="0" y="136"/>
                  </a:lnTo>
                  <a:lnTo>
                    <a:pt x="26" y="181"/>
                  </a:lnTo>
                  <a:lnTo>
                    <a:pt x="183" y="181"/>
                  </a:lnTo>
                  <a:lnTo>
                    <a:pt x="262" y="41"/>
                  </a:lnTo>
                  <a:lnTo>
                    <a:pt x="239" y="0"/>
                  </a:lnTo>
                  <a:lnTo>
                    <a:pt x="234" y="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0" name="Freeform 587">
              <a:extLst>
                <a:ext uri="{FF2B5EF4-FFF2-40B4-BE49-F238E27FC236}">
                  <a16:creationId xmlns:a16="http://schemas.microsoft.com/office/drawing/2014/main" id="{BF10501B-D463-9F1D-F1D0-D40B40BB2F8F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7613" y="4776788"/>
              <a:ext cx="190500" cy="188913"/>
            </a:xfrm>
            <a:custGeom>
              <a:avLst/>
              <a:gdLst>
                <a:gd name="T0" fmla="*/ 62 w 120"/>
                <a:gd name="T1" fmla="*/ 0 h 119"/>
                <a:gd name="T2" fmla="*/ 0 w 120"/>
                <a:gd name="T3" fmla="*/ 110 h 119"/>
                <a:gd name="T4" fmla="*/ 5 w 120"/>
                <a:gd name="T5" fmla="*/ 119 h 119"/>
                <a:gd name="T6" fmla="*/ 10 w 120"/>
                <a:gd name="T7" fmla="*/ 111 h 119"/>
                <a:gd name="T8" fmla="*/ 9 w 120"/>
                <a:gd name="T9" fmla="*/ 110 h 119"/>
                <a:gd name="T10" fmla="*/ 66 w 120"/>
                <a:gd name="T11" fmla="*/ 8 h 119"/>
                <a:gd name="T12" fmla="*/ 120 w 120"/>
                <a:gd name="T13" fmla="*/ 8 h 119"/>
                <a:gd name="T14" fmla="*/ 120 w 120"/>
                <a:gd name="T15" fmla="*/ 0 h 119"/>
                <a:gd name="T16" fmla="*/ 62 w 120"/>
                <a:gd name="T17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" h="119">
                  <a:moveTo>
                    <a:pt x="62" y="0"/>
                  </a:moveTo>
                  <a:lnTo>
                    <a:pt x="0" y="110"/>
                  </a:lnTo>
                  <a:lnTo>
                    <a:pt x="5" y="119"/>
                  </a:lnTo>
                  <a:lnTo>
                    <a:pt x="10" y="111"/>
                  </a:lnTo>
                  <a:lnTo>
                    <a:pt x="9" y="110"/>
                  </a:lnTo>
                  <a:lnTo>
                    <a:pt x="66" y="8"/>
                  </a:lnTo>
                  <a:lnTo>
                    <a:pt x="120" y="8"/>
                  </a:lnTo>
                  <a:lnTo>
                    <a:pt x="120" y="0"/>
                  </a:lnTo>
                  <a:lnTo>
                    <a:pt x="6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1" name="Freeform 588">
              <a:extLst>
                <a:ext uri="{FF2B5EF4-FFF2-40B4-BE49-F238E27FC236}">
                  <a16:creationId xmlns:a16="http://schemas.microsoft.com/office/drawing/2014/main" id="{395FE016-320E-4EF1-F073-FA9C7C2173F3}"/>
                </a:ext>
              </a:extLst>
            </p:cNvPr>
            <p:cNvSpPr>
              <a:spLocks/>
            </p:cNvSpPr>
            <p:nvPr/>
          </p:nvSpPr>
          <p:spPr bwMode="auto">
            <a:xfrm>
              <a:off x="8894763" y="5040313"/>
              <a:ext cx="133350" cy="84138"/>
            </a:xfrm>
            <a:custGeom>
              <a:avLst/>
              <a:gdLst>
                <a:gd name="T0" fmla="*/ 30 w 84"/>
                <a:gd name="T1" fmla="*/ 45 h 53"/>
                <a:gd name="T2" fmla="*/ 5 w 84"/>
                <a:gd name="T3" fmla="*/ 0 h 53"/>
                <a:gd name="T4" fmla="*/ 0 w 84"/>
                <a:gd name="T5" fmla="*/ 8 h 53"/>
                <a:gd name="T6" fmla="*/ 26 w 84"/>
                <a:gd name="T7" fmla="*/ 53 h 53"/>
                <a:gd name="T8" fmla="*/ 84 w 84"/>
                <a:gd name="T9" fmla="*/ 53 h 53"/>
                <a:gd name="T10" fmla="*/ 84 w 84"/>
                <a:gd name="T11" fmla="*/ 45 h 53"/>
                <a:gd name="T12" fmla="*/ 30 w 84"/>
                <a:gd name="T13" fmla="*/ 45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53">
                  <a:moveTo>
                    <a:pt x="30" y="45"/>
                  </a:moveTo>
                  <a:lnTo>
                    <a:pt x="5" y="0"/>
                  </a:lnTo>
                  <a:lnTo>
                    <a:pt x="0" y="8"/>
                  </a:lnTo>
                  <a:lnTo>
                    <a:pt x="26" y="53"/>
                  </a:lnTo>
                  <a:lnTo>
                    <a:pt x="84" y="53"/>
                  </a:lnTo>
                  <a:lnTo>
                    <a:pt x="84" y="45"/>
                  </a:lnTo>
                  <a:lnTo>
                    <a:pt x="30" y="4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2" name="Freeform 589">
              <a:extLst>
                <a:ext uri="{FF2B5EF4-FFF2-40B4-BE49-F238E27FC236}">
                  <a16:creationId xmlns:a16="http://schemas.microsoft.com/office/drawing/2014/main" id="{CBD397FC-EA57-17D6-19B3-976E029BA57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69363" y="5089525"/>
              <a:ext cx="158750" cy="84138"/>
            </a:xfrm>
            <a:custGeom>
              <a:avLst/>
              <a:gdLst>
                <a:gd name="T0" fmla="*/ 30 w 100"/>
                <a:gd name="T1" fmla="*/ 45 h 53"/>
                <a:gd name="T2" fmla="*/ 4 w 100"/>
                <a:gd name="T3" fmla="*/ 0 h 53"/>
                <a:gd name="T4" fmla="*/ 0 w 100"/>
                <a:gd name="T5" fmla="*/ 8 h 53"/>
                <a:gd name="T6" fmla="*/ 25 w 100"/>
                <a:gd name="T7" fmla="*/ 53 h 53"/>
                <a:gd name="T8" fmla="*/ 100 w 100"/>
                <a:gd name="T9" fmla="*/ 53 h 53"/>
                <a:gd name="T10" fmla="*/ 100 w 100"/>
                <a:gd name="T11" fmla="*/ 45 h 53"/>
                <a:gd name="T12" fmla="*/ 30 w 100"/>
                <a:gd name="T13" fmla="*/ 45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53">
                  <a:moveTo>
                    <a:pt x="30" y="45"/>
                  </a:moveTo>
                  <a:lnTo>
                    <a:pt x="4" y="0"/>
                  </a:lnTo>
                  <a:lnTo>
                    <a:pt x="0" y="8"/>
                  </a:lnTo>
                  <a:lnTo>
                    <a:pt x="25" y="53"/>
                  </a:lnTo>
                  <a:lnTo>
                    <a:pt x="100" y="53"/>
                  </a:lnTo>
                  <a:lnTo>
                    <a:pt x="100" y="45"/>
                  </a:lnTo>
                  <a:lnTo>
                    <a:pt x="30" y="4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3" name="Freeform 590">
              <a:extLst>
                <a:ext uri="{FF2B5EF4-FFF2-40B4-BE49-F238E27FC236}">
                  <a16:creationId xmlns:a16="http://schemas.microsoft.com/office/drawing/2014/main" id="{703CB1DE-4048-8A82-7A04-673B2D2666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785226" y="4727575"/>
              <a:ext cx="242888" cy="285750"/>
            </a:xfrm>
            <a:custGeom>
              <a:avLst/>
              <a:gdLst>
                <a:gd name="T0" fmla="*/ 78 w 153"/>
                <a:gd name="T1" fmla="*/ 0 h 180"/>
                <a:gd name="T2" fmla="*/ 0 w 153"/>
                <a:gd name="T3" fmla="*/ 141 h 180"/>
                <a:gd name="T4" fmla="*/ 22 w 153"/>
                <a:gd name="T5" fmla="*/ 180 h 180"/>
                <a:gd name="T6" fmla="*/ 26 w 153"/>
                <a:gd name="T7" fmla="*/ 172 h 180"/>
                <a:gd name="T8" fmla="*/ 9 w 153"/>
                <a:gd name="T9" fmla="*/ 141 h 180"/>
                <a:gd name="T10" fmla="*/ 83 w 153"/>
                <a:gd name="T11" fmla="*/ 8 h 180"/>
                <a:gd name="T12" fmla="*/ 153 w 153"/>
                <a:gd name="T13" fmla="*/ 8 h 180"/>
                <a:gd name="T14" fmla="*/ 153 w 153"/>
                <a:gd name="T15" fmla="*/ 0 h 180"/>
                <a:gd name="T16" fmla="*/ 78 w 153"/>
                <a:gd name="T17" fmla="*/ 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3" h="180">
                  <a:moveTo>
                    <a:pt x="78" y="0"/>
                  </a:moveTo>
                  <a:lnTo>
                    <a:pt x="0" y="141"/>
                  </a:lnTo>
                  <a:lnTo>
                    <a:pt x="22" y="180"/>
                  </a:lnTo>
                  <a:lnTo>
                    <a:pt x="26" y="172"/>
                  </a:lnTo>
                  <a:lnTo>
                    <a:pt x="9" y="141"/>
                  </a:lnTo>
                  <a:lnTo>
                    <a:pt x="83" y="8"/>
                  </a:lnTo>
                  <a:lnTo>
                    <a:pt x="153" y="8"/>
                  </a:lnTo>
                  <a:lnTo>
                    <a:pt x="153" y="0"/>
                  </a:lnTo>
                  <a:lnTo>
                    <a:pt x="7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4" name="Freeform 591">
              <a:extLst>
                <a:ext uri="{FF2B5EF4-FFF2-40B4-BE49-F238E27FC236}">
                  <a16:creationId xmlns:a16="http://schemas.microsoft.com/office/drawing/2014/main" id="{442DA176-AEBF-8762-7CB6-4A2B6EDBED3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8188" y="4727575"/>
              <a:ext cx="150813" cy="84138"/>
            </a:xfrm>
            <a:custGeom>
              <a:avLst/>
              <a:gdLst>
                <a:gd name="T0" fmla="*/ 66 w 95"/>
                <a:gd name="T1" fmla="*/ 8 h 53"/>
                <a:gd name="T2" fmla="*/ 91 w 95"/>
                <a:gd name="T3" fmla="*/ 53 h 53"/>
                <a:gd name="T4" fmla="*/ 95 w 95"/>
                <a:gd name="T5" fmla="*/ 45 h 53"/>
                <a:gd name="T6" fmla="*/ 70 w 95"/>
                <a:gd name="T7" fmla="*/ 0 h 53"/>
                <a:gd name="T8" fmla="*/ 0 w 95"/>
                <a:gd name="T9" fmla="*/ 0 h 53"/>
                <a:gd name="T10" fmla="*/ 0 w 95"/>
                <a:gd name="T11" fmla="*/ 8 h 53"/>
                <a:gd name="T12" fmla="*/ 66 w 95"/>
                <a:gd name="T13" fmla="*/ 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5" h="53">
                  <a:moveTo>
                    <a:pt x="66" y="8"/>
                  </a:moveTo>
                  <a:lnTo>
                    <a:pt x="91" y="53"/>
                  </a:lnTo>
                  <a:lnTo>
                    <a:pt x="95" y="45"/>
                  </a:lnTo>
                  <a:lnTo>
                    <a:pt x="70" y="0"/>
                  </a:lnTo>
                  <a:lnTo>
                    <a:pt x="0" y="0"/>
                  </a:lnTo>
                  <a:lnTo>
                    <a:pt x="0" y="8"/>
                  </a:lnTo>
                  <a:lnTo>
                    <a:pt x="66" y="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5" name="Freeform 592">
              <a:extLst>
                <a:ext uri="{FF2B5EF4-FFF2-40B4-BE49-F238E27FC236}">
                  <a16:creationId xmlns:a16="http://schemas.microsoft.com/office/drawing/2014/main" id="{3B2CBF07-4FE9-E95F-F87B-F2D74B83901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8188" y="4887913"/>
              <a:ext cx="236538" cy="285750"/>
            </a:xfrm>
            <a:custGeom>
              <a:avLst/>
              <a:gdLst>
                <a:gd name="T0" fmla="*/ 149 w 149"/>
                <a:gd name="T1" fmla="*/ 40 h 180"/>
                <a:gd name="T2" fmla="*/ 127 w 149"/>
                <a:gd name="T3" fmla="*/ 0 h 180"/>
                <a:gd name="T4" fmla="*/ 122 w 149"/>
                <a:gd name="T5" fmla="*/ 8 h 180"/>
                <a:gd name="T6" fmla="*/ 140 w 149"/>
                <a:gd name="T7" fmla="*/ 40 h 180"/>
                <a:gd name="T8" fmla="*/ 66 w 149"/>
                <a:gd name="T9" fmla="*/ 172 h 180"/>
                <a:gd name="T10" fmla="*/ 0 w 149"/>
                <a:gd name="T11" fmla="*/ 172 h 180"/>
                <a:gd name="T12" fmla="*/ 0 w 149"/>
                <a:gd name="T13" fmla="*/ 180 h 180"/>
                <a:gd name="T14" fmla="*/ 70 w 149"/>
                <a:gd name="T15" fmla="*/ 180 h 180"/>
                <a:gd name="T16" fmla="*/ 149 w 149"/>
                <a:gd name="T17" fmla="*/ 4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9" h="180">
                  <a:moveTo>
                    <a:pt x="149" y="40"/>
                  </a:moveTo>
                  <a:lnTo>
                    <a:pt x="127" y="0"/>
                  </a:lnTo>
                  <a:lnTo>
                    <a:pt x="122" y="8"/>
                  </a:lnTo>
                  <a:lnTo>
                    <a:pt x="140" y="40"/>
                  </a:lnTo>
                  <a:lnTo>
                    <a:pt x="66" y="172"/>
                  </a:lnTo>
                  <a:lnTo>
                    <a:pt x="0" y="172"/>
                  </a:lnTo>
                  <a:lnTo>
                    <a:pt x="0" y="180"/>
                  </a:lnTo>
                  <a:lnTo>
                    <a:pt x="70" y="180"/>
                  </a:lnTo>
                  <a:lnTo>
                    <a:pt x="149" y="4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6" name="Freeform 593">
              <a:extLst>
                <a:ext uri="{FF2B5EF4-FFF2-40B4-BE49-F238E27FC236}">
                  <a16:creationId xmlns:a16="http://schemas.microsoft.com/office/drawing/2014/main" id="{A8713741-5B6A-D53E-30C0-A248520590AC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8188" y="4776788"/>
              <a:ext cx="125413" cy="84138"/>
            </a:xfrm>
            <a:custGeom>
              <a:avLst/>
              <a:gdLst>
                <a:gd name="T0" fmla="*/ 49 w 79"/>
                <a:gd name="T1" fmla="*/ 8 h 53"/>
                <a:gd name="T2" fmla="*/ 74 w 79"/>
                <a:gd name="T3" fmla="*/ 53 h 53"/>
                <a:gd name="T4" fmla="*/ 79 w 79"/>
                <a:gd name="T5" fmla="*/ 45 h 53"/>
                <a:gd name="T6" fmla="*/ 53 w 79"/>
                <a:gd name="T7" fmla="*/ 0 h 53"/>
                <a:gd name="T8" fmla="*/ 0 w 79"/>
                <a:gd name="T9" fmla="*/ 0 h 53"/>
                <a:gd name="T10" fmla="*/ 0 w 79"/>
                <a:gd name="T11" fmla="*/ 8 h 53"/>
                <a:gd name="T12" fmla="*/ 49 w 79"/>
                <a:gd name="T13" fmla="*/ 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" h="53">
                  <a:moveTo>
                    <a:pt x="49" y="8"/>
                  </a:moveTo>
                  <a:lnTo>
                    <a:pt x="74" y="53"/>
                  </a:lnTo>
                  <a:lnTo>
                    <a:pt x="79" y="45"/>
                  </a:lnTo>
                  <a:lnTo>
                    <a:pt x="53" y="0"/>
                  </a:lnTo>
                  <a:lnTo>
                    <a:pt x="0" y="0"/>
                  </a:lnTo>
                  <a:lnTo>
                    <a:pt x="0" y="8"/>
                  </a:lnTo>
                  <a:lnTo>
                    <a:pt x="49" y="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7" name="Freeform 594">
              <a:extLst>
                <a:ext uri="{FF2B5EF4-FFF2-40B4-BE49-F238E27FC236}">
                  <a16:creationId xmlns:a16="http://schemas.microsoft.com/office/drawing/2014/main" id="{E1B304D0-636B-1E35-7871-2C9E7BA8897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8188" y="4937125"/>
              <a:ext cx="182563" cy="187325"/>
            </a:xfrm>
            <a:custGeom>
              <a:avLst/>
              <a:gdLst>
                <a:gd name="T0" fmla="*/ 53 w 115"/>
                <a:gd name="T1" fmla="*/ 118 h 118"/>
                <a:gd name="T2" fmla="*/ 115 w 115"/>
                <a:gd name="T3" fmla="*/ 9 h 118"/>
                <a:gd name="T4" fmla="*/ 110 w 115"/>
                <a:gd name="T5" fmla="*/ 0 h 118"/>
                <a:gd name="T6" fmla="*/ 105 w 115"/>
                <a:gd name="T7" fmla="*/ 8 h 118"/>
                <a:gd name="T8" fmla="*/ 106 w 115"/>
                <a:gd name="T9" fmla="*/ 9 h 118"/>
                <a:gd name="T10" fmla="*/ 49 w 115"/>
                <a:gd name="T11" fmla="*/ 110 h 118"/>
                <a:gd name="T12" fmla="*/ 0 w 115"/>
                <a:gd name="T13" fmla="*/ 110 h 118"/>
                <a:gd name="T14" fmla="*/ 0 w 115"/>
                <a:gd name="T15" fmla="*/ 118 h 118"/>
                <a:gd name="T16" fmla="*/ 53 w 115"/>
                <a:gd name="T17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118">
                  <a:moveTo>
                    <a:pt x="53" y="118"/>
                  </a:moveTo>
                  <a:lnTo>
                    <a:pt x="115" y="9"/>
                  </a:lnTo>
                  <a:lnTo>
                    <a:pt x="110" y="0"/>
                  </a:lnTo>
                  <a:lnTo>
                    <a:pt x="105" y="8"/>
                  </a:lnTo>
                  <a:lnTo>
                    <a:pt x="106" y="9"/>
                  </a:lnTo>
                  <a:lnTo>
                    <a:pt x="49" y="110"/>
                  </a:lnTo>
                  <a:lnTo>
                    <a:pt x="0" y="110"/>
                  </a:lnTo>
                  <a:lnTo>
                    <a:pt x="0" y="118"/>
                  </a:lnTo>
                  <a:lnTo>
                    <a:pt x="53" y="1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19233144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79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5.37881869899999909279E+00&quot;&gt;&lt;m_msothmcolidx val=&quot;0&quot;/&gt;&lt;m_rgb r=&quot;FF&quot; g=&quot;EF&quot; b=&quot;BA&quot;/&gt;&lt;/elem&gt;&lt;elem m_fUsage=&quot;6.56100000000000127542E-01&quot;&gt;&lt;m_msothmcolidx val=&quot;0&quot;/&gt;&lt;m_rgb r=&quot;F3&quot; g=&quot;F3&quot; b=&quot;F3&quot;/&gt;&lt;/elem&gt;&lt;elem m_fUsage=&quot;4.78296900000000135833E-01&quot;&gt;&lt;m_msothmcolidx val=&quot;0&quot;/&gt;&lt;m_rgb r=&quot;DD&quot; g=&quot;F0&quot; b=&quot;E6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DHfgxNE5yjl_8GvDugB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Q.gVrM1XKIFi.eVlh_p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sHSU_..qe.YwuqDp8xL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Po3Dg1Furu5PPg0nXOG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TicctcDFnrH7P.wCvQh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cQq2fK4Y2a50tfgPsTV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egt8cADVydaUebMj5YL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6ytDDxV.kGBkVzE2kld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j_apHSmOKDHf24X5UrW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ikBkFg1.Fqt8l9TjlBw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Lb8EuYIlz2ihukkF4Dz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Af80JSbQzp9KtWAhFIs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vsqMvkAGsAaCIJ4_u6o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sj1D7jZ4eD2Ng3HpDhQ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en.V3V7nO2Ul9OWWzyH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cneeFSXaUlrPcm1Cz2V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_QW.HXMZRTLCXJOgMll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Rg1OsU6TUBOZyc295X6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9pUhaizGK2lWh8NzBQb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a8BLPyKhU7Pa5NK81EF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mtYPIE8KyLA32DRNlLD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un3xM7z.xWq7IMqazty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WI4o2iPN712_G8Ygv..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lzQfa7DDs5AwqpC4YoT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uE8ToC6jG5ZaXN7jLap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FxfozhL_huBI_r5yZ98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jVb2LCkwA93KITY2shr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Hzm8mgaZo.c8KdOqeuA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oT9cxTyiHLJ4Q.s4v.T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2SG6HyyDLgA4xlSRZAZ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ioVilg6Zzp9U5DQ2ejZ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4j09kMQ929.Lii_lrpo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BJdeQ6eVfKgFVhSZCp0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ghbSO7NJKkG4.Fr3U14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vdBkGXMNSfL5odotwmW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kx.rf9TJfrYofT0LA1T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k4sMlJFq6acL1vJCJ6Y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jrQm4GKAm9a4Swc22vA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uPxfbxM5Qc8GRETm7ku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GZHPSDwhJfPo5yQvYzR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vlKkoUsrYKWz5IsCfYs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cGuFwA.RWKAHrQHqaXA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QQQYFnR312Rt.43DLI3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G23SNskkRZvbjcVFqmY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bnef3rL7M6YiLWuRgue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REMrZfYYyeD1c_Md_ge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MXHThcYNStKw.MhZV0J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fiZwOZpV4KgB0KtoapJ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mB3JinnrdNAcYA29Q_P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7lmDMIULpD8P1GvJaJ3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FdcFaJf3mGZ2wOfzUaB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OVeyAAuqp17ifBsMQoU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Nr2sC9605VuZyvz.iB1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Cos1XsMehdlDySd8VYx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ZT2dKT9H26.7yVwx6VM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c_5DdpbrDJLV07Os2Ar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22Qwbg_h4_Ji.9wGRIm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1r7coa7Wqa0fldoA458Y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uJgnF1myxOl9yzHa3Ge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kwe5SGWbNHgTUTTzgPl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iOl2MJik_IlgV5603bR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_wGTDw425llvVW0JGTA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FtJbQfieWRfuPSSCOW3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.RRY7ClBx2g8cNwvf2w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rSPHfESk18EqpqB5keB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41sHWRUvjFXNaHQfU07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uHzlT4xKXG93RztPYxs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hKSiwILnFvNdkIspwv1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1qasRDW4c1kOdN_3x1x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.ScU0WZd75wy2OeNOlT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XCADx6GJrHHg71uc24t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LMMqgi_3MQDmBWmYtCM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BY7daOcI360okgunQgD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84451EeoiQIwUIjtA4a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r5sCFM92WwzN8oARSAP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HW9KKPMZ6EPfSL4gnT8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5T92q2EtJHIx09vEucp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xtdi7_GbS8XPxfYE_ht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ZZ6DF937a8wDhJR0t8i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5fTbl.XyzAwHT2zpJAa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cc7fIgoWgP.5BF0QjRW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KteAHHgpWeVd98u4Jk2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_FNmUmBHHbuWiHF1xdi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VoDZFoL7OiiVK14DZ3o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ceGS4Ysm38PpeyYe8ek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nXBOFVTKpS0gdUgxb90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XXJBWxE5cIqIhqGptdN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piPS.qTxv6UDAORvKgB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WT1PQZ6Bi8RYUIFhlIM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q5yBJUXCw_JoJIqZIQI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SdJrWTLcjO8tCYiQ3od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ZeaJ8rp_R_9ZlXYTpl9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bv4Ly9QcEX11y9BimsO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hGXLe46IlCklHg4pWBP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9tHYtJcNvWsb5CtVD5G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3187Er198Uny_r8Dpg.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2S7T1uUOiG.K9kYHo2c2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bMwXKDxS3IS3XDqscQ_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.TLrdXrD_TaUFBv_emf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HHHKE_KROn_QkdEQ9Nc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aDKP2ssFcNm2sjw7bgk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JbGhsSLWkWTt1buELTS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oBRUYsC3CSJwc3BHDVR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IueWEBbmNeEWOFyxuw_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5iW8.A6MfRCsnvGrlqt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4qcMIwACoYTaRusAq3M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upexkMmCwEuaXYBKe2A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y7R9ufhHegNnZI82ZUt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G9d0Vjm414kBuhchsQw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XeLiI14s_D0AlEhYp0H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NBnmjgggV30508voG65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BlEFbCevhFvvB.ETu9P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BlEFbCevhFvvB.ETu9P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BlEFbCevhFvvB.ETu9P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BlEFbCevhFvvB.ETu9P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mEVzDrQT8hV.DG2RaCR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ugwLLMTfs0wuNnTbzCO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8mWDdafpUySKofc9tPG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CAfFPbGRCBg7oRG4lpW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eRKvUzQ9bo7gyKhF8Vs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XIROcaGY0bhFQJgO83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IJytqAfxgd.u3SBbkga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Y7ZTL8SFf6Kin.L9HDn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fUHn_3H94Ofcth13EE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HrYrDCRyn2SIGZqImGlE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66qbV4MWTCSQB.QeG2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1EJepf1dkhpkwPTo2J5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R1vnrSkxcsVJt7GYQVE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jITnMH9OBkruTqLr3gL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xyWXLb6DbKuIw2xRR1h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eSwbp5ff6VBxZROW765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QH5vxScuzknI8pOr2Jm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ccJYhdjrzRfmGLzGbFt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B7NNRLGgOle8sMMSMuv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FYN809AuJThbeYwc2L.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3ALIKXnlCxUHwk7nd9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6LoMxrj7YZ6EtqkwfMy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JsGg6fgLjqII0nhSFzP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YiE5Ty8P5Aj7j68nQYZ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6TcnnS81g3_jHyxo7TC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gIslEQCh1_W7jWqHITB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beiDp9mYEMUErX7WtRZ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04h8cRZNC8B9PCRFtKD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6fDUhbNaoAQnODF_zQ.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in.AI2VlXsf9Pvqf4kI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fo5oA9V43EseUQ9aTSq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.2SmmT.fgAz70bXuimI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iWrjNfN1w_xKhZSXgvU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VIR9vC_f141Ll0oP1YF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7QuksztcPS6wdFSM7M.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GPA9Kqp.FSNiht4P8CS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vCLh2PgjzPmGWKKNvAs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e-time_POWER_USER_SEPARATOR_ICONS_calendar_POWER_USER_SEPARATOR_ICONS_clock_POWER_USER_SEPARATOR_ICONS_date_POWER_USER_SEPARATOR_ICONS_ios_POWER_USER_SEPARATOR_ICONS_tim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IZ4Yv4UkQrEBd8ObFx3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I4cPdrGAhUQTG86Gvbz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e-time_POWER_USER_SEPARATOR_ICONS_calendar_POWER_USER_SEPARATOR_ICONS_clock_POWER_USER_SEPARATOR_ICONS_date_POWER_USER_SEPARATOR_ICONS_ios_POWER_USER_SEPARATOR_ICONS_tim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e-time_POWER_USER_SEPARATOR_ICONS_calendar_POWER_USER_SEPARATOR_ICONS_clock_POWER_USER_SEPARATOR_ICONS_date_POWER_USER_SEPARATOR_ICONS_ios_POWER_USER_SEPARATOR_ICONS_tim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e-time_POWER_USER_SEPARATOR_ICONS_calendar_POWER_USER_SEPARATOR_ICONS_clock_POWER_USER_SEPARATOR_ICONS_date_POWER_USER_SEPARATOR_ICONS_ios_POWER_USER_SEPARATOR_ICONS_tim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e-time_POWER_USER_SEPARATOR_ICONS_calendar_POWER_USER_SEPARATOR_ICONS_clock_POWER_USER_SEPARATOR_ICONS_date_POWER_USER_SEPARATOR_ICONS_ios_POWER_USER_SEPARATOR_ICONS_tim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e-time_POWER_USER_SEPARATOR_ICONS_calendar_POWER_USER_SEPARATOR_ICONS_clock_POWER_USER_SEPARATOR_ICONS_date_POWER_USER_SEPARATOR_ICONS_ios_POWER_USER_SEPARATOR_ICONS_tim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e-time_POWER_USER_SEPARATOR_ICONS_calendar_POWER_USER_SEPARATOR_ICONS_clock_POWER_USER_SEPARATOR_ICONS_date_POWER_USER_SEPARATOR_ICONS_ios_POWER_USER_SEPARATOR_ICONS_tim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e-time_POWER_USER_SEPARATOR_ICONS_calendar_POWER_USER_SEPARATOR_ICONS_clock_POWER_USER_SEPARATOR_ICONS_date_POWER_USER_SEPARATOR_ICONS_ios_POWER_USER_SEPARATOR_ICONS_tim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W4iyk7wj7LMI.kdgh27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2EzLkR6iwQBZ_LNu7WG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kMYxrTipEbsXZuTG_.g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Mp_Vkr_IPQwDzvK5kQQ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2sy_8QGtL8LV2mY9eU5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1miQnzBoChIUYBvgolG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L6KCnUt1z8F41KALWhd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BcxZwigAcguNZcdCqvL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_9DPJqHYv_NhFbmynQj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okCOZMQKWRf2Bp.fICC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.Pg7fKQAPqVbuGBJQTX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m5H32bkYDtO.1db0HnI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H5fREL9r4SU4K802KEf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.QNCd95pIuj4ACXC98V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Y4JGcDeS3HmgzetE.nv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feBNhqmdOXeMuH0pbpQ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M_kO0P6haLmUAbcvDTO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R_CRi_bwRkZ6_Xmy.p7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R4MlCHWPNza9ruBpXcc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.SGfqmeaKKsWKXrTZzs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Gh54yZ1OpuG.7sXQAeB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kBCFmz.DlWo8bLnCG04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TvfYv7MjcuQEOu0SQqP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fr47t8mzc6FHvFCwM92g"/>
</p:tagLst>
</file>

<file path=ppt/theme/theme1.xml><?xml version="1.0" encoding="utf-8"?>
<a:theme xmlns:a="http://schemas.openxmlformats.org/drawingml/2006/main" name="1_EY Core Slides">
  <a:themeElements>
    <a:clrScheme name="Custom 88">
      <a:dk1>
        <a:srgbClr val="FFFFFF"/>
      </a:dk1>
      <a:lt1>
        <a:srgbClr val="1A1A24"/>
      </a:lt1>
      <a:dk2>
        <a:srgbClr val="FFE600"/>
      </a:dk2>
      <a:lt2>
        <a:srgbClr val="2E2E38"/>
      </a:lt2>
      <a:accent1>
        <a:srgbClr val="2DB757"/>
      </a:accent1>
      <a:accent2>
        <a:srgbClr val="27ACAA"/>
      </a:accent2>
      <a:accent3>
        <a:srgbClr val="188CE5"/>
      </a:accent3>
      <a:accent4>
        <a:srgbClr val="750E5C"/>
      </a:accent4>
      <a:accent5>
        <a:srgbClr val="FF4136"/>
      </a:accent5>
      <a:accent6>
        <a:srgbClr val="FF6D00"/>
      </a:accent6>
      <a:hlink>
        <a:srgbClr val="0F69AE"/>
      </a:hlink>
      <a:folHlink>
        <a:srgbClr val="0F69AE"/>
      </a:folHlink>
    </a:clrScheme>
    <a:fontScheme name="EY">
      <a:majorFont>
        <a:latin typeface="EYInterstate Regular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 cap="flat" cmpd="sng" algn="ctr">
          <a:solidFill>
            <a:srgbClr val="747480"/>
          </a:solidFill>
          <a:prstDash val="solid"/>
          <a:miter lim="800000"/>
          <a:headEnd type="none" w="med" len="med"/>
          <a:tailEnd type="none" w="med" len="med"/>
        </a:ln>
        <a:effectLst/>
      </a:spPr>
      <a:bodyPr lIns="108000" tIns="108000" rIns="108000" bIns="108000" rtlCol="0" anchor="t" anchorCtr="0"/>
      <a:lstStyle>
        <a:defPPr marL="252000" marR="0" indent="-252000" algn="l" defTabSz="914400" eaLnBrk="1" fontAlgn="auto" latinLnBrk="0" hangingPunct="1">
          <a:lnSpc>
            <a:spcPct val="90000"/>
          </a:lnSpc>
          <a:spcBef>
            <a:spcPts val="400"/>
          </a:spcBef>
          <a:spcAft>
            <a:spcPts val="400"/>
          </a:spcAft>
          <a:buClr>
            <a:srgbClr val="FFE600"/>
          </a:buClr>
          <a:buSzTx/>
          <a:buFont typeface="Wingdings" pitchFamily="2" charset="2"/>
          <a:buChar char="§"/>
          <a:tabLst/>
          <a:defRPr kumimoji="0" sz="2000" b="0" i="0" u="none" strike="noStrike" kern="0" cap="none" spc="0" normalizeH="0" baseline="0" noProof="0" dirty="0" err="1" smtClean="0">
            <a:ln>
              <a:noFill/>
            </a:ln>
            <a:solidFill>
              <a:srgbClr val="1A1A24"/>
            </a:solidFill>
            <a:effectLst/>
            <a:uLnTx/>
            <a:uFillTx/>
          </a:defRPr>
        </a:defPPr>
      </a:lstStyle>
    </a:spDef>
    <a:lnDef>
      <a:spPr>
        <a:ln w="3175">
          <a:solidFill>
            <a:schemeClr val="bg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 anchor="t">
        <a:spAutoFit/>
      </a:bodyPr>
      <a:lstStyle>
        <a:defPPr marL="252000" indent="-252000" algn="l">
          <a:lnSpc>
            <a:spcPct val="90000"/>
          </a:lnSpc>
          <a:spcBef>
            <a:spcPts val="400"/>
          </a:spcBef>
          <a:spcAft>
            <a:spcPts val="400"/>
          </a:spcAft>
          <a:buClr>
            <a:schemeClr val="tx2"/>
          </a:buClr>
          <a:buSzPct val="100000"/>
          <a:buFont typeface="Wingdings" pitchFamily="2" charset="2"/>
          <a:buChar char="§"/>
          <a:defRPr sz="20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Light-global-widescreen-presentation-template-v2.1.potx" id="{549BCC34-A371-4911-A702-25DDD85EAE21}" vid="{74C04293-7ADE-4964-8B20-92EEB34D52CE}"/>
    </a:ext>
  </a:extLst>
</a:theme>
</file>

<file path=ppt/theme/theme2.xml><?xml version="1.0" encoding="utf-8"?>
<a:theme xmlns:a="http://schemas.openxmlformats.org/drawingml/2006/main" name="EY Core Slides">
  <a:themeElements>
    <a:clrScheme name="Custom 84">
      <a:dk1>
        <a:srgbClr val="1A1A24"/>
      </a:dk1>
      <a:lt1>
        <a:srgbClr val="FFFFFF"/>
      </a:lt1>
      <a:dk2>
        <a:srgbClr val="FFE600"/>
      </a:dk2>
      <a:lt2>
        <a:srgbClr val="2E2E38"/>
      </a:lt2>
      <a:accent1>
        <a:srgbClr val="2DB757"/>
      </a:accent1>
      <a:accent2>
        <a:srgbClr val="27ACAA"/>
      </a:accent2>
      <a:accent3>
        <a:srgbClr val="188CE5"/>
      </a:accent3>
      <a:accent4>
        <a:srgbClr val="750E5C"/>
      </a:accent4>
      <a:accent5>
        <a:srgbClr val="FF4136"/>
      </a:accent5>
      <a:accent6>
        <a:srgbClr val="FF6D00"/>
      </a:accent6>
      <a:hlink>
        <a:srgbClr val="FFE600"/>
      </a:hlink>
      <a:folHlink>
        <a:srgbClr val="FFE600"/>
      </a:folHlink>
    </a:clrScheme>
    <a:fontScheme name="EY">
      <a:majorFont>
        <a:latin typeface="EYInterstate Regular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2"/>
          </a:solidFill>
          <a:miter lim="800000"/>
        </a:ln>
      </a:spPr>
      <a:bodyPr lIns="108000" tIns="108000" rIns="108000" bIns="108000" rtlCol="0" anchor="t" anchorCtr="0"/>
      <a:lstStyle>
        <a:defPPr marL="252000" indent="-252000" algn="l">
          <a:lnSpc>
            <a:spcPct val="90000"/>
          </a:lnSpc>
          <a:spcBef>
            <a:spcPts val="400"/>
          </a:spcBef>
          <a:spcAft>
            <a:spcPts val="400"/>
          </a:spcAft>
          <a:buClr>
            <a:schemeClr val="tx2"/>
          </a:buClr>
          <a:buFont typeface="Wingdings" pitchFamily="2" charset="2"/>
          <a:buChar char="§"/>
          <a:defRPr sz="20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bg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 anchor="t">
        <a:spAutoFit/>
      </a:bodyPr>
      <a:lstStyle>
        <a:defPPr marL="252000" indent="-252000" algn="l">
          <a:lnSpc>
            <a:spcPct val="90000"/>
          </a:lnSpc>
          <a:spcBef>
            <a:spcPts val="400"/>
          </a:spcBef>
          <a:spcAft>
            <a:spcPts val="400"/>
          </a:spcAft>
          <a:buClr>
            <a:schemeClr val="tx2"/>
          </a:buClr>
          <a:buSzPct val="100000"/>
          <a:buFont typeface="Wingdings" pitchFamily="2" charset="2"/>
          <a:buChar char="§"/>
          <a:defRPr sz="20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83E2B529-6259-4303-A414-4B023C07EDA2}" vid="{B3F86811-2FC6-4D71-ADB1-1E5BB5E6051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914B4D8EE72D3240BE029177C87F144A" ma:contentTypeVersion="3" ma:contentTypeDescription="Creare un nuovo documento." ma:contentTypeScope="" ma:versionID="8f616b3eb8a3d09237a475d35f733f29">
  <xsd:schema xmlns:xsd="http://www.w3.org/2001/XMLSchema" xmlns:xs="http://www.w3.org/2001/XMLSchema" xmlns:p="http://schemas.microsoft.com/office/2006/metadata/properties" xmlns:ns2="8cd7b235-8dd2-4fa8-9387-4f64a3002726" targetNamespace="http://schemas.microsoft.com/office/2006/metadata/properties" ma:root="true" ma:fieldsID="eca8fd038dd579787ebc98efa2fab374" ns2:_="">
    <xsd:import namespace="8cd7b235-8dd2-4fa8-9387-4f64a300272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cd7b235-8dd2-4fa8-9387-4f64a300272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095561C-23C2-4279-907E-0D7FCBAE328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cd7b235-8dd2-4fa8-9387-4f64a300272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AC417EE-79AE-4849-9DD0-8DACA972346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B1CBB54-7BC5-4C08-A2FF-7C9326D52249}">
  <ds:schemaRefs>
    <ds:schemaRef ds:uri="8cd7b235-8dd2-4fa8-9387-4f64a300272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3539</Words>
  <Application>Microsoft Office PowerPoint</Application>
  <PresentationFormat>Widescreen</PresentationFormat>
  <Paragraphs>623</Paragraphs>
  <Slides>26</Slides>
  <Notes>12</Notes>
  <HiddenSlides>2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6" baseType="lpstr">
      <vt:lpstr>Aptos</vt:lpstr>
      <vt:lpstr>Arial</vt:lpstr>
      <vt:lpstr>EYInterstate Light</vt:lpstr>
      <vt:lpstr>EYInterstate Regular</vt:lpstr>
      <vt:lpstr>Montserrat Medium</vt:lpstr>
      <vt:lpstr>Segoe Print</vt:lpstr>
      <vt:lpstr>Wingdings</vt:lpstr>
      <vt:lpstr>1_EY Core Slides</vt:lpstr>
      <vt:lpstr>EY Core Slides</vt:lpstr>
      <vt:lpstr>think-cell Slide</vt:lpstr>
      <vt:lpstr>Le stablecoin  e il futuro dei  pagamenti digitali</vt:lpstr>
      <vt:lpstr>Agenda</vt:lpstr>
      <vt:lpstr>Con voi oggi</vt:lpstr>
      <vt:lpstr>I TREND DEL MERCATO DEI PAGAMENTI</vt:lpstr>
      <vt:lpstr>Il mercato dei pagamenti globali sta subendo un’importante trasformazione  guidata dai pagamenti «New Digital», alternativi alle soluzioni tradizionali</vt:lpstr>
      <vt:lpstr>Il mercato dei pagamenti è in piena trasformazione, spinto da nuove forze che ne ridefiniscono le dinamiche </vt:lpstr>
      <vt:lpstr>Tra i principali trend di settore ci sono i digital asset che stanno trasformando i pagamenti evolvendo la moneta tradizionale</vt:lpstr>
      <vt:lpstr>STABLECOIN  IN FOCUS: orientarsi nel nuovo panorama  finanziario digitale (ricerca EY)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L NUOVO CONTESTO EUROPEO TRA MICAR ED EURO DIGITALE</vt:lpstr>
      <vt:lpstr>A livello internazionale il quadro normativo sulle stablecoin sta accelerando rapidamente, e l’Europa si distingue con la MiCAR come pioniera a livello globale</vt:lpstr>
      <vt:lpstr>La MiCAR sta creando le condizioni normative per una adozione sicura e regolata delle stablecoin</vt:lpstr>
      <vt:lpstr>Nonostante un quadro normativo ormai definito, le stablecoin in dollari continuano a dominare il mercato globale</vt:lpstr>
      <vt:lpstr>La nascita di una stablecoin europea pone un interrogativo inevitabile: rappresenta una minaccia o un complemento per l’euro digitale?</vt:lpstr>
      <vt:lpstr>L’esperienza EY nei pagamenti tramite Stablecoin</vt:lpstr>
      <vt:lpstr>PANEL</vt:lpstr>
      <vt:lpstr>PowerPoint Presentation</vt:lpstr>
      <vt:lpstr>Q&amp;A</vt:lpstr>
      <vt:lpstr>PowerPoint Presentation</vt:lpstr>
      <vt:lpstr>I regolatori globali accelerano per la definizione di normative sull’introduzione e l’utilizzo delle stablecoin</vt:lpstr>
      <vt:lpstr>Le Stablecoin hanno assunto un ruolo rilevante nel mercato dei pagamenti digitali</vt:lpstr>
    </vt:vector>
  </TitlesOfParts>
  <Company>E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Beatrice Antonelli</dc:creator>
  <cp:lastModifiedBy>Elisabetta Rudi</cp:lastModifiedBy>
  <cp:revision>5</cp:revision>
  <dcterms:created xsi:type="dcterms:W3CDTF">2025-10-01T08:57:03Z</dcterms:created>
  <dcterms:modified xsi:type="dcterms:W3CDTF">2025-10-30T09:07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14B4D8EE72D3240BE029177C87F144A</vt:lpwstr>
  </property>
  <property fmtid="{D5CDD505-2E9C-101B-9397-08002B2CF9AE}" pid="3" name="MediaServiceImageTags">
    <vt:lpwstr/>
  </property>
  <property fmtid="{D5CDD505-2E9C-101B-9397-08002B2CF9AE}" pid="4" name="xd_ProgID">
    <vt:lpwstr/>
  </property>
  <property fmtid="{D5CDD505-2E9C-101B-9397-08002B2CF9AE}" pid="5" name="ComplianceAssetId">
    <vt:lpwstr/>
  </property>
  <property fmtid="{D5CDD505-2E9C-101B-9397-08002B2CF9AE}" pid="6" name="TemplateUrl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  <property fmtid="{D5CDD505-2E9C-101B-9397-08002B2CF9AE}" pid="9" name="xd_Signature">
    <vt:bool>false</vt:bool>
  </property>
</Properties>
</file>